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6.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7.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8.xml" ContentType="application/vnd.openxmlformats-officedocument.them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9.xml" ContentType="application/vnd.openxmlformats-officedocument.theme+xml"/>
  <Override PartName="/ppt/tags/tag73.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10.xml" ContentType="application/vnd.openxmlformats-officedocument.theme+xml"/>
  <Override PartName="/ppt/tags/tag74.xml" ContentType="application/vnd.openxmlformats-officedocument.presentationml.tags+xml"/>
  <Override PartName="/ppt/slideLayouts/slideLayout101.xml" ContentType="application/vnd.openxmlformats-officedocument.presentationml.slideLayout+xml"/>
  <Override PartName="/ppt/theme/theme11.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12.xml" ContentType="application/vnd.openxmlformats-officedocument.them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13.xml" ContentType="application/vnd.openxmlformats-officedocument.them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14.xml" ContentType="application/vnd.openxmlformats-officedocument.them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15.xml" ContentType="application/vnd.openxmlformats-officedocument.them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16.xml" ContentType="application/vnd.openxmlformats-officedocument.theme+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slideLayouts/slideLayout191.xml" ContentType="application/vnd.openxmlformats-officedocument.presentationml.slideLayout+xml"/>
  <Override PartName="/ppt/theme/theme17.xml" ContentType="application/vnd.openxmlformats-officedocument.theme+xml"/>
  <Override PartName="/ppt/tags/tag154.xml" ContentType="application/vnd.openxmlformats-officedocument.presentationml.tags+xml"/>
  <Override PartName="/ppt/tags/tag155.xml" ContentType="application/vnd.openxmlformats-officedocument.presentationml.tags+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theme/theme18.xml" ContentType="application/vnd.openxmlformats-officedocument.theme+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19.xml" ContentType="application/vnd.openxmlformats-officedocument.theme+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theme/theme20.xml" ContentType="application/vnd.openxmlformats-officedocument.theme+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heme/theme21.xml" ContentType="application/vnd.openxmlformats-officedocument.theme+xml"/>
  <Override PartName="/ppt/theme/theme22.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1.xml" ContentType="application/vnd.openxmlformats-officedocument.drawingml.chartshape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4"/>
    <p:sldMasterId id="2147483758" r:id="rId5"/>
    <p:sldMasterId id="2147483782" r:id="rId6"/>
    <p:sldMasterId id="2147483954" r:id="rId7"/>
    <p:sldMasterId id="2147483824" r:id="rId8"/>
    <p:sldMasterId id="2147483891" r:id="rId9"/>
    <p:sldMasterId id="2147483894" r:id="rId10"/>
    <p:sldMasterId id="2147483895" r:id="rId11"/>
    <p:sldMasterId id="2147483899" r:id="rId12"/>
    <p:sldMasterId id="2147483996" r:id="rId13"/>
    <p:sldMasterId id="2147484010" r:id="rId14"/>
    <p:sldMasterId id="2147484055" r:id="rId15"/>
    <p:sldMasterId id="2147484067" r:id="rId16"/>
    <p:sldMasterId id="2147484090" r:id="rId17"/>
    <p:sldMasterId id="2147484122" r:id="rId18"/>
    <p:sldMasterId id="2147484144" r:id="rId19"/>
    <p:sldMasterId id="2147484162" r:id="rId20"/>
    <p:sldMasterId id="2147484277" r:id="rId21"/>
    <p:sldMasterId id="2147484304" r:id="rId22"/>
    <p:sldMasterId id="2147484328" r:id="rId23"/>
  </p:sldMasterIdLst>
  <p:notesMasterIdLst>
    <p:notesMasterId r:id="rId39"/>
  </p:notesMasterIdLst>
  <p:handoutMasterIdLst>
    <p:handoutMasterId r:id="rId40"/>
  </p:handoutMasterIdLst>
  <p:sldIdLst>
    <p:sldId id="256" r:id="rId24"/>
    <p:sldId id="274" r:id="rId25"/>
    <p:sldId id="385" r:id="rId26"/>
    <p:sldId id="423" r:id="rId27"/>
    <p:sldId id="424" r:id="rId28"/>
    <p:sldId id="425" r:id="rId29"/>
    <p:sldId id="612" r:id="rId30"/>
    <p:sldId id="426" r:id="rId31"/>
    <p:sldId id="613" r:id="rId32"/>
    <p:sldId id="428" r:id="rId33"/>
    <p:sldId id="269" r:id="rId34"/>
    <p:sldId id="610" r:id="rId35"/>
    <p:sldId id="291" r:id="rId36"/>
    <p:sldId id="275" r:id="rId37"/>
    <p:sldId id="294" r:id="rId38"/>
  </p:sldIdLst>
  <p:sldSz cx="13442950" cy="7561263"/>
  <p:notesSz cx="6797675" cy="9926638"/>
  <p:custDataLst>
    <p:tags r:id="rId41"/>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B1C4"/>
    <a:srgbClr val="5DECFF"/>
    <a:srgbClr val="00CCE2"/>
    <a:srgbClr val="FB3449"/>
    <a:srgbClr val="000000"/>
    <a:srgbClr val="CAC8C8"/>
    <a:srgbClr val="8547AD"/>
    <a:srgbClr val="33006F"/>
    <a:srgbClr val="0099A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80" autoAdjust="0"/>
    <p:restoredTop sz="94280" autoAdjust="0"/>
  </p:normalViewPr>
  <p:slideViewPr>
    <p:cSldViewPr snapToGrid="0">
      <p:cViewPr varScale="1">
        <p:scale>
          <a:sx n="101" d="100"/>
          <a:sy n="101" d="100"/>
        </p:scale>
        <p:origin x="486" y="120"/>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0"/>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3.xml"/><Relationship Id="rId39" Type="http://schemas.openxmlformats.org/officeDocument/2006/relationships/notesMaster" Target="notesMasters/notesMaster1.xml"/><Relationship Id="rId21" Type="http://schemas.openxmlformats.org/officeDocument/2006/relationships/slideMaster" Target="slideMasters/slideMaster18.xml"/><Relationship Id="rId34" Type="http://schemas.openxmlformats.org/officeDocument/2006/relationships/slide" Target="slides/slide11.xml"/><Relationship Id="rId42" Type="http://schemas.openxmlformats.org/officeDocument/2006/relationships/commentAuthors" Target="commen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6.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xml"/><Relationship Id="rId32" Type="http://schemas.openxmlformats.org/officeDocument/2006/relationships/slide" Target="slides/slide9.xml"/><Relationship Id="rId37" Type="http://schemas.openxmlformats.org/officeDocument/2006/relationships/slide" Target="slides/slide14.xml"/><Relationship Id="rId40" Type="http://schemas.openxmlformats.org/officeDocument/2006/relationships/handoutMaster" Target="handoutMasters/handoutMaster1.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5.xml"/><Relationship Id="rId36" Type="http://schemas.openxmlformats.org/officeDocument/2006/relationships/slide" Target="slides/slide13.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8.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4.xml"/><Relationship Id="rId30" Type="http://schemas.openxmlformats.org/officeDocument/2006/relationships/slide" Target="slides/slide7.xml"/><Relationship Id="rId35" Type="http://schemas.openxmlformats.org/officeDocument/2006/relationships/slide" Target="slides/slide12.xml"/><Relationship Id="rId43" Type="http://schemas.openxmlformats.org/officeDocument/2006/relationships/presProps" Target="presProp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2.xml"/><Relationship Id="rId33" Type="http://schemas.openxmlformats.org/officeDocument/2006/relationships/slide" Target="slides/slide10.xml"/><Relationship Id="rId38" Type="http://schemas.openxmlformats.org/officeDocument/2006/relationships/slide" Target="slides/slide15.xml"/><Relationship Id="rId46" Type="http://schemas.openxmlformats.org/officeDocument/2006/relationships/tableStyles" Target="tableStyles.xml"/><Relationship Id="rId20" Type="http://schemas.openxmlformats.org/officeDocument/2006/relationships/slideMaster" Target="slideMasters/slideMaster17.xml"/><Relationship Id="rId41"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1.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6.xml"/><Relationship Id="rId1" Type="http://schemas.microsoft.com/office/2011/relationships/chartStyle" Target="style6.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274495537097199E-2"/>
          <c:y val="4.8188984446257001E-2"/>
          <c:w val="0.61924271131250397"/>
          <c:h val="0.92519616814738603"/>
        </c:manualLayout>
      </c:layout>
      <c:pieChart>
        <c:varyColors val="1"/>
        <c:ser>
          <c:idx val="0"/>
          <c:order val="0"/>
          <c:tx>
            <c:strRef>
              <c:f>Sheet1!$B$1</c:f>
              <c:strCache>
                <c:ptCount val="1"/>
                <c:pt idx="0">
                  <c:v>1634s</c:v>
                </c:pt>
              </c:strCache>
            </c:strRef>
          </c:tx>
          <c:dPt>
            <c:idx val="0"/>
            <c:bubble3D val="0"/>
            <c:spPr>
              <a:solidFill>
                <a:schemeClr val="tx1"/>
              </a:solidFill>
            </c:spPr>
            <c:extLst>
              <c:ext xmlns:c16="http://schemas.microsoft.com/office/drawing/2014/chart" uri="{C3380CC4-5D6E-409C-BE32-E72D297353CC}">
                <c16:uniqueId val="{00000001-3ED8-4CDE-94AF-CB82ED1A2F22}"/>
              </c:ext>
            </c:extLst>
          </c:dPt>
          <c:dPt>
            <c:idx val="1"/>
            <c:bubble3D val="0"/>
            <c:spPr>
              <a:solidFill>
                <a:schemeClr val="tx2"/>
              </a:solidFill>
            </c:spPr>
            <c:extLst>
              <c:ext xmlns:c16="http://schemas.microsoft.com/office/drawing/2014/chart" uri="{C3380CC4-5D6E-409C-BE32-E72D297353CC}">
                <c16:uniqueId val="{00000003-3ED8-4CDE-94AF-CB82ED1A2F22}"/>
              </c:ext>
            </c:extLst>
          </c:dPt>
          <c:dPt>
            <c:idx val="2"/>
            <c:bubble3D val="0"/>
            <c:spPr>
              <a:solidFill>
                <a:schemeClr val="accent2"/>
              </a:solidFill>
            </c:spPr>
            <c:extLst>
              <c:ext xmlns:c16="http://schemas.microsoft.com/office/drawing/2014/chart" uri="{C3380CC4-5D6E-409C-BE32-E72D297353CC}">
                <c16:uniqueId val="{00000005-3ED8-4CDE-94AF-CB82ED1A2F22}"/>
              </c:ext>
            </c:extLst>
          </c:dPt>
          <c:dPt>
            <c:idx val="4"/>
            <c:bubble3D val="0"/>
            <c:spPr>
              <a:solidFill>
                <a:schemeClr val="accent6"/>
              </a:solidFill>
            </c:spPr>
            <c:extLst>
              <c:ext xmlns:c16="http://schemas.microsoft.com/office/drawing/2014/chart" uri="{C3380CC4-5D6E-409C-BE32-E72D297353CC}">
                <c16:uniqueId val="{00000009-9201-4BAD-BEEF-182CA03B4151}"/>
              </c:ext>
            </c:extLst>
          </c:dPt>
          <c:dLbls>
            <c:dLbl>
              <c:idx val="2"/>
              <c:layout>
                <c:manualLayout>
                  <c:x val="5.8343048379884813E-2"/>
                  <c:y val="0.10827663303408373"/>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ED8-4CDE-94AF-CB82ED1A2F22}"/>
                </c:ext>
              </c:extLst>
            </c:dLbl>
            <c:dLbl>
              <c:idx val="3"/>
              <c:layout>
                <c:manualLayout>
                  <c:x val="0.13372247963818842"/>
                  <c:y val="0.23839594837836001"/>
                </c:manualLayout>
              </c:layout>
              <c:dLblPos val="bestFit"/>
              <c:showLegendKey val="0"/>
              <c:showVal val="1"/>
              <c:showCatName val="1"/>
              <c:showSerName val="0"/>
              <c:showPercent val="0"/>
              <c:showBubbleSize val="0"/>
              <c:extLst>
                <c:ext xmlns:c15="http://schemas.microsoft.com/office/drawing/2012/chart" uri="{CE6537A1-D6FC-4f65-9D91-7224C49458BB}">
                  <c15:layout>
                    <c:manualLayout>
                      <c:w val="0.12674670161896345"/>
                      <c:h val="7.4694967665294376E-2"/>
                    </c:manualLayout>
                  </c15:layout>
                </c:ext>
                <c:ext xmlns:c16="http://schemas.microsoft.com/office/drawing/2014/chart" uri="{C3380CC4-5D6E-409C-BE32-E72D297353CC}">
                  <c16:uniqueId val="{00000007-3ED8-4CDE-94AF-CB82ED1A2F22}"/>
                </c:ext>
              </c:extLst>
            </c:dLbl>
            <c:dLbl>
              <c:idx val="4"/>
              <c:layout>
                <c:manualLayout>
                  <c:x val="3.1648320107794087E-2"/>
                  <c:y val="0.10707622644207257"/>
                </c:manualLayout>
              </c:layout>
              <c:spPr>
                <a:noFill/>
                <a:ln>
                  <a:noFill/>
                </a:ln>
                <a:effectLst/>
              </c:spPr>
              <c:txPr>
                <a:bodyPr wrap="square" lIns="38100" tIns="19050" rIns="38100" bIns="19050" anchor="ctr">
                  <a:noAutofit/>
                </a:bodyPr>
                <a:lstStyle/>
                <a:p>
                  <a:pPr>
                    <a:defRPr sz="1100">
                      <a:solidFill>
                        <a:schemeClr val="accent5">
                          <a:lumMod val="20000"/>
                          <a:lumOff val="80000"/>
                        </a:schemeClr>
                      </a:solidFill>
                    </a:defRPr>
                  </a:pPr>
                  <a:endParaRPr lang="en-US"/>
                </a:p>
              </c:txPr>
              <c:dLblPos val="bestFit"/>
              <c:showLegendKey val="0"/>
              <c:showVal val="1"/>
              <c:showCatName val="1"/>
              <c:showSerName val="0"/>
              <c:showPercent val="0"/>
              <c:showBubbleSize val="0"/>
              <c:extLst>
                <c:ext xmlns:c15="http://schemas.microsoft.com/office/drawing/2012/chart" uri="{CE6537A1-D6FC-4f65-9D91-7224C49458BB}">
                  <c15:layout>
                    <c:manualLayout>
                      <c:w val="0.12349330691343234"/>
                      <c:h val="8.0897553319479606E-2"/>
                    </c:manualLayout>
                  </c15:layout>
                </c:ext>
                <c:ext xmlns:c16="http://schemas.microsoft.com/office/drawing/2014/chart" uri="{C3380CC4-5D6E-409C-BE32-E72D297353CC}">
                  <c16:uniqueId val="{00000009-9201-4BAD-BEEF-182CA03B4151}"/>
                </c:ext>
              </c:extLst>
            </c:dLbl>
            <c:spPr>
              <a:noFill/>
              <a:ln>
                <a:noFill/>
              </a:ln>
              <a:effectLst/>
            </c:spPr>
            <c:txPr>
              <a:bodyPr wrap="square" lIns="38100" tIns="19050" rIns="38100" bIns="19050" anchor="ctr">
                <a:spAutoFit/>
              </a:bodyPr>
              <a:lstStyle/>
              <a:p>
                <a:pPr>
                  <a:defRPr sz="1100">
                    <a:solidFill>
                      <a:schemeClr val="accent5">
                        <a:lumMod val="20000"/>
                        <a:lumOff val="80000"/>
                      </a:schemeClr>
                    </a:solidFill>
                  </a:defRPr>
                </a:pPr>
                <a:endParaRPr lang="en-US"/>
              </a:p>
            </c:txPr>
            <c:dLblPos val="ctr"/>
            <c:showLegendKey val="0"/>
            <c:showVal val="1"/>
            <c:showCatName val="1"/>
            <c:showSerName val="0"/>
            <c:showPercent val="0"/>
            <c:showBubbleSize val="0"/>
            <c:showLeaderLines val="1"/>
            <c:extLst>
              <c:ext xmlns:c15="http://schemas.microsoft.com/office/drawing/2012/chart" uri="{CE6537A1-D6FC-4f65-9D91-7224C49458BB}"/>
            </c:extLst>
          </c:dLbls>
          <c:cat>
            <c:strRef>
              <c:f>Sheet1!$A$2:$A$6</c:f>
              <c:strCache>
                <c:ptCount val="5"/>
                <c:pt idx="0">
                  <c:v>TikTok</c:v>
                </c:pt>
                <c:pt idx="1">
                  <c:v>Youtube</c:v>
                </c:pt>
                <c:pt idx="2">
                  <c:v>Other Online Video</c:v>
                </c:pt>
                <c:pt idx="3">
                  <c:v>Subscription VOD</c:v>
                </c:pt>
                <c:pt idx="4">
                  <c:v>Broadcast TV</c:v>
                </c:pt>
              </c:strCache>
            </c:strRef>
          </c:cat>
          <c:val>
            <c:numRef>
              <c:f>Sheet1!$B$2:$B$6</c:f>
              <c:numCache>
                <c:formatCode>0%</c:formatCode>
                <c:ptCount val="5"/>
                <c:pt idx="0">
                  <c:v>0.38</c:v>
                </c:pt>
                <c:pt idx="1">
                  <c:v>0.39</c:v>
                </c:pt>
                <c:pt idx="2">
                  <c:v>0.1</c:v>
                </c:pt>
                <c:pt idx="3">
                  <c:v>0.09</c:v>
                </c:pt>
                <c:pt idx="4">
                  <c:v>0.04</c:v>
                </c:pt>
              </c:numCache>
            </c:numRef>
          </c:val>
          <c:extLst>
            <c:ext xmlns:c16="http://schemas.microsoft.com/office/drawing/2014/chart" uri="{C3380CC4-5D6E-409C-BE32-E72D297353CC}">
              <c16:uniqueId val="{00000008-3ED8-4CDE-94AF-CB82ED1A2F22}"/>
            </c:ext>
          </c:extLst>
        </c:ser>
        <c:dLbls>
          <c:dLblPos val="ctr"/>
          <c:showLegendKey val="0"/>
          <c:showVal val="1"/>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1.1257309293565566E-2"/>
          <c:y val="7.1568637854605238E-2"/>
          <c:w val="0.97748538141286889"/>
          <c:h val="0.81628545540285258"/>
        </c:manualLayout>
      </c:layout>
      <c:barChart>
        <c:barDir val="col"/>
        <c:grouping val="clustered"/>
        <c:varyColors val="0"/>
        <c:ser>
          <c:idx val="0"/>
          <c:order val="0"/>
          <c:tx>
            <c:strRef>
              <c:f>Sheet1!$B$1</c:f>
              <c:strCache>
                <c:ptCount val="1"/>
                <c:pt idx="0">
                  <c:v>%</c:v>
                </c:pt>
              </c:strCache>
            </c:strRef>
          </c:tx>
          <c:spPr>
            <a:solidFill>
              <a:schemeClr val="bg2"/>
            </a:solidFill>
            <a:ln>
              <a:noFill/>
            </a:ln>
            <a:effectLst/>
          </c:spPr>
          <c:invertIfNegative val="0"/>
          <c:dPt>
            <c:idx val="0"/>
            <c:invertIfNegative val="0"/>
            <c:bubble3D val="0"/>
            <c:extLst>
              <c:ext xmlns:c16="http://schemas.microsoft.com/office/drawing/2014/chart" uri="{C3380CC4-5D6E-409C-BE32-E72D297353CC}">
                <c16:uniqueId val="{00000001-D01A-4FCA-BCEE-1946B726E072}"/>
              </c:ext>
            </c:extLst>
          </c:dPt>
          <c:cat>
            <c:numRef>
              <c:f>Sheet1!$A$2:$A$5</c:f>
              <c:numCache>
                <c:formatCode>General</c:formatCode>
                <c:ptCount val="4"/>
                <c:pt idx="0">
                  <c:v>2018</c:v>
                </c:pt>
                <c:pt idx="1">
                  <c:v>2019</c:v>
                </c:pt>
                <c:pt idx="2">
                  <c:v>2020</c:v>
                </c:pt>
                <c:pt idx="3">
                  <c:v>2021</c:v>
                </c:pt>
              </c:numCache>
            </c:numRef>
          </c:cat>
          <c:val>
            <c:numRef>
              <c:f>Sheet1!$B$2:$B$5</c:f>
              <c:numCache>
                <c:formatCode>General</c:formatCode>
                <c:ptCount val="4"/>
                <c:pt idx="0">
                  <c:v>1.35</c:v>
                </c:pt>
                <c:pt idx="1">
                  <c:v>1.2</c:v>
                </c:pt>
                <c:pt idx="2">
                  <c:v>1.04</c:v>
                </c:pt>
                <c:pt idx="3">
                  <c:v>0.84</c:v>
                </c:pt>
              </c:numCache>
            </c:numRef>
          </c:val>
          <c:extLst>
            <c:ext xmlns:c16="http://schemas.microsoft.com/office/drawing/2014/chart" uri="{C3380CC4-5D6E-409C-BE32-E72D297353CC}">
              <c16:uniqueId val="{00000002-D01A-4FCA-BCEE-1946B726E072}"/>
            </c:ext>
          </c:extLst>
        </c:ser>
        <c:dLbls>
          <c:showLegendKey val="0"/>
          <c:showVal val="0"/>
          <c:showCatName val="0"/>
          <c:showSerName val="0"/>
          <c:showPercent val="0"/>
          <c:showBubbleSize val="0"/>
        </c:dLbls>
        <c:gapWidth val="116"/>
        <c:axId val="682677088"/>
        <c:axId val="682676432"/>
      </c:barChart>
      <c:catAx>
        <c:axId val="682677088"/>
        <c:scaling>
          <c:orientation val="minMax"/>
        </c:scaling>
        <c:delete val="0"/>
        <c:axPos val="b"/>
        <c:numFmt formatCode="General" sourceLinked="1"/>
        <c:majorTickMark val="out"/>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1400" b="1" i="0" u="none" strike="noStrike" kern="1200" baseline="0">
                <a:solidFill>
                  <a:schemeClr val="bg1"/>
                </a:solidFill>
                <a:latin typeface="+mn-lt"/>
                <a:ea typeface="+mn-ea"/>
                <a:cs typeface="+mn-cs"/>
              </a:defRPr>
            </a:pPr>
            <a:endParaRPr lang="en-US"/>
          </a:p>
        </c:txPr>
        <c:crossAx val="682676432"/>
        <c:crosses val="autoZero"/>
        <c:auto val="1"/>
        <c:lblAlgn val="ctr"/>
        <c:lblOffset val="100"/>
        <c:noMultiLvlLbl val="0"/>
      </c:catAx>
      <c:valAx>
        <c:axId val="682676432"/>
        <c:scaling>
          <c:orientation val="minMax"/>
          <c:max val="1.4"/>
        </c:scaling>
        <c:delete val="0"/>
        <c:axPos val="l"/>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682677088"/>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GB" sz="1200" u="sng" dirty="0"/>
              <a:t>Which type of adverts do you pay the most attention to?</a:t>
            </a:r>
          </a:p>
        </c:rich>
      </c:tx>
      <c:layout>
        <c:manualLayout>
          <c:xMode val="edge"/>
          <c:yMode val="edge"/>
          <c:x val="0.34697718716678855"/>
          <c:y val="3.4335534412316238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barChart>
        <c:barDir val="bar"/>
        <c:grouping val="clustered"/>
        <c:varyColors val="0"/>
        <c:ser>
          <c:idx val="0"/>
          <c:order val="0"/>
          <c:tx>
            <c:strRef>
              <c:f>Sheet1!$A$3</c:f>
              <c:strCache>
                <c:ptCount val="1"/>
                <c:pt idx="0">
                  <c:v>Which type of adverts do you pay the most attention to?</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G$2</c:f>
              <c:strCache>
                <c:ptCount val="6"/>
                <c:pt idx="0">
                  <c:v>TV</c:v>
                </c:pt>
                <c:pt idx="1">
                  <c:v>Magazines</c:v>
                </c:pt>
                <c:pt idx="2">
                  <c:v>Newspapers</c:v>
                </c:pt>
                <c:pt idx="3">
                  <c:v>OOH</c:v>
                </c:pt>
                <c:pt idx="4">
                  <c:v>Internet</c:v>
                </c:pt>
                <c:pt idx="5">
                  <c:v>Cinema</c:v>
                </c:pt>
              </c:strCache>
            </c:strRef>
          </c:cat>
          <c:val>
            <c:numRef>
              <c:f>Sheet1!$B$3:$G$3</c:f>
              <c:numCache>
                <c:formatCode>0</c:formatCode>
                <c:ptCount val="6"/>
                <c:pt idx="0">
                  <c:v>60</c:v>
                </c:pt>
                <c:pt idx="1">
                  <c:v>69</c:v>
                </c:pt>
                <c:pt idx="2">
                  <c:v>92</c:v>
                </c:pt>
                <c:pt idx="3">
                  <c:v>127</c:v>
                </c:pt>
                <c:pt idx="4">
                  <c:v>160</c:v>
                </c:pt>
                <c:pt idx="5">
                  <c:v>177</c:v>
                </c:pt>
              </c:numCache>
            </c:numRef>
          </c:val>
          <c:extLst>
            <c:ext xmlns:c16="http://schemas.microsoft.com/office/drawing/2014/chart" uri="{C3380CC4-5D6E-409C-BE32-E72D297353CC}">
              <c16:uniqueId val="{00000000-4DF6-401A-97A9-BC123470D0B8}"/>
            </c:ext>
          </c:extLst>
        </c:ser>
        <c:dLbls>
          <c:dLblPos val="outEnd"/>
          <c:showLegendKey val="0"/>
          <c:showVal val="1"/>
          <c:showCatName val="0"/>
          <c:showSerName val="0"/>
          <c:showPercent val="0"/>
          <c:showBubbleSize val="0"/>
        </c:dLbls>
        <c:gapWidth val="150"/>
        <c:overlap val="-25"/>
        <c:axId val="438295416"/>
        <c:axId val="438299680"/>
      </c:barChart>
      <c:catAx>
        <c:axId val="438295416"/>
        <c:scaling>
          <c:orientation val="minMax"/>
        </c:scaling>
        <c:delete val="0"/>
        <c:axPos val="l"/>
        <c:numFmt formatCode="General" sourceLinked="1"/>
        <c:majorTickMark val="none"/>
        <c:minorTickMark val="none"/>
        <c:tickLblPos val="nextTo"/>
        <c:spPr>
          <a:solidFill>
            <a:srgbClr val="FFFFFF"/>
          </a:solidFill>
          <a:ln w="9525" cap="flat" cmpd="sng" algn="ctr">
            <a:solidFill>
              <a:schemeClr val="accent6"/>
            </a:solidFill>
            <a:round/>
          </a:ln>
          <a:effectLst/>
        </c:spPr>
        <c:txPr>
          <a:bodyPr rot="-60000000" spcFirstLastPara="1" vertOverflow="ellipsis" vert="horz" wrap="square" anchor="ctr" anchorCtr="1"/>
          <a:lstStyle/>
          <a:p>
            <a:pPr>
              <a:defRPr sz="1100" b="1" i="0" u="none" strike="noStrike" kern="1200" baseline="0">
                <a:solidFill>
                  <a:schemeClr val="accent6"/>
                </a:solidFill>
                <a:latin typeface="+mn-lt"/>
                <a:ea typeface="+mn-ea"/>
                <a:cs typeface="+mn-cs"/>
              </a:defRPr>
            </a:pPr>
            <a:endParaRPr lang="en-US"/>
          </a:p>
        </c:txPr>
        <c:crossAx val="438299680"/>
        <c:crosses val="autoZero"/>
        <c:auto val="1"/>
        <c:lblAlgn val="ctr"/>
        <c:lblOffset val="100"/>
        <c:noMultiLvlLbl val="0"/>
      </c:catAx>
      <c:valAx>
        <c:axId val="438299680"/>
        <c:scaling>
          <c:orientation val="minMax"/>
        </c:scaling>
        <c:delete val="0"/>
        <c:axPos val="b"/>
        <c:numFmt formatCode="0" sourceLinked="1"/>
        <c:majorTickMark val="out"/>
        <c:minorTickMark val="none"/>
        <c:tickLblPos val="nextTo"/>
        <c:spPr>
          <a:noFill/>
          <a:ln>
            <a:solidFill>
              <a:schemeClr val="accent6"/>
            </a:solidFill>
          </a:ln>
          <a:effectLst/>
        </c:spPr>
        <c:txPr>
          <a:bodyPr rot="-60000000" spcFirstLastPara="1" vertOverflow="ellipsis" vert="horz" wrap="square" anchor="ctr" anchorCtr="1"/>
          <a:lstStyle/>
          <a:p>
            <a:pPr>
              <a:defRPr sz="1000" b="1" i="0" u="none" strike="noStrike" kern="1200" baseline="0">
                <a:solidFill>
                  <a:schemeClr val="accent6"/>
                </a:solidFill>
                <a:latin typeface="+mn-lt"/>
                <a:ea typeface="+mn-ea"/>
                <a:cs typeface="+mn-cs"/>
              </a:defRPr>
            </a:pPr>
            <a:endParaRPr lang="en-US"/>
          </a:p>
        </c:txPr>
        <c:crossAx val="438295416"/>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779399838781058E-2"/>
          <c:y val="7.2095831185962203E-2"/>
          <c:w val="0.9260229507419897"/>
          <c:h val="0.81405561195387"/>
        </c:manualLayout>
      </c:layout>
      <c:barChart>
        <c:barDir val="col"/>
        <c:grouping val="clustered"/>
        <c:varyColors val="0"/>
        <c:ser>
          <c:idx val="0"/>
          <c:order val="0"/>
          <c:tx>
            <c:strRef>
              <c:f>Sheet1!$A$3</c:f>
              <c:strCache>
                <c:ptCount val="1"/>
                <c:pt idx="0">
                  <c:v>Cinema</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D$2</c:f>
              <c:strCache>
                <c:ptCount val="3"/>
                <c:pt idx="0">
                  <c:v>To Give Me Something to Talk About With Friends/Colleagues</c:v>
                </c:pt>
                <c:pt idx="1">
                  <c:v>For Inspiration</c:v>
                </c:pt>
                <c:pt idx="2">
                  <c:v>To Treat/Reward Myself</c:v>
                </c:pt>
              </c:strCache>
            </c:strRef>
          </c:cat>
          <c:val>
            <c:numRef>
              <c:f>Sheet1!$B$3:$D$3</c:f>
              <c:numCache>
                <c:formatCode>0</c:formatCode>
                <c:ptCount val="3"/>
                <c:pt idx="0">
                  <c:v>247</c:v>
                </c:pt>
                <c:pt idx="1">
                  <c:v>218</c:v>
                </c:pt>
                <c:pt idx="2">
                  <c:v>186</c:v>
                </c:pt>
              </c:numCache>
            </c:numRef>
          </c:val>
          <c:extLst>
            <c:ext xmlns:c16="http://schemas.microsoft.com/office/drawing/2014/chart" uri="{C3380CC4-5D6E-409C-BE32-E72D297353CC}">
              <c16:uniqueId val="{00000000-4DF6-401A-97A9-BC123470D0B8}"/>
            </c:ext>
          </c:extLst>
        </c:ser>
        <c:ser>
          <c:idx val="1"/>
          <c:order val="1"/>
          <c:tx>
            <c:strRef>
              <c:f>Sheet1!$A$4</c:f>
              <c:strCache>
                <c:ptCount val="1"/>
                <c:pt idx="0">
                  <c:v>Internet</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D$2</c:f>
              <c:strCache>
                <c:ptCount val="3"/>
                <c:pt idx="0">
                  <c:v>To Give Me Something to Talk About With Friends/Colleagues</c:v>
                </c:pt>
                <c:pt idx="1">
                  <c:v>For Inspiration</c:v>
                </c:pt>
                <c:pt idx="2">
                  <c:v>To Treat/Reward Myself</c:v>
                </c:pt>
              </c:strCache>
            </c:strRef>
          </c:cat>
          <c:val>
            <c:numRef>
              <c:f>Sheet1!$B$4:$D$4</c:f>
              <c:numCache>
                <c:formatCode>General</c:formatCode>
                <c:ptCount val="3"/>
                <c:pt idx="0">
                  <c:v>200</c:v>
                </c:pt>
                <c:pt idx="1">
                  <c:v>135</c:v>
                </c:pt>
                <c:pt idx="2">
                  <c:v>160</c:v>
                </c:pt>
              </c:numCache>
            </c:numRef>
          </c:val>
          <c:extLst>
            <c:ext xmlns:c16="http://schemas.microsoft.com/office/drawing/2014/chart" uri="{C3380CC4-5D6E-409C-BE32-E72D297353CC}">
              <c16:uniqueId val="{00000001-4DF6-401A-97A9-BC123470D0B8}"/>
            </c:ext>
          </c:extLst>
        </c:ser>
        <c:ser>
          <c:idx val="2"/>
          <c:order val="2"/>
          <c:tx>
            <c:strRef>
              <c:f>Sheet1!$A$5</c:f>
              <c:strCache>
                <c:ptCount val="1"/>
                <c:pt idx="0">
                  <c:v>TV</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D$2</c:f>
              <c:strCache>
                <c:ptCount val="3"/>
                <c:pt idx="0">
                  <c:v>To Give Me Something to Talk About With Friends/Colleagues</c:v>
                </c:pt>
                <c:pt idx="1">
                  <c:v>For Inspiration</c:v>
                </c:pt>
                <c:pt idx="2">
                  <c:v>To Treat/Reward Myself</c:v>
                </c:pt>
              </c:strCache>
            </c:strRef>
          </c:cat>
          <c:val>
            <c:numRef>
              <c:f>Sheet1!$B$5:$D$5</c:f>
              <c:numCache>
                <c:formatCode>0</c:formatCode>
                <c:ptCount val="3"/>
                <c:pt idx="0">
                  <c:v>177</c:v>
                </c:pt>
                <c:pt idx="1">
                  <c:v>95</c:v>
                </c:pt>
                <c:pt idx="2">
                  <c:v>168</c:v>
                </c:pt>
              </c:numCache>
            </c:numRef>
          </c:val>
          <c:extLst>
            <c:ext xmlns:c16="http://schemas.microsoft.com/office/drawing/2014/chart" uri="{C3380CC4-5D6E-409C-BE32-E72D297353CC}">
              <c16:uniqueId val="{00000001-B63F-4727-93C1-63FDF1D5A3E1}"/>
            </c:ext>
          </c:extLst>
        </c:ser>
        <c:dLbls>
          <c:dLblPos val="outEnd"/>
          <c:showLegendKey val="0"/>
          <c:showVal val="1"/>
          <c:showCatName val="0"/>
          <c:showSerName val="0"/>
          <c:showPercent val="0"/>
          <c:showBubbleSize val="0"/>
        </c:dLbls>
        <c:gapWidth val="160"/>
        <c:overlap val="-10"/>
        <c:axId val="438295416"/>
        <c:axId val="438299680"/>
      </c:barChart>
      <c:catAx>
        <c:axId val="438295416"/>
        <c:scaling>
          <c:orientation val="minMax"/>
        </c:scaling>
        <c:delete val="0"/>
        <c:axPos val="b"/>
        <c:numFmt formatCode="General" sourceLinked="1"/>
        <c:majorTickMark val="out"/>
        <c:minorTickMark val="none"/>
        <c:tickLblPos val="nextTo"/>
        <c:spPr>
          <a:solidFill>
            <a:srgbClr val="FFFFFF"/>
          </a:solidFill>
          <a:ln w="9525" cap="flat" cmpd="sng" algn="ctr">
            <a:solidFill>
              <a:schemeClr val="accent6"/>
            </a:solidFill>
            <a:round/>
          </a:ln>
          <a:effectLst/>
        </c:spPr>
        <c:txPr>
          <a:bodyPr rot="-60000000" spcFirstLastPara="1" vertOverflow="ellipsis" vert="horz" wrap="square" anchor="ctr" anchorCtr="1"/>
          <a:lstStyle/>
          <a:p>
            <a:pPr>
              <a:defRPr sz="1050" b="1" i="0" u="none" strike="noStrike" kern="1200" baseline="0">
                <a:solidFill>
                  <a:schemeClr val="accent6"/>
                </a:solidFill>
                <a:latin typeface="+mn-lt"/>
                <a:ea typeface="+mn-ea"/>
                <a:cs typeface="+mn-cs"/>
              </a:defRPr>
            </a:pPr>
            <a:endParaRPr lang="en-US"/>
          </a:p>
        </c:txPr>
        <c:crossAx val="438299680"/>
        <c:crosses val="autoZero"/>
        <c:auto val="1"/>
        <c:lblAlgn val="ctr"/>
        <c:lblOffset val="100"/>
        <c:noMultiLvlLbl val="0"/>
      </c:catAx>
      <c:valAx>
        <c:axId val="438299680"/>
        <c:scaling>
          <c:orientation val="minMax"/>
          <c:max val="250"/>
        </c:scaling>
        <c:delete val="0"/>
        <c:axPos val="l"/>
        <c:title>
          <c:tx>
            <c:rich>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900" b="1" i="0" u="none" strike="noStrike" kern="1200" baseline="0">
                    <a:solidFill>
                      <a:schemeClr val="accent6"/>
                    </a:solidFill>
                    <a:latin typeface="+mn-lt"/>
                    <a:ea typeface="+mn-ea"/>
                    <a:cs typeface="+mn-cs"/>
                  </a:defRPr>
                </a:pPr>
                <a:r>
                  <a:rPr lang="en-GB" sz="900" b="1" i="0" baseline="0" dirty="0">
                    <a:solidFill>
                      <a:schemeClr val="accent6"/>
                    </a:solidFill>
                    <a:effectLst/>
                  </a:rPr>
                  <a:t>Index: Positive statements </a:t>
                </a:r>
                <a:endParaRPr lang="en-GB" sz="900" b="1" dirty="0">
                  <a:solidFill>
                    <a:schemeClr val="accent6"/>
                  </a:solidFill>
                  <a:effectLst/>
                </a:endParaRPr>
              </a:p>
            </c:rich>
          </c:tx>
          <c:layout>
            <c:manualLayout>
              <c:xMode val="edge"/>
              <c:yMode val="edge"/>
              <c:x val="0"/>
              <c:y val="0.28182687809919438"/>
            </c:manualLayout>
          </c:layout>
          <c:overlay val="0"/>
          <c:spPr>
            <a:noFill/>
            <a:ln>
              <a:noFill/>
            </a:ln>
            <a:effectLst/>
          </c:spPr>
          <c:txPr>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900" b="1" i="0" u="none" strike="noStrike" kern="1200" baseline="0">
                  <a:solidFill>
                    <a:schemeClr val="accent6"/>
                  </a:solidFill>
                  <a:latin typeface="+mn-lt"/>
                  <a:ea typeface="+mn-ea"/>
                  <a:cs typeface="+mn-cs"/>
                </a:defRPr>
              </a:pPr>
              <a:endParaRPr lang="en-US"/>
            </a:p>
          </c:txPr>
        </c:title>
        <c:numFmt formatCode="0" sourceLinked="1"/>
        <c:majorTickMark val="out"/>
        <c:minorTickMark val="none"/>
        <c:tickLblPos val="nextTo"/>
        <c:spPr>
          <a:noFill/>
          <a:ln>
            <a:solidFill>
              <a:schemeClr val="accent6"/>
            </a:solidFill>
          </a:ln>
          <a:effectLst/>
        </c:spPr>
        <c:txPr>
          <a:bodyPr rot="-60000000" spcFirstLastPara="1" vertOverflow="ellipsis" vert="horz" wrap="square" anchor="ctr" anchorCtr="1"/>
          <a:lstStyle/>
          <a:p>
            <a:pPr>
              <a:defRPr sz="1000" b="1" i="0" u="none" strike="noStrike" kern="1200" baseline="0">
                <a:solidFill>
                  <a:schemeClr val="accent6"/>
                </a:solidFill>
                <a:latin typeface="+mn-lt"/>
                <a:ea typeface="+mn-ea"/>
                <a:cs typeface="+mn-cs"/>
              </a:defRPr>
            </a:pPr>
            <a:endParaRPr lang="en-US"/>
          </a:p>
        </c:txPr>
        <c:crossAx val="438295416"/>
        <c:crosses val="autoZero"/>
        <c:crossBetween val="between"/>
      </c:valAx>
      <c:spPr>
        <a:noFill/>
        <a:ln>
          <a:noFill/>
        </a:ln>
        <a:effectLst/>
      </c:spPr>
    </c:plotArea>
    <c:legend>
      <c:legendPos val="b"/>
      <c:layout>
        <c:manualLayout>
          <c:xMode val="edge"/>
          <c:yMode val="edge"/>
          <c:x val="0.44109881076341323"/>
          <c:y val="2.8951202615188423E-3"/>
          <c:w val="0.15275100599560806"/>
          <c:h val="3.9673898616009763E-2"/>
        </c:manualLayout>
      </c:layout>
      <c:overlay val="0"/>
      <c:spPr>
        <a:noFill/>
        <a:ln>
          <a:noFill/>
        </a:ln>
        <a:effectLst/>
      </c:spPr>
      <c:txPr>
        <a:bodyPr rot="0" spcFirstLastPara="1" vertOverflow="ellipsis" vert="horz" wrap="square" anchor="ctr" anchorCtr="1"/>
        <a:lstStyle/>
        <a:p>
          <a:pPr>
            <a:defRPr sz="1000" b="1" i="0" u="none" strike="noStrike" kern="1200" baseline="0">
              <a:solidFill>
                <a:schemeClr val="accent6"/>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6790988624924885E-2"/>
          <c:y val="1.2729398651702606E-2"/>
          <c:w val="0.92101482191944395"/>
          <c:h val="0.84886646558027912"/>
        </c:manualLayout>
      </c:layout>
      <c:barChart>
        <c:barDir val="col"/>
        <c:grouping val="clustered"/>
        <c:varyColors val="0"/>
        <c:ser>
          <c:idx val="1"/>
          <c:order val="0"/>
          <c:tx>
            <c:strRef>
              <c:f>Sheet1!$C$25</c:f>
              <c:strCache>
                <c:ptCount val="1"/>
                <c:pt idx="0">
                  <c:v>16-34</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6:$B$29</c:f>
              <c:strCache>
                <c:ptCount val="4"/>
                <c:pt idx="0">
                  <c:v>Watch a film in its opening two weeks</c:v>
                </c:pt>
                <c:pt idx="1">
                  <c:v>Watch a film in its opening week</c:v>
                </c:pt>
                <c:pt idx="2">
                  <c:v>Watch a film on its opening weekend </c:v>
                </c:pt>
                <c:pt idx="3">
                  <c:v>Watch a film on its opening night/preview</c:v>
                </c:pt>
              </c:strCache>
            </c:strRef>
          </c:cat>
          <c:val>
            <c:numRef>
              <c:f>Sheet1!$C$26:$C$29</c:f>
              <c:numCache>
                <c:formatCode>0%</c:formatCode>
                <c:ptCount val="4"/>
                <c:pt idx="0">
                  <c:v>0.48</c:v>
                </c:pt>
                <c:pt idx="1">
                  <c:v>0.5</c:v>
                </c:pt>
                <c:pt idx="2">
                  <c:v>0.57999999999999996</c:v>
                </c:pt>
                <c:pt idx="3">
                  <c:v>0.6</c:v>
                </c:pt>
              </c:numCache>
            </c:numRef>
          </c:val>
          <c:extLst>
            <c:ext xmlns:c16="http://schemas.microsoft.com/office/drawing/2014/chart" uri="{C3380CC4-5D6E-409C-BE32-E72D297353CC}">
              <c16:uniqueId val="{00000000-DC1A-4A1B-9C7C-705A97C39B45}"/>
            </c:ext>
          </c:extLst>
        </c:ser>
        <c:dLbls>
          <c:showLegendKey val="0"/>
          <c:showVal val="0"/>
          <c:showCatName val="0"/>
          <c:showSerName val="0"/>
          <c:showPercent val="0"/>
          <c:showBubbleSize val="0"/>
        </c:dLbls>
        <c:gapWidth val="200"/>
        <c:axId val="434463984"/>
        <c:axId val="434464640"/>
      </c:barChart>
      <c:catAx>
        <c:axId val="434463984"/>
        <c:scaling>
          <c:orientation val="minMax"/>
        </c:scaling>
        <c:delete val="0"/>
        <c:axPos val="b"/>
        <c:numFmt formatCode="General" sourceLinked="1"/>
        <c:majorTickMark val="out"/>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n-US"/>
          </a:p>
        </c:txPr>
        <c:crossAx val="434464640"/>
        <c:crosses val="autoZero"/>
        <c:auto val="1"/>
        <c:lblAlgn val="ctr"/>
        <c:lblOffset val="100"/>
        <c:noMultiLvlLbl val="0"/>
      </c:catAx>
      <c:valAx>
        <c:axId val="434464640"/>
        <c:scaling>
          <c:orientation val="minMax"/>
          <c:max val="0.70000000000000007"/>
        </c:scaling>
        <c:delete val="0"/>
        <c:axPos val="l"/>
        <c:title>
          <c:tx>
            <c:rich>
              <a:bodyPr rot="-5400000" spcFirstLastPara="1" vertOverflow="ellipsis" vert="horz" wrap="square" anchor="ctr" anchorCtr="1"/>
              <a:lstStyle/>
              <a:p>
                <a:pPr>
                  <a:defRPr sz="800" b="1" i="0" u="none" strike="noStrike" kern="1200" baseline="0">
                    <a:solidFill>
                      <a:schemeClr val="accent6">
                        <a:lumMod val="75000"/>
                      </a:schemeClr>
                    </a:solidFill>
                    <a:latin typeface="+mn-lt"/>
                    <a:ea typeface="+mn-ea"/>
                    <a:cs typeface="+mn-cs"/>
                  </a:defRPr>
                </a:pPr>
                <a:r>
                  <a:rPr lang="en-GB" sz="800" b="1" dirty="0">
                    <a:solidFill>
                      <a:schemeClr val="accent6">
                        <a:lumMod val="75000"/>
                      </a:schemeClr>
                    </a:solidFill>
                  </a:rPr>
                  <a:t>%</a:t>
                </a:r>
                <a:r>
                  <a:rPr lang="en-GB" sz="800" b="1" baseline="0" dirty="0">
                    <a:solidFill>
                      <a:schemeClr val="accent6">
                        <a:lumMod val="75000"/>
                      </a:schemeClr>
                    </a:solidFill>
                  </a:rPr>
                  <a:t> of audience that are aged 16-34</a:t>
                </a:r>
                <a:endParaRPr lang="en-US" sz="800" b="1" dirty="0">
                  <a:solidFill>
                    <a:schemeClr val="accent6">
                      <a:lumMod val="75000"/>
                    </a:schemeClr>
                  </a:solidFill>
                </a:endParaRPr>
              </a:p>
            </c:rich>
          </c:tx>
          <c:layout>
            <c:manualLayout>
              <c:xMode val="edge"/>
              <c:yMode val="edge"/>
              <c:x val="6.2225376128553804E-3"/>
              <c:y val="0.27576023225592833"/>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accent6">
                      <a:lumMod val="75000"/>
                    </a:schemeClr>
                  </a:solidFill>
                  <a:latin typeface="+mn-lt"/>
                  <a:ea typeface="+mn-ea"/>
                  <a:cs typeface="+mn-cs"/>
                </a:defRPr>
              </a:pPr>
              <a:endParaRPr lang="en-US"/>
            </a:p>
          </c:txPr>
        </c:title>
        <c:numFmt formatCode="0%" sourceLinked="1"/>
        <c:majorTickMark val="out"/>
        <c:minorTickMark val="none"/>
        <c:tickLblPos val="nextTo"/>
        <c:spPr>
          <a:noFill/>
          <a:ln>
            <a:solidFill>
              <a:schemeClr val="accent6">
                <a:lumMod val="60000"/>
                <a:lumOff val="40000"/>
              </a:schemeClr>
            </a:solidFill>
          </a:ln>
          <a:effectLst/>
        </c:spPr>
        <c:txPr>
          <a:bodyPr rot="-60000000" spcFirstLastPara="1" vertOverflow="ellipsis" vert="horz" wrap="square" anchor="ctr" anchorCtr="1"/>
          <a:lstStyle/>
          <a:p>
            <a:pPr>
              <a:defRPr sz="900" b="1" i="0" u="none" strike="noStrike" kern="1200" baseline="0">
                <a:solidFill>
                  <a:schemeClr val="accent6"/>
                </a:solidFill>
                <a:latin typeface="+mn-lt"/>
                <a:ea typeface="+mn-ea"/>
                <a:cs typeface="+mn-cs"/>
              </a:defRPr>
            </a:pPr>
            <a:endParaRPr lang="en-US"/>
          </a:p>
        </c:txPr>
        <c:crossAx val="4344639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1" i="0" u="none" strike="noStrike" kern="1200" baseline="0">
              <a:solidFill>
                <a:schemeClr val="bg1"/>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userShapes r:id="rId4"/>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412795380407099E-2"/>
          <c:y val="0.18185696435555099"/>
          <c:w val="0.95117440923918595"/>
          <c:h val="0.69455171114590397"/>
        </c:manualLayout>
      </c:layout>
      <c:barChart>
        <c:barDir val="col"/>
        <c:grouping val="clustered"/>
        <c:varyColors val="0"/>
        <c:ser>
          <c:idx val="0"/>
          <c:order val="0"/>
          <c:tx>
            <c:strRef>
              <c:f>Sheet1!$B$1</c:f>
              <c:strCache>
                <c:ptCount val="1"/>
                <c:pt idx="0">
                  <c:v>Better Impression</c:v>
                </c:pt>
              </c:strCache>
            </c:strRef>
          </c:tx>
          <c:spPr>
            <a:solidFill>
              <a:schemeClr val="tx1"/>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1-76B3-0645-A609-41CF9FCF8CC6}"/>
              </c:ext>
            </c:extLst>
          </c:dPt>
          <c:dPt>
            <c:idx val="1"/>
            <c:invertIfNegative val="0"/>
            <c:bubble3D val="0"/>
            <c:spPr>
              <a:solidFill>
                <a:schemeClr val="bg2"/>
              </a:solidFill>
              <a:ln>
                <a:noFill/>
              </a:ln>
              <a:effectLst/>
            </c:spPr>
            <c:extLst>
              <c:ext xmlns:c16="http://schemas.microsoft.com/office/drawing/2014/chart" uri="{C3380CC4-5D6E-409C-BE32-E72D297353CC}">
                <c16:uniqueId val="{00000003-76B3-0645-A609-41CF9FCF8CC6}"/>
              </c:ext>
            </c:extLst>
          </c:dPt>
          <c:cat>
            <c:strRef>
              <c:f>Sheet1!$A$2:$A$3</c:f>
              <c:strCache>
                <c:ptCount val="2"/>
                <c:pt idx="0">
                  <c:v>Not exposed to cinema</c:v>
                </c:pt>
                <c:pt idx="1">
                  <c:v>Exposed to cinema</c:v>
                </c:pt>
              </c:strCache>
            </c:strRef>
          </c:cat>
          <c:val>
            <c:numRef>
              <c:f>Sheet1!$B$2:$B$3</c:f>
              <c:numCache>
                <c:formatCode>0.00%</c:formatCode>
                <c:ptCount val="2"/>
                <c:pt idx="0">
                  <c:v>0.5</c:v>
                </c:pt>
                <c:pt idx="1">
                  <c:v>0.65</c:v>
                </c:pt>
              </c:numCache>
            </c:numRef>
          </c:val>
          <c:extLst>
            <c:ext xmlns:c16="http://schemas.microsoft.com/office/drawing/2014/chart" uri="{C3380CC4-5D6E-409C-BE32-E72D297353CC}">
              <c16:uniqueId val="{00000004-76B3-0645-A609-41CF9FCF8CC6}"/>
            </c:ext>
          </c:extLst>
        </c:ser>
        <c:dLbls>
          <c:showLegendKey val="0"/>
          <c:showVal val="0"/>
          <c:showCatName val="0"/>
          <c:showSerName val="0"/>
          <c:showPercent val="0"/>
          <c:showBubbleSize val="0"/>
        </c:dLbls>
        <c:gapWidth val="219"/>
        <c:overlap val="-27"/>
        <c:axId val="-1311029088"/>
        <c:axId val="-1311023712"/>
      </c:barChart>
      <c:catAx>
        <c:axId val="-1311029088"/>
        <c:scaling>
          <c:orientation val="minMax"/>
        </c:scaling>
        <c:delete val="0"/>
        <c:axPos val="b"/>
        <c:numFmt formatCode="General" sourceLinked="1"/>
        <c:majorTickMark val="none"/>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1197" b="1" i="0" u="none" strike="noStrike" kern="1200" baseline="0">
                <a:solidFill>
                  <a:schemeClr val="bg1"/>
                </a:solidFill>
                <a:latin typeface="Arial" charset="0"/>
                <a:ea typeface="Arial" charset="0"/>
                <a:cs typeface="Arial" charset="0"/>
              </a:defRPr>
            </a:pPr>
            <a:endParaRPr lang="en-US"/>
          </a:p>
        </c:txPr>
        <c:crossAx val="-1311023712"/>
        <c:crosses val="autoZero"/>
        <c:auto val="1"/>
        <c:lblAlgn val="ctr"/>
        <c:lblOffset val="100"/>
        <c:noMultiLvlLbl val="0"/>
      </c:catAx>
      <c:valAx>
        <c:axId val="-1311023712"/>
        <c:scaling>
          <c:orientation val="minMax"/>
        </c:scaling>
        <c:delete val="1"/>
        <c:axPos val="l"/>
        <c:majorGridlines>
          <c:spPr>
            <a:ln w="9525" cap="flat" cmpd="sng" algn="ctr">
              <a:noFill/>
              <a:round/>
            </a:ln>
            <a:effectLst/>
          </c:spPr>
        </c:majorGridlines>
        <c:numFmt formatCode="0.00%" sourceLinked="1"/>
        <c:majorTickMark val="none"/>
        <c:minorTickMark val="none"/>
        <c:tickLblPos val="nextTo"/>
        <c:crossAx val="-131102908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412737881449001E-2"/>
          <c:y val="0.18185702512318999"/>
          <c:w val="0.95117440923918595"/>
          <c:h val="0.69455171114590397"/>
        </c:manualLayout>
      </c:layout>
      <c:barChart>
        <c:barDir val="col"/>
        <c:grouping val="clustered"/>
        <c:varyColors val="0"/>
        <c:ser>
          <c:idx val="0"/>
          <c:order val="0"/>
          <c:tx>
            <c:strRef>
              <c:f>Sheet1!$B$1</c:f>
              <c:strCache>
                <c:ptCount val="1"/>
                <c:pt idx="0">
                  <c:v>Better Impression</c:v>
                </c:pt>
              </c:strCache>
            </c:strRef>
          </c:tx>
          <c:spPr>
            <a:solidFill>
              <a:srgbClr val="D5D5D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1-114D-DB4A-A066-6E47DC68DEFC}"/>
              </c:ext>
            </c:extLst>
          </c:dPt>
          <c:dPt>
            <c:idx val="1"/>
            <c:invertIfNegative val="0"/>
            <c:bubble3D val="0"/>
            <c:spPr>
              <a:solidFill>
                <a:schemeClr val="bg2"/>
              </a:solidFill>
              <a:ln>
                <a:noFill/>
              </a:ln>
              <a:effectLst/>
            </c:spPr>
            <c:extLst>
              <c:ext xmlns:c16="http://schemas.microsoft.com/office/drawing/2014/chart" uri="{C3380CC4-5D6E-409C-BE32-E72D297353CC}">
                <c16:uniqueId val="{00000003-114D-DB4A-A066-6E47DC68DEFC}"/>
              </c:ext>
            </c:extLst>
          </c:dPt>
          <c:cat>
            <c:strRef>
              <c:f>Sheet1!$A$2:$A$3</c:f>
              <c:strCache>
                <c:ptCount val="2"/>
                <c:pt idx="0">
                  <c:v>Not exposed to cinema</c:v>
                </c:pt>
                <c:pt idx="1">
                  <c:v>Exposed to cinema</c:v>
                </c:pt>
              </c:strCache>
            </c:strRef>
          </c:cat>
          <c:val>
            <c:numRef>
              <c:f>Sheet1!$B$2:$B$3</c:f>
              <c:numCache>
                <c:formatCode>0.00%</c:formatCode>
                <c:ptCount val="2"/>
                <c:pt idx="0">
                  <c:v>0.28000000000000003</c:v>
                </c:pt>
                <c:pt idx="1">
                  <c:v>0.4</c:v>
                </c:pt>
              </c:numCache>
            </c:numRef>
          </c:val>
          <c:extLst>
            <c:ext xmlns:c16="http://schemas.microsoft.com/office/drawing/2014/chart" uri="{C3380CC4-5D6E-409C-BE32-E72D297353CC}">
              <c16:uniqueId val="{00000004-114D-DB4A-A066-6E47DC68DEFC}"/>
            </c:ext>
          </c:extLst>
        </c:ser>
        <c:dLbls>
          <c:showLegendKey val="0"/>
          <c:showVal val="0"/>
          <c:showCatName val="0"/>
          <c:showSerName val="0"/>
          <c:showPercent val="0"/>
          <c:showBubbleSize val="0"/>
        </c:dLbls>
        <c:gapWidth val="219"/>
        <c:overlap val="-27"/>
        <c:axId val="-1310987040"/>
        <c:axId val="-1310984288"/>
      </c:barChart>
      <c:catAx>
        <c:axId val="-1310987040"/>
        <c:scaling>
          <c:orientation val="minMax"/>
        </c:scaling>
        <c:delete val="0"/>
        <c:axPos val="b"/>
        <c:numFmt formatCode="General" sourceLinked="1"/>
        <c:majorTickMark val="none"/>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1197" b="1" i="0" u="none" strike="noStrike" kern="1200" baseline="0">
                <a:solidFill>
                  <a:schemeClr val="bg1"/>
                </a:solidFill>
                <a:latin typeface="Arial" charset="0"/>
                <a:ea typeface="Arial" charset="0"/>
                <a:cs typeface="Arial" charset="0"/>
              </a:defRPr>
            </a:pPr>
            <a:endParaRPr lang="en-US"/>
          </a:p>
        </c:txPr>
        <c:crossAx val="-1310984288"/>
        <c:crosses val="autoZero"/>
        <c:auto val="1"/>
        <c:lblAlgn val="ctr"/>
        <c:lblOffset val="100"/>
        <c:noMultiLvlLbl val="0"/>
      </c:catAx>
      <c:valAx>
        <c:axId val="-1310984288"/>
        <c:scaling>
          <c:orientation val="minMax"/>
        </c:scaling>
        <c:delete val="1"/>
        <c:axPos val="l"/>
        <c:majorGridlines>
          <c:spPr>
            <a:ln w="9525" cap="flat" cmpd="sng" algn="ctr">
              <a:noFill/>
              <a:round/>
            </a:ln>
            <a:effectLst/>
          </c:spPr>
        </c:majorGridlines>
        <c:numFmt formatCode="0.00%" sourceLinked="1"/>
        <c:majorTickMark val="none"/>
        <c:minorTickMark val="none"/>
        <c:tickLblPos val="nextTo"/>
        <c:crossAx val="-131098704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412795380407099E-2"/>
          <c:y val="0.18185696435555099"/>
          <c:w val="0.95117440923918595"/>
          <c:h val="0.69455171114590397"/>
        </c:manualLayout>
      </c:layout>
      <c:barChart>
        <c:barDir val="col"/>
        <c:grouping val="clustered"/>
        <c:varyColors val="0"/>
        <c:ser>
          <c:idx val="0"/>
          <c:order val="0"/>
          <c:tx>
            <c:strRef>
              <c:f>Sheet1!$B$1</c:f>
              <c:strCache>
                <c:ptCount val="1"/>
                <c:pt idx="0">
                  <c:v>Better Impression</c:v>
                </c:pt>
              </c:strCache>
            </c:strRef>
          </c:tx>
          <c:spPr>
            <a:solidFill>
              <a:srgbClr val="D5D5D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1-5382-964D-AF28-39F2A3DCED8C}"/>
              </c:ext>
            </c:extLst>
          </c:dPt>
          <c:dPt>
            <c:idx val="1"/>
            <c:invertIfNegative val="0"/>
            <c:bubble3D val="0"/>
            <c:spPr>
              <a:solidFill>
                <a:schemeClr val="bg2"/>
              </a:solidFill>
              <a:ln>
                <a:noFill/>
              </a:ln>
              <a:effectLst/>
            </c:spPr>
            <c:extLst>
              <c:ext xmlns:c16="http://schemas.microsoft.com/office/drawing/2014/chart" uri="{C3380CC4-5D6E-409C-BE32-E72D297353CC}">
                <c16:uniqueId val="{00000003-5382-964D-AF28-39F2A3DCED8C}"/>
              </c:ext>
            </c:extLst>
          </c:dPt>
          <c:cat>
            <c:strRef>
              <c:f>Sheet1!$A$2:$A$3</c:f>
              <c:strCache>
                <c:ptCount val="2"/>
                <c:pt idx="0">
                  <c:v>Not exposed to cinema</c:v>
                </c:pt>
                <c:pt idx="1">
                  <c:v>Exposed to cinema</c:v>
                </c:pt>
              </c:strCache>
            </c:strRef>
          </c:cat>
          <c:val>
            <c:numRef>
              <c:f>Sheet1!$B$2:$B$3</c:f>
              <c:numCache>
                <c:formatCode>0.00%</c:formatCode>
                <c:ptCount val="2"/>
                <c:pt idx="0">
                  <c:v>0.25</c:v>
                </c:pt>
                <c:pt idx="1">
                  <c:v>0.4</c:v>
                </c:pt>
              </c:numCache>
            </c:numRef>
          </c:val>
          <c:extLst>
            <c:ext xmlns:c16="http://schemas.microsoft.com/office/drawing/2014/chart" uri="{C3380CC4-5D6E-409C-BE32-E72D297353CC}">
              <c16:uniqueId val="{00000004-5382-964D-AF28-39F2A3DCED8C}"/>
            </c:ext>
          </c:extLst>
        </c:ser>
        <c:dLbls>
          <c:showLegendKey val="0"/>
          <c:showVal val="0"/>
          <c:showCatName val="0"/>
          <c:showSerName val="0"/>
          <c:showPercent val="0"/>
          <c:showBubbleSize val="0"/>
        </c:dLbls>
        <c:gapWidth val="219"/>
        <c:overlap val="-27"/>
        <c:axId val="-1310377056"/>
        <c:axId val="-1310374304"/>
      </c:barChart>
      <c:catAx>
        <c:axId val="-1310377056"/>
        <c:scaling>
          <c:orientation val="minMax"/>
        </c:scaling>
        <c:delete val="0"/>
        <c:axPos val="b"/>
        <c:numFmt formatCode="General" sourceLinked="1"/>
        <c:majorTickMark val="none"/>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1197" b="1" i="0" u="none" strike="noStrike" kern="1200" baseline="0">
                <a:solidFill>
                  <a:schemeClr val="bg1"/>
                </a:solidFill>
                <a:latin typeface="Arial" charset="0"/>
                <a:ea typeface="Arial" charset="0"/>
                <a:cs typeface="Arial" charset="0"/>
              </a:defRPr>
            </a:pPr>
            <a:endParaRPr lang="en-US"/>
          </a:p>
        </c:txPr>
        <c:crossAx val="-1310374304"/>
        <c:crosses val="autoZero"/>
        <c:auto val="1"/>
        <c:lblAlgn val="ctr"/>
        <c:lblOffset val="100"/>
        <c:noMultiLvlLbl val="0"/>
      </c:catAx>
      <c:valAx>
        <c:axId val="-1310374304"/>
        <c:scaling>
          <c:orientation val="minMax"/>
        </c:scaling>
        <c:delete val="1"/>
        <c:axPos val="l"/>
        <c:majorGridlines>
          <c:spPr>
            <a:ln w="9525" cap="flat" cmpd="sng" algn="ctr">
              <a:noFill/>
              <a:round/>
            </a:ln>
            <a:effectLst/>
          </c:spPr>
        </c:majorGridlines>
        <c:numFmt formatCode="0.00%" sourceLinked="1"/>
        <c:majorTickMark val="none"/>
        <c:minorTickMark val="none"/>
        <c:tickLblPos val="nextTo"/>
        <c:crossAx val="-131037705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06699</cdr:x>
      <cdr:y>0.51586</cdr:y>
    </cdr:from>
    <cdr:to>
      <cdr:x>0.93732</cdr:x>
      <cdr:y>0.51586</cdr:y>
    </cdr:to>
    <cdr:cxnSp macro="">
      <cdr:nvCxnSpPr>
        <cdr:cNvPr id="3" name="Straight Connector 2">
          <a:extLst xmlns:a="http://schemas.openxmlformats.org/drawingml/2006/main">
            <a:ext uri="{FF2B5EF4-FFF2-40B4-BE49-F238E27FC236}">
              <a16:creationId xmlns:a16="http://schemas.microsoft.com/office/drawing/2014/main" id="{4054121C-417D-1D75-1B73-CB47CB921188}"/>
            </a:ext>
          </a:extLst>
        </cdr:cNvPr>
        <cdr:cNvCxnSpPr/>
      </cdr:nvCxnSpPr>
      <cdr:spPr>
        <a:xfrm xmlns:a="http://schemas.openxmlformats.org/drawingml/2006/main">
          <a:off x="796737" y="2586231"/>
          <a:ext cx="10351293" cy="0"/>
        </a:xfrm>
        <a:prstGeom xmlns:a="http://schemas.openxmlformats.org/drawingml/2006/main" prst="lin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2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1EA18645-DB65-E848-9EE2-8548BEAEB573}" type="datetimeFigureOut">
              <a:rPr lang="en-US" smtClean="0"/>
              <a:t>9/2/2022</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DBD0E036-A0EF-40EA-AC2B-818A5F8CFC1C}" type="datetimeFigureOut">
              <a:rPr lang="en-US" smtClean="0"/>
              <a:pPr/>
              <a:t>9/2/2022</a:t>
            </a:fld>
            <a:endParaRPr lang="en-US"/>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4911970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798666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9064959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9799465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3924836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9784129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6938807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t>We wanted to go one step further and prove that cinema’s positive attributes and unique environment actually do pay off for brands too amongst the 16-34 audience. </a:t>
            </a:r>
          </a:p>
          <a:p>
            <a:endParaRPr lang="en-US" sz="1400" dirty="0"/>
          </a:p>
          <a:p>
            <a:r>
              <a:rPr lang="en-US" sz="1400" dirty="0" err="1"/>
              <a:t>Differentology</a:t>
            </a:r>
            <a:r>
              <a:rPr lang="en-US" sz="1400" dirty="0"/>
              <a:t> undertook a meta-analysis of 12 campaigns that they had measured the effectiveness of amongst the 16-34 audience across the last 18 months and found that those exposed to cinema were 30% more likely to have been left with a positive impression of the brand as a result of the campaign.</a:t>
            </a:r>
          </a:p>
          <a:p>
            <a:endParaRPr lang="en-US" sz="1400" dirty="0"/>
          </a:p>
          <a:p>
            <a:r>
              <a:rPr lang="en-US" sz="1400" dirty="0"/>
              <a:t>Furthermore, the highly attentive audience in cinema makes it the perfect environment for landing brand messages – results of the meta-analysis highlight that being exposed to cinema led to a 42% increase in rational brand perception agreement and 60% uplift in emotional brand perception agreement.</a:t>
            </a:r>
          </a:p>
          <a:p>
            <a:endParaRPr lang="en-US" sz="1400" dirty="0"/>
          </a:p>
          <a:p>
            <a:r>
              <a:rPr lang="en-US" sz="1400" dirty="0"/>
              <a:t>Highlighting the valuable role that cinema can play in both communicating key messages and </a:t>
            </a:r>
            <a:r>
              <a:rPr lang="en-US" sz="1400" b="1" dirty="0"/>
              <a:t>positively </a:t>
            </a:r>
            <a:r>
              <a:rPr lang="en-US" sz="1400" dirty="0"/>
              <a:t>engaging the 16-34 audience with brands. </a:t>
            </a:r>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8071298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6.xml"/><Relationship Id="rId1" Type="http://schemas.openxmlformats.org/officeDocument/2006/relationships/vmlDrawing" Target="../drawings/vmlDrawing75.vml"/><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8.xml"/><Relationship Id="rId1" Type="http://schemas.openxmlformats.org/officeDocument/2006/relationships/vmlDrawing" Target="../drawings/vmlDrawing77.vml"/><Relationship Id="rId5" Type="http://schemas.openxmlformats.org/officeDocument/2006/relationships/image" Target="../media/image1.emf"/><Relationship Id="rId4" Type="http://schemas.openxmlformats.org/officeDocument/2006/relationships/oleObject" Target="../embeddings/oleObject77.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9.xml"/><Relationship Id="rId1" Type="http://schemas.openxmlformats.org/officeDocument/2006/relationships/vmlDrawing" Target="../drawings/vmlDrawing78.vml"/><Relationship Id="rId5" Type="http://schemas.openxmlformats.org/officeDocument/2006/relationships/image" Target="../media/image1.emf"/><Relationship Id="rId4" Type="http://schemas.openxmlformats.org/officeDocument/2006/relationships/oleObject" Target="../embeddings/oleObject78.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0.xml"/><Relationship Id="rId1" Type="http://schemas.openxmlformats.org/officeDocument/2006/relationships/vmlDrawing" Target="../drawings/vmlDrawing79.vml"/><Relationship Id="rId5" Type="http://schemas.openxmlformats.org/officeDocument/2006/relationships/image" Target="../media/image1.emf"/><Relationship Id="rId4" Type="http://schemas.openxmlformats.org/officeDocument/2006/relationships/oleObject" Target="../embeddings/oleObject79.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1.xml"/><Relationship Id="rId1" Type="http://schemas.openxmlformats.org/officeDocument/2006/relationships/vmlDrawing" Target="../drawings/vmlDrawing80.vml"/><Relationship Id="rId5" Type="http://schemas.openxmlformats.org/officeDocument/2006/relationships/image" Target="../media/image1.emf"/><Relationship Id="rId4" Type="http://schemas.openxmlformats.org/officeDocument/2006/relationships/oleObject" Target="../embeddings/oleObject80.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2.xml"/><Relationship Id="rId1" Type="http://schemas.openxmlformats.org/officeDocument/2006/relationships/vmlDrawing" Target="../drawings/vmlDrawing81.vml"/><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3.xml"/><Relationship Id="rId1" Type="http://schemas.openxmlformats.org/officeDocument/2006/relationships/vmlDrawing" Target="../drawings/vmlDrawing82.vml"/><Relationship Id="rId5" Type="http://schemas.openxmlformats.org/officeDocument/2006/relationships/image" Target="../media/image1.emf"/><Relationship Id="rId4" Type="http://schemas.openxmlformats.org/officeDocument/2006/relationships/oleObject" Target="../embeddings/oleObject82.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4.xml"/><Relationship Id="rId1" Type="http://schemas.openxmlformats.org/officeDocument/2006/relationships/vmlDrawing" Target="../drawings/vmlDrawing83.vml"/><Relationship Id="rId5" Type="http://schemas.openxmlformats.org/officeDocument/2006/relationships/image" Target="../media/image1.emf"/><Relationship Id="rId4" Type="http://schemas.openxmlformats.org/officeDocument/2006/relationships/oleObject" Target="../embeddings/oleObject83.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5.xml"/><Relationship Id="rId1" Type="http://schemas.openxmlformats.org/officeDocument/2006/relationships/vmlDrawing" Target="../drawings/vmlDrawing84.vml"/><Relationship Id="rId5" Type="http://schemas.openxmlformats.org/officeDocument/2006/relationships/image" Target="../media/image1.emf"/><Relationship Id="rId4" Type="http://schemas.openxmlformats.org/officeDocument/2006/relationships/oleObject" Target="../embeddings/oleObject84.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6.xml"/><Relationship Id="rId1" Type="http://schemas.openxmlformats.org/officeDocument/2006/relationships/vmlDrawing" Target="../drawings/vmlDrawing85.vml"/><Relationship Id="rId5" Type="http://schemas.openxmlformats.org/officeDocument/2006/relationships/image" Target="../media/image1.emf"/><Relationship Id="rId4" Type="http://schemas.openxmlformats.org/officeDocument/2006/relationships/oleObject" Target="../embeddings/oleObject85.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7.xml"/><Relationship Id="rId1" Type="http://schemas.openxmlformats.org/officeDocument/2006/relationships/vmlDrawing" Target="../drawings/vmlDrawing86.vml"/><Relationship Id="rId5" Type="http://schemas.openxmlformats.org/officeDocument/2006/relationships/image" Target="../media/image1.emf"/><Relationship Id="rId4" Type="http://schemas.openxmlformats.org/officeDocument/2006/relationships/oleObject" Target="../embeddings/oleObject86.bin"/></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9.xml"/><Relationship Id="rId1" Type="http://schemas.openxmlformats.org/officeDocument/2006/relationships/vmlDrawing" Target="../drawings/vmlDrawing88.vml"/><Relationship Id="rId5" Type="http://schemas.openxmlformats.org/officeDocument/2006/relationships/image" Target="../media/image1.emf"/><Relationship Id="rId4" Type="http://schemas.openxmlformats.org/officeDocument/2006/relationships/oleObject" Target="../embeddings/oleObject88.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0.xml"/><Relationship Id="rId1" Type="http://schemas.openxmlformats.org/officeDocument/2006/relationships/vmlDrawing" Target="../drawings/vmlDrawing89.vml"/><Relationship Id="rId5" Type="http://schemas.openxmlformats.org/officeDocument/2006/relationships/image" Target="../media/image1.emf"/><Relationship Id="rId4" Type="http://schemas.openxmlformats.org/officeDocument/2006/relationships/oleObject" Target="../embeddings/oleObject89.bin"/></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1.xml"/><Relationship Id="rId1" Type="http://schemas.openxmlformats.org/officeDocument/2006/relationships/vmlDrawing" Target="../drawings/vmlDrawing90.vml"/><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2.xml"/><Relationship Id="rId1" Type="http://schemas.openxmlformats.org/officeDocument/2006/relationships/vmlDrawing" Target="../drawings/vmlDrawing91.vml"/><Relationship Id="rId5" Type="http://schemas.openxmlformats.org/officeDocument/2006/relationships/image" Target="../media/image1.emf"/><Relationship Id="rId4" Type="http://schemas.openxmlformats.org/officeDocument/2006/relationships/oleObject" Target="../embeddings/oleObject91.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3.xml"/><Relationship Id="rId1" Type="http://schemas.openxmlformats.org/officeDocument/2006/relationships/vmlDrawing" Target="../drawings/vmlDrawing92.vml"/><Relationship Id="rId5" Type="http://schemas.openxmlformats.org/officeDocument/2006/relationships/image" Target="../media/image1.emf"/><Relationship Id="rId4" Type="http://schemas.openxmlformats.org/officeDocument/2006/relationships/oleObject" Target="../embeddings/oleObject9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4.xml"/><Relationship Id="rId1" Type="http://schemas.openxmlformats.org/officeDocument/2006/relationships/vmlDrawing" Target="../drawings/vmlDrawing93.vml"/><Relationship Id="rId5" Type="http://schemas.openxmlformats.org/officeDocument/2006/relationships/image" Target="../media/image1.emf"/><Relationship Id="rId4" Type="http://schemas.openxmlformats.org/officeDocument/2006/relationships/oleObject" Target="../embeddings/oleObject93.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5.xml"/><Relationship Id="rId1" Type="http://schemas.openxmlformats.org/officeDocument/2006/relationships/vmlDrawing" Target="../drawings/vmlDrawing94.vml"/><Relationship Id="rId5" Type="http://schemas.openxmlformats.org/officeDocument/2006/relationships/image" Target="../media/image1.emf"/><Relationship Id="rId4" Type="http://schemas.openxmlformats.org/officeDocument/2006/relationships/oleObject" Target="../embeddings/oleObject94.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6.xml"/><Relationship Id="rId1" Type="http://schemas.openxmlformats.org/officeDocument/2006/relationships/vmlDrawing" Target="../drawings/vmlDrawing95.vml"/><Relationship Id="rId5" Type="http://schemas.openxmlformats.org/officeDocument/2006/relationships/image" Target="../media/image1.emf"/><Relationship Id="rId4" Type="http://schemas.openxmlformats.org/officeDocument/2006/relationships/oleObject" Target="../embeddings/oleObject95.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7.xml"/><Relationship Id="rId1" Type="http://schemas.openxmlformats.org/officeDocument/2006/relationships/vmlDrawing" Target="../drawings/vmlDrawing96.vml"/><Relationship Id="rId5" Type="http://schemas.openxmlformats.org/officeDocument/2006/relationships/image" Target="../media/image1.emf"/><Relationship Id="rId4" Type="http://schemas.openxmlformats.org/officeDocument/2006/relationships/oleObject" Target="../embeddings/oleObject96.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8.xml"/><Relationship Id="rId1" Type="http://schemas.openxmlformats.org/officeDocument/2006/relationships/vmlDrawing" Target="../drawings/vmlDrawing97.vml"/><Relationship Id="rId5" Type="http://schemas.openxmlformats.org/officeDocument/2006/relationships/image" Target="../media/image1.emf"/><Relationship Id="rId4" Type="http://schemas.openxmlformats.org/officeDocument/2006/relationships/oleObject" Target="../embeddings/oleObject97.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9.xml"/><Relationship Id="rId1" Type="http://schemas.openxmlformats.org/officeDocument/2006/relationships/vmlDrawing" Target="../drawings/vmlDrawing98.vml"/><Relationship Id="rId5" Type="http://schemas.openxmlformats.org/officeDocument/2006/relationships/image" Target="../media/image1.emf"/><Relationship Id="rId4" Type="http://schemas.openxmlformats.org/officeDocument/2006/relationships/oleObject" Target="../embeddings/oleObject98.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0.xml"/><Relationship Id="rId1" Type="http://schemas.openxmlformats.org/officeDocument/2006/relationships/vmlDrawing" Target="../drawings/vmlDrawing99.vml"/><Relationship Id="rId5" Type="http://schemas.openxmlformats.org/officeDocument/2006/relationships/image" Target="../media/image1.emf"/><Relationship Id="rId4" Type="http://schemas.openxmlformats.org/officeDocument/2006/relationships/oleObject" Target="../embeddings/oleObject99.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1.xml"/><Relationship Id="rId1" Type="http://schemas.openxmlformats.org/officeDocument/2006/relationships/vmlDrawing" Target="../drawings/vmlDrawing100.vml"/><Relationship Id="rId5" Type="http://schemas.openxmlformats.org/officeDocument/2006/relationships/image" Target="../media/image1.emf"/><Relationship Id="rId4" Type="http://schemas.openxmlformats.org/officeDocument/2006/relationships/oleObject" Target="../embeddings/oleObject100.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2.xml"/><Relationship Id="rId1" Type="http://schemas.openxmlformats.org/officeDocument/2006/relationships/vmlDrawing" Target="../drawings/vmlDrawing101.vml"/><Relationship Id="rId5" Type="http://schemas.openxmlformats.org/officeDocument/2006/relationships/image" Target="../media/image1.emf"/><Relationship Id="rId4" Type="http://schemas.openxmlformats.org/officeDocument/2006/relationships/oleObject" Target="../embeddings/oleObject101.bin"/></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4.xml"/><Relationship Id="rId1" Type="http://schemas.openxmlformats.org/officeDocument/2006/relationships/vmlDrawing" Target="../drawings/vmlDrawing103.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103.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5.xml"/><Relationship Id="rId1" Type="http://schemas.openxmlformats.org/officeDocument/2006/relationships/vmlDrawing" Target="../drawings/vmlDrawing104.v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104.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6.xml"/><Relationship Id="rId1" Type="http://schemas.openxmlformats.org/officeDocument/2006/relationships/vmlDrawing" Target="../drawings/vmlDrawing105.vml"/><Relationship Id="rId5" Type="http://schemas.openxmlformats.org/officeDocument/2006/relationships/image" Target="../media/image1.emf"/><Relationship Id="rId4" Type="http://schemas.openxmlformats.org/officeDocument/2006/relationships/oleObject" Target="../embeddings/oleObject105.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7.xml"/><Relationship Id="rId1" Type="http://schemas.openxmlformats.org/officeDocument/2006/relationships/vmlDrawing" Target="../drawings/vmlDrawing106.vml"/><Relationship Id="rId5" Type="http://schemas.openxmlformats.org/officeDocument/2006/relationships/image" Target="../media/image1.emf"/><Relationship Id="rId4" Type="http://schemas.openxmlformats.org/officeDocument/2006/relationships/oleObject" Target="../embeddings/oleObject106.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8.xml"/><Relationship Id="rId1" Type="http://schemas.openxmlformats.org/officeDocument/2006/relationships/vmlDrawing" Target="../drawings/vmlDrawing107.vml"/><Relationship Id="rId5" Type="http://schemas.openxmlformats.org/officeDocument/2006/relationships/image" Target="../media/image1.emf"/><Relationship Id="rId4" Type="http://schemas.openxmlformats.org/officeDocument/2006/relationships/oleObject" Target="../embeddings/oleObject107.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9.xml"/><Relationship Id="rId1" Type="http://schemas.openxmlformats.org/officeDocument/2006/relationships/vmlDrawing" Target="../drawings/vmlDrawing108.vml"/><Relationship Id="rId5" Type="http://schemas.openxmlformats.org/officeDocument/2006/relationships/image" Target="../media/image1.emf"/><Relationship Id="rId4" Type="http://schemas.openxmlformats.org/officeDocument/2006/relationships/oleObject" Target="../embeddings/oleObject108.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0.xml"/><Relationship Id="rId1" Type="http://schemas.openxmlformats.org/officeDocument/2006/relationships/vmlDrawing" Target="../drawings/vmlDrawing109.vml"/><Relationship Id="rId5" Type="http://schemas.openxmlformats.org/officeDocument/2006/relationships/image" Target="../media/image1.emf"/><Relationship Id="rId4" Type="http://schemas.openxmlformats.org/officeDocument/2006/relationships/oleObject" Target="../embeddings/oleObject109.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1.xml"/><Relationship Id="rId1" Type="http://schemas.openxmlformats.org/officeDocument/2006/relationships/vmlDrawing" Target="../drawings/vmlDrawing110.vml"/><Relationship Id="rId5" Type="http://schemas.openxmlformats.org/officeDocument/2006/relationships/image" Target="../media/image1.emf"/><Relationship Id="rId4" Type="http://schemas.openxmlformats.org/officeDocument/2006/relationships/oleObject" Target="../embeddings/oleObject110.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2.xml"/><Relationship Id="rId1" Type="http://schemas.openxmlformats.org/officeDocument/2006/relationships/vmlDrawing" Target="../drawings/vmlDrawing111.vml"/><Relationship Id="rId5" Type="http://schemas.openxmlformats.org/officeDocument/2006/relationships/image" Target="../media/image1.emf"/><Relationship Id="rId4" Type="http://schemas.openxmlformats.org/officeDocument/2006/relationships/oleObject" Target="../embeddings/oleObject111.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3.xml"/><Relationship Id="rId1" Type="http://schemas.openxmlformats.org/officeDocument/2006/relationships/vmlDrawing" Target="../drawings/vmlDrawing112.vml"/><Relationship Id="rId5" Type="http://schemas.openxmlformats.org/officeDocument/2006/relationships/image" Target="../media/image1.emf"/><Relationship Id="rId4" Type="http://schemas.openxmlformats.org/officeDocument/2006/relationships/oleObject" Target="../embeddings/oleObject112.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4.xml"/><Relationship Id="rId1" Type="http://schemas.openxmlformats.org/officeDocument/2006/relationships/vmlDrawing" Target="../drawings/vmlDrawing113.vml"/><Relationship Id="rId5" Type="http://schemas.openxmlformats.org/officeDocument/2006/relationships/image" Target="../media/image1.emf"/><Relationship Id="rId4" Type="http://schemas.openxmlformats.org/officeDocument/2006/relationships/oleObject" Target="../embeddings/oleObject113.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5.xml"/><Relationship Id="rId1" Type="http://schemas.openxmlformats.org/officeDocument/2006/relationships/vmlDrawing" Target="../drawings/vmlDrawing114.vml"/><Relationship Id="rId5" Type="http://schemas.openxmlformats.org/officeDocument/2006/relationships/image" Target="../media/image1.emf"/><Relationship Id="rId4" Type="http://schemas.openxmlformats.org/officeDocument/2006/relationships/oleObject" Target="../embeddings/oleObject114.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6.xml"/><Relationship Id="rId1" Type="http://schemas.openxmlformats.org/officeDocument/2006/relationships/vmlDrawing" Target="../drawings/vmlDrawing115.vml"/><Relationship Id="rId5" Type="http://schemas.openxmlformats.org/officeDocument/2006/relationships/image" Target="../media/image1.emf"/><Relationship Id="rId4" Type="http://schemas.openxmlformats.org/officeDocument/2006/relationships/oleObject" Target="../embeddings/oleObject115.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7.xml"/><Relationship Id="rId1" Type="http://schemas.openxmlformats.org/officeDocument/2006/relationships/vmlDrawing" Target="../drawings/vmlDrawing116.vml"/><Relationship Id="rId5" Type="http://schemas.openxmlformats.org/officeDocument/2006/relationships/image" Target="../media/image1.emf"/><Relationship Id="rId4" Type="http://schemas.openxmlformats.org/officeDocument/2006/relationships/oleObject" Target="../embeddings/oleObject116.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8.xml"/><Relationship Id="rId1" Type="http://schemas.openxmlformats.org/officeDocument/2006/relationships/vmlDrawing" Target="../drawings/vmlDrawing117.vml"/><Relationship Id="rId5" Type="http://schemas.openxmlformats.org/officeDocument/2006/relationships/image" Target="../media/image1.emf"/><Relationship Id="rId4" Type="http://schemas.openxmlformats.org/officeDocument/2006/relationships/oleObject" Target="../embeddings/oleObject117.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9.xml"/><Relationship Id="rId1" Type="http://schemas.openxmlformats.org/officeDocument/2006/relationships/vmlDrawing" Target="../drawings/vmlDrawing118.vml"/><Relationship Id="rId5" Type="http://schemas.openxmlformats.org/officeDocument/2006/relationships/image" Target="../media/image1.emf"/><Relationship Id="rId4" Type="http://schemas.openxmlformats.org/officeDocument/2006/relationships/oleObject" Target="../embeddings/oleObject118.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20.xml"/><Relationship Id="rId1" Type="http://schemas.openxmlformats.org/officeDocument/2006/relationships/vmlDrawing" Target="../drawings/vmlDrawing119.vml"/><Relationship Id="rId5" Type="http://schemas.openxmlformats.org/officeDocument/2006/relationships/image" Target="../media/image1.emf"/><Relationship Id="rId4" Type="http://schemas.openxmlformats.org/officeDocument/2006/relationships/oleObject" Target="../embeddings/oleObject119.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21.xml"/><Relationship Id="rId1" Type="http://schemas.openxmlformats.org/officeDocument/2006/relationships/vmlDrawing" Target="../drawings/vmlDrawing120.vml"/><Relationship Id="rId5" Type="http://schemas.openxmlformats.org/officeDocument/2006/relationships/image" Target="../media/image1.emf"/><Relationship Id="rId4" Type="http://schemas.openxmlformats.org/officeDocument/2006/relationships/oleObject" Target="../embeddings/oleObject120.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23.xml"/><Relationship Id="rId1" Type="http://schemas.openxmlformats.org/officeDocument/2006/relationships/vmlDrawing" Target="../drawings/vmlDrawing12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22.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24.xml"/><Relationship Id="rId1" Type="http://schemas.openxmlformats.org/officeDocument/2006/relationships/vmlDrawing" Target="../drawings/vmlDrawing12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23.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25.xml"/><Relationship Id="rId1" Type="http://schemas.openxmlformats.org/officeDocument/2006/relationships/vmlDrawing" Target="../drawings/vmlDrawing12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24.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26.xml"/><Relationship Id="rId1" Type="http://schemas.openxmlformats.org/officeDocument/2006/relationships/vmlDrawing" Target="../drawings/vmlDrawing12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25.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27.xml"/><Relationship Id="rId1" Type="http://schemas.openxmlformats.org/officeDocument/2006/relationships/vmlDrawing" Target="../drawings/vmlDrawing126.vml"/><Relationship Id="rId5" Type="http://schemas.openxmlformats.org/officeDocument/2006/relationships/image" Target="../media/image1.emf"/><Relationship Id="rId4" Type="http://schemas.openxmlformats.org/officeDocument/2006/relationships/oleObject" Target="../embeddings/oleObject126.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28.xml"/><Relationship Id="rId1" Type="http://schemas.openxmlformats.org/officeDocument/2006/relationships/vmlDrawing" Target="../drawings/vmlDrawing127.vml"/><Relationship Id="rId5" Type="http://schemas.openxmlformats.org/officeDocument/2006/relationships/image" Target="../media/image1.emf"/><Relationship Id="rId4" Type="http://schemas.openxmlformats.org/officeDocument/2006/relationships/oleObject" Target="../embeddings/oleObject127.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29.xml"/><Relationship Id="rId1" Type="http://schemas.openxmlformats.org/officeDocument/2006/relationships/vmlDrawing" Target="../drawings/vmlDrawing128.vml"/><Relationship Id="rId5" Type="http://schemas.openxmlformats.org/officeDocument/2006/relationships/image" Target="../media/image1.emf"/><Relationship Id="rId4" Type="http://schemas.openxmlformats.org/officeDocument/2006/relationships/oleObject" Target="../embeddings/oleObject128.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30.xml"/><Relationship Id="rId1" Type="http://schemas.openxmlformats.org/officeDocument/2006/relationships/vmlDrawing" Target="../drawings/vmlDrawing129.vml"/><Relationship Id="rId5" Type="http://schemas.openxmlformats.org/officeDocument/2006/relationships/image" Target="../media/image1.emf"/><Relationship Id="rId4" Type="http://schemas.openxmlformats.org/officeDocument/2006/relationships/oleObject" Target="../embeddings/oleObject129.bin"/></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31.xml"/><Relationship Id="rId1" Type="http://schemas.openxmlformats.org/officeDocument/2006/relationships/vmlDrawing" Target="../drawings/vmlDrawing130.vml"/><Relationship Id="rId5" Type="http://schemas.openxmlformats.org/officeDocument/2006/relationships/image" Target="../media/image1.emf"/><Relationship Id="rId4" Type="http://schemas.openxmlformats.org/officeDocument/2006/relationships/oleObject" Target="../embeddings/oleObject130.bin"/></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32.xml"/><Relationship Id="rId1" Type="http://schemas.openxmlformats.org/officeDocument/2006/relationships/vmlDrawing" Target="../drawings/vmlDrawing131.vml"/><Relationship Id="rId5" Type="http://schemas.openxmlformats.org/officeDocument/2006/relationships/image" Target="../media/image1.emf"/><Relationship Id="rId4" Type="http://schemas.openxmlformats.org/officeDocument/2006/relationships/oleObject" Target="../embeddings/oleObject131.bin"/></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33.xml"/><Relationship Id="rId1" Type="http://schemas.openxmlformats.org/officeDocument/2006/relationships/vmlDrawing" Target="../drawings/vmlDrawing132.vml"/><Relationship Id="rId5" Type="http://schemas.openxmlformats.org/officeDocument/2006/relationships/image" Target="../media/image1.emf"/><Relationship Id="rId4" Type="http://schemas.openxmlformats.org/officeDocument/2006/relationships/oleObject" Target="../embeddings/oleObject132.bin"/></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34.xml"/><Relationship Id="rId1" Type="http://schemas.openxmlformats.org/officeDocument/2006/relationships/vmlDrawing" Target="../drawings/vmlDrawing133.vml"/><Relationship Id="rId5" Type="http://schemas.openxmlformats.org/officeDocument/2006/relationships/image" Target="../media/image1.emf"/><Relationship Id="rId4" Type="http://schemas.openxmlformats.org/officeDocument/2006/relationships/oleObject" Target="../embeddings/oleObject133.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35.xml"/><Relationship Id="rId1" Type="http://schemas.openxmlformats.org/officeDocument/2006/relationships/vmlDrawing" Target="../drawings/vmlDrawing134.vml"/><Relationship Id="rId5" Type="http://schemas.openxmlformats.org/officeDocument/2006/relationships/image" Target="../media/image1.emf"/><Relationship Id="rId4" Type="http://schemas.openxmlformats.org/officeDocument/2006/relationships/oleObject" Target="../embeddings/oleObject134.bin"/></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37.xml"/><Relationship Id="rId1" Type="http://schemas.openxmlformats.org/officeDocument/2006/relationships/vmlDrawing" Target="../drawings/vmlDrawing136.vml"/><Relationship Id="rId5" Type="http://schemas.openxmlformats.org/officeDocument/2006/relationships/image" Target="../media/image1.emf"/><Relationship Id="rId4" Type="http://schemas.openxmlformats.org/officeDocument/2006/relationships/oleObject" Target="../embeddings/oleObject136.bin"/></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38.xml"/><Relationship Id="rId1" Type="http://schemas.openxmlformats.org/officeDocument/2006/relationships/vmlDrawing" Target="../drawings/vmlDrawing137.vml"/><Relationship Id="rId5" Type="http://schemas.openxmlformats.org/officeDocument/2006/relationships/image" Target="../media/image1.emf"/><Relationship Id="rId4" Type="http://schemas.openxmlformats.org/officeDocument/2006/relationships/oleObject" Target="../embeddings/oleObject137.bin"/></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39.xml"/><Relationship Id="rId1" Type="http://schemas.openxmlformats.org/officeDocument/2006/relationships/vmlDrawing" Target="../drawings/vmlDrawing138.vml"/><Relationship Id="rId5" Type="http://schemas.openxmlformats.org/officeDocument/2006/relationships/image" Target="../media/image1.emf"/><Relationship Id="rId4" Type="http://schemas.openxmlformats.org/officeDocument/2006/relationships/oleObject" Target="../embeddings/oleObject138.bin"/></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0.xml"/><Relationship Id="rId1" Type="http://schemas.openxmlformats.org/officeDocument/2006/relationships/vmlDrawing" Target="../drawings/vmlDrawing139.vml"/><Relationship Id="rId5" Type="http://schemas.openxmlformats.org/officeDocument/2006/relationships/image" Target="../media/image1.emf"/><Relationship Id="rId4" Type="http://schemas.openxmlformats.org/officeDocument/2006/relationships/oleObject" Target="../embeddings/oleObject139.bin"/></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1.xml"/><Relationship Id="rId1" Type="http://schemas.openxmlformats.org/officeDocument/2006/relationships/vmlDrawing" Target="../drawings/vmlDrawing140.vml"/><Relationship Id="rId5" Type="http://schemas.openxmlformats.org/officeDocument/2006/relationships/image" Target="../media/image1.emf"/><Relationship Id="rId4" Type="http://schemas.openxmlformats.org/officeDocument/2006/relationships/oleObject" Target="../embeddings/oleObject140.bin"/></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2.xml"/><Relationship Id="rId1" Type="http://schemas.openxmlformats.org/officeDocument/2006/relationships/vmlDrawing" Target="../drawings/vmlDrawing141.vml"/><Relationship Id="rId5" Type="http://schemas.openxmlformats.org/officeDocument/2006/relationships/image" Target="../media/image1.emf"/><Relationship Id="rId4" Type="http://schemas.openxmlformats.org/officeDocument/2006/relationships/oleObject" Target="../embeddings/oleObject141.bin"/></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3.xml"/><Relationship Id="rId1" Type="http://schemas.openxmlformats.org/officeDocument/2006/relationships/vmlDrawing" Target="../drawings/vmlDrawing142.vml"/><Relationship Id="rId5" Type="http://schemas.openxmlformats.org/officeDocument/2006/relationships/image" Target="../media/image1.emf"/><Relationship Id="rId4" Type="http://schemas.openxmlformats.org/officeDocument/2006/relationships/oleObject" Target="../embeddings/oleObject142.bin"/></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4.xml"/><Relationship Id="rId1" Type="http://schemas.openxmlformats.org/officeDocument/2006/relationships/vmlDrawing" Target="../drawings/vmlDrawing143.vml"/><Relationship Id="rId5" Type="http://schemas.openxmlformats.org/officeDocument/2006/relationships/image" Target="../media/image1.emf"/><Relationship Id="rId4" Type="http://schemas.openxmlformats.org/officeDocument/2006/relationships/oleObject" Target="../embeddings/oleObject143.bin"/></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5.xml"/><Relationship Id="rId1" Type="http://schemas.openxmlformats.org/officeDocument/2006/relationships/vmlDrawing" Target="../drawings/vmlDrawing144.vml"/><Relationship Id="rId5" Type="http://schemas.openxmlformats.org/officeDocument/2006/relationships/image" Target="../media/image1.emf"/><Relationship Id="rId4" Type="http://schemas.openxmlformats.org/officeDocument/2006/relationships/oleObject" Target="../embeddings/oleObject144.bin"/></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6.xml"/><Relationship Id="rId1" Type="http://schemas.openxmlformats.org/officeDocument/2006/relationships/vmlDrawing" Target="../drawings/vmlDrawing145.vml"/><Relationship Id="rId5" Type="http://schemas.openxmlformats.org/officeDocument/2006/relationships/image" Target="../media/image1.emf"/><Relationship Id="rId4" Type="http://schemas.openxmlformats.org/officeDocument/2006/relationships/oleObject" Target="../embeddings/oleObject145.bin"/></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7.xml"/><Relationship Id="rId1" Type="http://schemas.openxmlformats.org/officeDocument/2006/relationships/vmlDrawing" Target="../drawings/vmlDrawing146.vml"/><Relationship Id="rId5" Type="http://schemas.openxmlformats.org/officeDocument/2006/relationships/image" Target="../media/image1.emf"/><Relationship Id="rId4" Type="http://schemas.openxmlformats.org/officeDocument/2006/relationships/oleObject" Target="../embeddings/oleObject146.bin"/></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8.xml"/><Relationship Id="rId1" Type="http://schemas.openxmlformats.org/officeDocument/2006/relationships/vmlDrawing" Target="../drawings/vmlDrawing147.vml"/><Relationship Id="rId5" Type="http://schemas.openxmlformats.org/officeDocument/2006/relationships/image" Target="../media/image1.emf"/><Relationship Id="rId4" Type="http://schemas.openxmlformats.org/officeDocument/2006/relationships/oleObject" Target="../embeddings/oleObject147.bin"/></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9.xml"/><Relationship Id="rId1" Type="http://schemas.openxmlformats.org/officeDocument/2006/relationships/vmlDrawing" Target="../drawings/vmlDrawing148.vml"/><Relationship Id="rId5" Type="http://schemas.openxmlformats.org/officeDocument/2006/relationships/image" Target="../media/image1.emf"/><Relationship Id="rId4" Type="http://schemas.openxmlformats.org/officeDocument/2006/relationships/oleObject" Target="../embeddings/oleObject148.bin"/></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0.xml"/><Relationship Id="rId1" Type="http://schemas.openxmlformats.org/officeDocument/2006/relationships/vmlDrawing" Target="../drawings/vmlDrawing149.vml"/><Relationship Id="rId5" Type="http://schemas.openxmlformats.org/officeDocument/2006/relationships/image" Target="../media/image1.emf"/><Relationship Id="rId4" Type="http://schemas.openxmlformats.org/officeDocument/2006/relationships/oleObject" Target="../embeddings/oleObject149.bin"/></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1.xml"/><Relationship Id="rId1" Type="http://schemas.openxmlformats.org/officeDocument/2006/relationships/vmlDrawing" Target="../drawings/vmlDrawing150.vml"/><Relationship Id="rId5" Type="http://schemas.openxmlformats.org/officeDocument/2006/relationships/image" Target="../media/image1.emf"/><Relationship Id="rId4" Type="http://schemas.openxmlformats.org/officeDocument/2006/relationships/oleObject" Target="../embeddings/oleObject150.bin"/></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2.xml"/><Relationship Id="rId1" Type="http://schemas.openxmlformats.org/officeDocument/2006/relationships/vmlDrawing" Target="../drawings/vmlDrawing151.vml"/><Relationship Id="rId5" Type="http://schemas.openxmlformats.org/officeDocument/2006/relationships/image" Target="../media/image1.emf"/><Relationship Id="rId4" Type="http://schemas.openxmlformats.org/officeDocument/2006/relationships/oleObject" Target="../embeddings/oleObject151.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3.xml"/><Relationship Id="rId1" Type="http://schemas.openxmlformats.org/officeDocument/2006/relationships/vmlDrawing" Target="../drawings/vmlDrawing152.vml"/><Relationship Id="rId5" Type="http://schemas.openxmlformats.org/officeDocument/2006/relationships/image" Target="../media/image1.emf"/><Relationship Id="rId4" Type="http://schemas.openxmlformats.org/officeDocument/2006/relationships/oleObject" Target="../embeddings/oleObject152.bin"/></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5.xml"/><Relationship Id="rId1" Type="http://schemas.openxmlformats.org/officeDocument/2006/relationships/vmlDrawing" Target="../drawings/vmlDrawing154.vml"/><Relationship Id="rId5" Type="http://schemas.openxmlformats.org/officeDocument/2006/relationships/image" Target="../media/image1.emf"/><Relationship Id="rId4" Type="http://schemas.openxmlformats.org/officeDocument/2006/relationships/oleObject" Target="../embeddings/oleObject154.bin"/></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57.xml"/><Relationship Id="rId1" Type="http://schemas.openxmlformats.org/officeDocument/2006/relationships/vmlDrawing" Target="../drawings/vmlDrawing15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56.bin"/></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58.xml"/><Relationship Id="rId1" Type="http://schemas.openxmlformats.org/officeDocument/2006/relationships/vmlDrawing" Target="../drawings/vmlDrawing15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57.bin"/></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59.xml"/><Relationship Id="rId1" Type="http://schemas.openxmlformats.org/officeDocument/2006/relationships/vmlDrawing" Target="../drawings/vmlDrawing15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58.bin"/></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60.xml"/><Relationship Id="rId1" Type="http://schemas.openxmlformats.org/officeDocument/2006/relationships/vmlDrawing" Target="../drawings/vmlDrawing159.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59.bin"/></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61.xml"/><Relationship Id="rId1" Type="http://schemas.openxmlformats.org/officeDocument/2006/relationships/vmlDrawing" Target="../drawings/vmlDrawing160.vml"/><Relationship Id="rId5" Type="http://schemas.openxmlformats.org/officeDocument/2006/relationships/image" Target="../media/image1.emf"/><Relationship Id="rId4" Type="http://schemas.openxmlformats.org/officeDocument/2006/relationships/oleObject" Target="../embeddings/oleObject160.bin"/></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62.xml"/><Relationship Id="rId1" Type="http://schemas.openxmlformats.org/officeDocument/2006/relationships/vmlDrawing" Target="../drawings/vmlDrawing161.vml"/><Relationship Id="rId5" Type="http://schemas.openxmlformats.org/officeDocument/2006/relationships/image" Target="../media/image1.emf"/><Relationship Id="rId4" Type="http://schemas.openxmlformats.org/officeDocument/2006/relationships/oleObject" Target="../embeddings/oleObject161.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63.xml"/><Relationship Id="rId1" Type="http://schemas.openxmlformats.org/officeDocument/2006/relationships/vmlDrawing" Target="../drawings/vmlDrawing162.vml"/><Relationship Id="rId5" Type="http://schemas.openxmlformats.org/officeDocument/2006/relationships/image" Target="../media/image1.emf"/><Relationship Id="rId4" Type="http://schemas.openxmlformats.org/officeDocument/2006/relationships/oleObject" Target="../embeddings/oleObject162.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64.xml"/><Relationship Id="rId1" Type="http://schemas.openxmlformats.org/officeDocument/2006/relationships/vmlDrawing" Target="../drawings/vmlDrawing163.vml"/><Relationship Id="rId5" Type="http://schemas.openxmlformats.org/officeDocument/2006/relationships/image" Target="../media/image1.emf"/><Relationship Id="rId4" Type="http://schemas.openxmlformats.org/officeDocument/2006/relationships/oleObject" Target="../embeddings/oleObject163.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65.xml"/><Relationship Id="rId1" Type="http://schemas.openxmlformats.org/officeDocument/2006/relationships/vmlDrawing" Target="../drawings/vmlDrawing164.vml"/><Relationship Id="rId5" Type="http://schemas.openxmlformats.org/officeDocument/2006/relationships/image" Target="../media/image1.emf"/><Relationship Id="rId4" Type="http://schemas.openxmlformats.org/officeDocument/2006/relationships/oleObject" Target="../embeddings/oleObject164.bin"/></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66.xml"/><Relationship Id="rId1" Type="http://schemas.openxmlformats.org/officeDocument/2006/relationships/vmlDrawing" Target="../drawings/vmlDrawing165.vml"/><Relationship Id="rId5" Type="http://schemas.openxmlformats.org/officeDocument/2006/relationships/image" Target="../media/image1.emf"/><Relationship Id="rId4" Type="http://schemas.openxmlformats.org/officeDocument/2006/relationships/oleObject" Target="../embeddings/oleObject165.bin"/></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67.xml"/><Relationship Id="rId1" Type="http://schemas.openxmlformats.org/officeDocument/2006/relationships/vmlDrawing" Target="../drawings/vmlDrawing166.vml"/><Relationship Id="rId5" Type="http://schemas.openxmlformats.org/officeDocument/2006/relationships/image" Target="../media/image1.emf"/><Relationship Id="rId4" Type="http://schemas.openxmlformats.org/officeDocument/2006/relationships/oleObject" Target="../embeddings/oleObject166.bin"/></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68.xml"/><Relationship Id="rId1" Type="http://schemas.openxmlformats.org/officeDocument/2006/relationships/vmlDrawing" Target="../drawings/vmlDrawing167.vml"/><Relationship Id="rId5" Type="http://schemas.openxmlformats.org/officeDocument/2006/relationships/image" Target="../media/image1.emf"/><Relationship Id="rId4" Type="http://schemas.openxmlformats.org/officeDocument/2006/relationships/oleObject" Target="../embeddings/oleObject167.bin"/></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69.xml"/><Relationship Id="rId1" Type="http://schemas.openxmlformats.org/officeDocument/2006/relationships/vmlDrawing" Target="../drawings/vmlDrawing168.vml"/><Relationship Id="rId5" Type="http://schemas.openxmlformats.org/officeDocument/2006/relationships/image" Target="../media/image1.emf"/><Relationship Id="rId4" Type="http://schemas.openxmlformats.org/officeDocument/2006/relationships/oleObject" Target="../embeddings/oleObject168.bin"/></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70.xml"/><Relationship Id="rId1" Type="http://schemas.openxmlformats.org/officeDocument/2006/relationships/vmlDrawing" Target="../drawings/vmlDrawing169.vml"/><Relationship Id="rId5" Type="http://schemas.openxmlformats.org/officeDocument/2006/relationships/image" Target="../media/image1.emf"/><Relationship Id="rId4" Type="http://schemas.openxmlformats.org/officeDocument/2006/relationships/oleObject" Target="../embeddings/oleObject169.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71.xml"/><Relationship Id="rId1" Type="http://schemas.openxmlformats.org/officeDocument/2006/relationships/vmlDrawing" Target="../drawings/vmlDrawing170.vml"/><Relationship Id="rId6" Type="http://schemas.openxmlformats.org/officeDocument/2006/relationships/image" Target="../media/image8.emf"/><Relationship Id="rId5" Type="http://schemas.openxmlformats.org/officeDocument/2006/relationships/image" Target="../media/image1.emf"/><Relationship Id="rId4" Type="http://schemas.openxmlformats.org/officeDocument/2006/relationships/oleObject" Target="../embeddings/oleObject170.bin"/></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2.png"/><Relationship Id="rId2" Type="http://schemas.openxmlformats.org/officeDocument/2006/relationships/tags" Target="../tags/tag172.xml"/><Relationship Id="rId1" Type="http://schemas.openxmlformats.org/officeDocument/2006/relationships/vmlDrawing" Target="../drawings/vmlDrawing17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71.bin"/></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73.xml"/><Relationship Id="rId1" Type="http://schemas.openxmlformats.org/officeDocument/2006/relationships/vmlDrawing" Target="../drawings/vmlDrawing172.vml"/><Relationship Id="rId5" Type="http://schemas.openxmlformats.org/officeDocument/2006/relationships/image" Target="../media/image1.emf"/><Relationship Id="rId4" Type="http://schemas.openxmlformats.org/officeDocument/2006/relationships/oleObject" Target="../embeddings/oleObject172.bin"/></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74.xml"/><Relationship Id="rId1" Type="http://schemas.openxmlformats.org/officeDocument/2006/relationships/vmlDrawing" Target="../drawings/vmlDrawing173.vml"/><Relationship Id="rId5" Type="http://schemas.openxmlformats.org/officeDocument/2006/relationships/image" Target="../media/image1.emf"/><Relationship Id="rId4" Type="http://schemas.openxmlformats.org/officeDocument/2006/relationships/oleObject" Target="../embeddings/oleObject173.bin"/></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2.png"/><Relationship Id="rId2" Type="http://schemas.openxmlformats.org/officeDocument/2006/relationships/tags" Target="../tags/tag175.xml"/><Relationship Id="rId1" Type="http://schemas.openxmlformats.org/officeDocument/2006/relationships/vmlDrawing" Target="../drawings/vmlDrawing17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74.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76.xml"/><Relationship Id="rId1" Type="http://schemas.openxmlformats.org/officeDocument/2006/relationships/vmlDrawing" Target="../drawings/vmlDrawing175.vml"/><Relationship Id="rId5" Type="http://schemas.openxmlformats.org/officeDocument/2006/relationships/image" Target="../media/image1.emf"/><Relationship Id="rId4" Type="http://schemas.openxmlformats.org/officeDocument/2006/relationships/oleObject" Target="../embeddings/oleObject175.bin"/></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78.xml"/><Relationship Id="rId1" Type="http://schemas.openxmlformats.org/officeDocument/2006/relationships/vmlDrawing" Target="../drawings/vmlDrawing177.vml"/><Relationship Id="rId5" Type="http://schemas.openxmlformats.org/officeDocument/2006/relationships/image" Target="../media/image1.emf"/><Relationship Id="rId4" Type="http://schemas.openxmlformats.org/officeDocument/2006/relationships/oleObject" Target="../embeddings/oleObject177.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79.xml"/><Relationship Id="rId1" Type="http://schemas.openxmlformats.org/officeDocument/2006/relationships/vmlDrawing" Target="../drawings/vmlDrawing178.vml"/><Relationship Id="rId5" Type="http://schemas.openxmlformats.org/officeDocument/2006/relationships/image" Target="../media/image1.emf"/><Relationship Id="rId4" Type="http://schemas.openxmlformats.org/officeDocument/2006/relationships/oleObject" Target="../embeddings/oleObject178.bin"/></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80.xml"/><Relationship Id="rId1" Type="http://schemas.openxmlformats.org/officeDocument/2006/relationships/vmlDrawing" Target="../drawings/vmlDrawing179.vml"/><Relationship Id="rId5" Type="http://schemas.openxmlformats.org/officeDocument/2006/relationships/image" Target="../media/image1.emf"/><Relationship Id="rId4" Type="http://schemas.openxmlformats.org/officeDocument/2006/relationships/oleObject" Target="../embeddings/oleObject179.bin"/></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81.xml"/><Relationship Id="rId1" Type="http://schemas.openxmlformats.org/officeDocument/2006/relationships/vmlDrawing" Target="../drawings/vmlDrawing180.vml"/><Relationship Id="rId5" Type="http://schemas.openxmlformats.org/officeDocument/2006/relationships/image" Target="../media/image1.emf"/><Relationship Id="rId4" Type="http://schemas.openxmlformats.org/officeDocument/2006/relationships/oleObject" Target="../embeddings/oleObject180.bin"/></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82.xml"/><Relationship Id="rId1" Type="http://schemas.openxmlformats.org/officeDocument/2006/relationships/vmlDrawing" Target="../drawings/vmlDrawing181.vml"/><Relationship Id="rId5" Type="http://schemas.openxmlformats.org/officeDocument/2006/relationships/image" Target="../media/image1.emf"/><Relationship Id="rId4" Type="http://schemas.openxmlformats.org/officeDocument/2006/relationships/oleObject" Target="../embeddings/oleObject181.bin"/></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83.xml"/><Relationship Id="rId1" Type="http://schemas.openxmlformats.org/officeDocument/2006/relationships/vmlDrawing" Target="../drawings/vmlDrawing182.vml"/><Relationship Id="rId5" Type="http://schemas.openxmlformats.org/officeDocument/2006/relationships/image" Target="../media/image1.emf"/><Relationship Id="rId4" Type="http://schemas.openxmlformats.org/officeDocument/2006/relationships/oleObject" Target="../embeddings/oleObject182.bin"/></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84.xml"/><Relationship Id="rId1" Type="http://schemas.openxmlformats.org/officeDocument/2006/relationships/vmlDrawing" Target="../drawings/vmlDrawing183.vml"/><Relationship Id="rId5" Type="http://schemas.openxmlformats.org/officeDocument/2006/relationships/image" Target="../media/image1.emf"/><Relationship Id="rId4" Type="http://schemas.openxmlformats.org/officeDocument/2006/relationships/oleObject" Target="../embeddings/oleObject183.bin"/></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85.xml"/><Relationship Id="rId1" Type="http://schemas.openxmlformats.org/officeDocument/2006/relationships/vmlDrawing" Target="../drawings/vmlDrawing184.vml"/><Relationship Id="rId5" Type="http://schemas.openxmlformats.org/officeDocument/2006/relationships/image" Target="../media/image1.emf"/><Relationship Id="rId4" Type="http://schemas.openxmlformats.org/officeDocument/2006/relationships/oleObject" Target="../embeddings/oleObject184.bin"/></Relationships>
</file>

<file path=ppt/slideLayouts/_rels/slideLayout23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86.xml"/><Relationship Id="rId1" Type="http://schemas.openxmlformats.org/officeDocument/2006/relationships/vmlDrawing" Target="../drawings/vmlDrawing185.vml"/><Relationship Id="rId5" Type="http://schemas.openxmlformats.org/officeDocument/2006/relationships/image" Target="../media/image1.emf"/><Relationship Id="rId4" Type="http://schemas.openxmlformats.org/officeDocument/2006/relationships/oleObject" Target="../embeddings/oleObject185.bin"/></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87.xml"/><Relationship Id="rId1" Type="http://schemas.openxmlformats.org/officeDocument/2006/relationships/vmlDrawing" Target="../drawings/vmlDrawing186.vml"/><Relationship Id="rId5" Type="http://schemas.openxmlformats.org/officeDocument/2006/relationships/image" Target="../media/image1.emf"/><Relationship Id="rId4" Type="http://schemas.openxmlformats.org/officeDocument/2006/relationships/oleObject" Target="../embeddings/oleObject186.bin"/></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88.xml"/><Relationship Id="rId1" Type="http://schemas.openxmlformats.org/officeDocument/2006/relationships/vmlDrawing" Target="../drawings/vmlDrawing187.vml"/><Relationship Id="rId5" Type="http://schemas.openxmlformats.org/officeDocument/2006/relationships/image" Target="../media/image1.emf"/><Relationship Id="rId4" Type="http://schemas.openxmlformats.org/officeDocument/2006/relationships/oleObject" Target="../embeddings/oleObject187.bin"/></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89.xml"/><Relationship Id="rId1" Type="http://schemas.openxmlformats.org/officeDocument/2006/relationships/vmlDrawing" Target="../drawings/vmlDrawing188.vml"/><Relationship Id="rId5" Type="http://schemas.openxmlformats.org/officeDocument/2006/relationships/image" Target="../media/image1.emf"/><Relationship Id="rId4" Type="http://schemas.openxmlformats.org/officeDocument/2006/relationships/oleObject" Target="../embeddings/oleObject188.bin"/></Relationships>
</file>

<file path=ppt/slideLayouts/_rels/slideLayout23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90.xml"/><Relationship Id="rId1" Type="http://schemas.openxmlformats.org/officeDocument/2006/relationships/vmlDrawing" Target="../drawings/vmlDrawing189.vml"/><Relationship Id="rId5" Type="http://schemas.openxmlformats.org/officeDocument/2006/relationships/image" Target="../media/image1.emf"/><Relationship Id="rId4" Type="http://schemas.openxmlformats.org/officeDocument/2006/relationships/oleObject" Target="../embeddings/oleObject189.bin"/></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91.xml"/><Relationship Id="rId1" Type="http://schemas.openxmlformats.org/officeDocument/2006/relationships/vmlDrawing" Target="../drawings/vmlDrawing190.vml"/><Relationship Id="rId5" Type="http://schemas.openxmlformats.org/officeDocument/2006/relationships/image" Target="../media/image1.emf"/><Relationship Id="rId4" Type="http://schemas.openxmlformats.org/officeDocument/2006/relationships/oleObject" Target="../embeddings/oleObject190.bin"/></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92.xml"/><Relationship Id="rId1" Type="http://schemas.openxmlformats.org/officeDocument/2006/relationships/vmlDrawing" Target="../drawings/vmlDrawing191.vml"/><Relationship Id="rId5" Type="http://schemas.openxmlformats.org/officeDocument/2006/relationships/image" Target="../media/image1.emf"/><Relationship Id="rId4" Type="http://schemas.openxmlformats.org/officeDocument/2006/relationships/oleObject" Target="../embeddings/oleObject191.bin"/></Relationships>
</file>

<file path=ppt/slideLayouts/_rels/slideLayout244.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94.xml"/><Relationship Id="rId1" Type="http://schemas.openxmlformats.org/officeDocument/2006/relationships/vmlDrawing" Target="../drawings/vmlDrawing193.vml"/><Relationship Id="rId5" Type="http://schemas.openxmlformats.org/officeDocument/2006/relationships/image" Target="../media/image1.emf"/><Relationship Id="rId4" Type="http://schemas.openxmlformats.org/officeDocument/2006/relationships/oleObject" Target="../embeddings/oleObject175.bin"/></Relationships>
</file>

<file path=ppt/slideLayouts/_rels/slideLayout245.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95.xml"/><Relationship Id="rId1" Type="http://schemas.openxmlformats.org/officeDocument/2006/relationships/vmlDrawing" Target="../drawings/vmlDrawing194.vml"/><Relationship Id="rId5" Type="http://schemas.openxmlformats.org/officeDocument/2006/relationships/image" Target="../media/image1.emf"/><Relationship Id="rId4" Type="http://schemas.openxmlformats.org/officeDocument/2006/relationships/oleObject" Target="../embeddings/oleObject193.bin"/></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96.xml"/><Relationship Id="rId1" Type="http://schemas.openxmlformats.org/officeDocument/2006/relationships/vmlDrawing" Target="../drawings/vmlDrawing195.vml"/><Relationship Id="rId5" Type="http://schemas.openxmlformats.org/officeDocument/2006/relationships/image" Target="../media/image1.emf"/><Relationship Id="rId4" Type="http://schemas.openxmlformats.org/officeDocument/2006/relationships/oleObject" Target="../embeddings/oleObject194.bin"/></Relationships>
</file>

<file path=ppt/slideLayouts/_rels/slideLayout249.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97.xml"/><Relationship Id="rId1" Type="http://schemas.openxmlformats.org/officeDocument/2006/relationships/vmlDrawing" Target="../drawings/vmlDrawing196.vml"/><Relationship Id="rId5" Type="http://schemas.openxmlformats.org/officeDocument/2006/relationships/image" Target="../media/image1.emf"/><Relationship Id="rId4" Type="http://schemas.openxmlformats.org/officeDocument/2006/relationships/oleObject" Target="../embeddings/oleObject19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5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98.xml"/><Relationship Id="rId1" Type="http://schemas.openxmlformats.org/officeDocument/2006/relationships/vmlDrawing" Target="../drawings/vmlDrawing197.vml"/><Relationship Id="rId5" Type="http://schemas.openxmlformats.org/officeDocument/2006/relationships/image" Target="../media/image1.emf"/><Relationship Id="rId4" Type="http://schemas.openxmlformats.org/officeDocument/2006/relationships/oleObject" Target="../embeddings/oleObject196.bin"/></Relationships>
</file>

<file path=ppt/slideLayouts/_rels/slideLayout25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99.xml"/><Relationship Id="rId1" Type="http://schemas.openxmlformats.org/officeDocument/2006/relationships/vmlDrawing" Target="../drawings/vmlDrawing198.vml"/><Relationship Id="rId5" Type="http://schemas.openxmlformats.org/officeDocument/2006/relationships/image" Target="../media/image1.emf"/><Relationship Id="rId4" Type="http://schemas.openxmlformats.org/officeDocument/2006/relationships/oleObject" Target="../embeddings/oleObject197.bin"/></Relationships>
</file>

<file path=ppt/slideLayouts/_rels/slideLayout252.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00.xml"/><Relationship Id="rId1" Type="http://schemas.openxmlformats.org/officeDocument/2006/relationships/vmlDrawing" Target="../drawings/vmlDrawing199.vml"/><Relationship Id="rId5" Type="http://schemas.openxmlformats.org/officeDocument/2006/relationships/image" Target="../media/image1.emf"/><Relationship Id="rId4" Type="http://schemas.openxmlformats.org/officeDocument/2006/relationships/oleObject" Target="../embeddings/oleObject198.bin"/></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01.xml"/><Relationship Id="rId1" Type="http://schemas.openxmlformats.org/officeDocument/2006/relationships/vmlDrawing" Target="../drawings/vmlDrawing200.vml"/><Relationship Id="rId5" Type="http://schemas.openxmlformats.org/officeDocument/2006/relationships/image" Target="../media/image1.emf"/><Relationship Id="rId4" Type="http://schemas.openxmlformats.org/officeDocument/2006/relationships/oleObject" Target="../embeddings/oleObject199.bin"/></Relationships>
</file>

<file path=ppt/slideLayouts/_rels/slideLayout254.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02.xml"/><Relationship Id="rId1" Type="http://schemas.openxmlformats.org/officeDocument/2006/relationships/vmlDrawing" Target="../drawings/vmlDrawing201.vml"/><Relationship Id="rId5" Type="http://schemas.openxmlformats.org/officeDocument/2006/relationships/image" Target="../media/image1.emf"/><Relationship Id="rId4" Type="http://schemas.openxmlformats.org/officeDocument/2006/relationships/oleObject" Target="../embeddings/oleObject200.bin"/></Relationships>
</file>

<file path=ppt/slideLayouts/_rels/slideLayout255.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03.xml"/><Relationship Id="rId1" Type="http://schemas.openxmlformats.org/officeDocument/2006/relationships/vmlDrawing" Target="../drawings/vmlDrawing202.vml"/><Relationship Id="rId5" Type="http://schemas.openxmlformats.org/officeDocument/2006/relationships/image" Target="../media/image1.emf"/><Relationship Id="rId4" Type="http://schemas.openxmlformats.org/officeDocument/2006/relationships/oleObject" Target="../embeddings/oleObject201.bin"/></Relationships>
</file>

<file path=ppt/slideLayouts/_rels/slideLayout256.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04.xml"/><Relationship Id="rId1" Type="http://schemas.openxmlformats.org/officeDocument/2006/relationships/vmlDrawing" Target="../drawings/vmlDrawing203.vml"/><Relationship Id="rId5" Type="http://schemas.openxmlformats.org/officeDocument/2006/relationships/image" Target="../media/image1.emf"/><Relationship Id="rId4" Type="http://schemas.openxmlformats.org/officeDocument/2006/relationships/oleObject" Target="../embeddings/oleObject202.bin"/></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05.xml"/><Relationship Id="rId1" Type="http://schemas.openxmlformats.org/officeDocument/2006/relationships/vmlDrawing" Target="../drawings/vmlDrawing204.vml"/><Relationship Id="rId5" Type="http://schemas.openxmlformats.org/officeDocument/2006/relationships/image" Target="../media/image1.emf"/><Relationship Id="rId4" Type="http://schemas.openxmlformats.org/officeDocument/2006/relationships/oleObject" Target="../embeddings/oleObject203.bin"/></Relationships>
</file>

<file path=ppt/slideLayouts/_rels/slideLayout258.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06.xml"/><Relationship Id="rId1" Type="http://schemas.openxmlformats.org/officeDocument/2006/relationships/vmlDrawing" Target="../drawings/vmlDrawing205.vml"/><Relationship Id="rId5" Type="http://schemas.openxmlformats.org/officeDocument/2006/relationships/image" Target="../media/image1.emf"/><Relationship Id="rId4" Type="http://schemas.openxmlformats.org/officeDocument/2006/relationships/oleObject" Target="../embeddings/oleObject204.bin"/></Relationships>
</file>

<file path=ppt/slideLayouts/_rels/slideLayout259.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07.xml"/><Relationship Id="rId1" Type="http://schemas.openxmlformats.org/officeDocument/2006/relationships/vmlDrawing" Target="../drawings/vmlDrawing206.vml"/><Relationship Id="rId5" Type="http://schemas.openxmlformats.org/officeDocument/2006/relationships/image" Target="../media/image1.emf"/><Relationship Id="rId4" Type="http://schemas.openxmlformats.org/officeDocument/2006/relationships/oleObject" Target="../embeddings/oleObject205.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9.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7.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9.xml"/><Relationship Id="rId1" Type="http://schemas.openxmlformats.org/officeDocument/2006/relationships/vmlDrawing" Target="../drawings/vmlDrawing5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0.xml"/><Relationship Id="rId1" Type="http://schemas.openxmlformats.org/officeDocument/2006/relationships/vmlDrawing" Target="../drawings/vmlDrawing59.v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2.xml"/><Relationship Id="rId1" Type="http://schemas.openxmlformats.org/officeDocument/2006/relationships/vmlDrawing" Target="../drawings/vmlDrawing61.v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3.xml"/><Relationship Id="rId1" Type="http://schemas.openxmlformats.org/officeDocument/2006/relationships/vmlDrawing" Target="../drawings/vmlDrawing62.v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4.xml"/><Relationship Id="rId1" Type="http://schemas.openxmlformats.org/officeDocument/2006/relationships/vmlDrawing" Target="../drawings/vmlDrawing6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5.xml"/><Relationship Id="rId1" Type="http://schemas.openxmlformats.org/officeDocument/2006/relationships/vmlDrawing" Target="../drawings/vmlDrawing64.v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6.xml"/><Relationship Id="rId1" Type="http://schemas.openxmlformats.org/officeDocument/2006/relationships/vmlDrawing" Target="../drawings/vmlDrawing65.v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8.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9.xml"/><Relationship Id="rId1" Type="http://schemas.openxmlformats.org/officeDocument/2006/relationships/vmlDrawing" Target="../drawings/vmlDrawing68.vml"/><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0.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1.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2.xml"/><Relationship Id="rId1" Type="http://schemas.openxmlformats.org/officeDocument/2006/relationships/vmlDrawing" Target="../drawings/vmlDrawing71.vml"/><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12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1337"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7083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687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892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9643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9945"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635397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096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150125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199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32629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3017"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166278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404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15584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5065"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815940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608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220759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0908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711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294382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8137"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525999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51071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018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182364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120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6504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49467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9369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2233"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084948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325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599838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428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040610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385"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5305"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52607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6329"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51932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7353"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588401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8377"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035104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9401"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30241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0425"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33523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1449"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857694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2473"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637457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3497"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031852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4281409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4409" name="think-cell Slide" r:id="rId4" imgW="6350000" imgH="6350000" progId="">
                  <p:embed/>
                </p:oleObj>
              </mc:Choice>
              <mc:Fallback>
                <p:oleObj name="think-cell Slide" r:id="rId4" imgW="6350000" imgH="6350000" progId="">
                  <p:embed/>
                  <p:pic>
                    <p:nvPicPr>
                      <p:cNvPr id="11" name="Objec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22"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3" name="Picture 12"/>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4"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5326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3701986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762898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008026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579574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107017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554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11" name="Picture 10"/>
          <p:cNvPicPr>
            <a:picLocks noChangeAspect="1"/>
          </p:cNvPicPr>
          <p:nvPr userDrawn="1"/>
        </p:nvPicPr>
        <p:blipFill rotWithShape="1">
          <a:blip r:embed="rId6" cstate="print">
            <a:extLst>
              <a:ext uri="{28A0092B-C50C-407E-A947-70E740481C1C}">
                <a14:useLocalDpi xmlns:a14="http://schemas.microsoft.com/office/drawing/2010/main"/>
              </a:ext>
            </a:extLst>
          </a:blip>
          <a:srcRect l="2459" t="3595" r="68462" b="84596"/>
          <a:stretch/>
        </p:blipFill>
        <p:spPr>
          <a:xfrm>
            <a:off x="0" y="195941"/>
            <a:ext cx="3545263" cy="809897"/>
          </a:xfrm>
          <a:prstGeom prst="rect">
            <a:avLst/>
          </a:prstGeom>
        </p:spPr>
      </p:pic>
    </p:spTree>
    <p:extLst>
      <p:ext uri="{BB962C8B-B14F-4D97-AF65-F5344CB8AC3E}">
        <p14:creationId xmlns:p14="http://schemas.microsoft.com/office/powerpoint/2010/main" val="2688176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656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13" name="Picture 12"/>
          <p:cNvPicPr>
            <a:picLocks noChangeAspect="1"/>
          </p:cNvPicPr>
          <p:nvPr userDrawn="1"/>
        </p:nvPicPr>
        <p:blipFill rotWithShape="1">
          <a:blip r:embed="rId6" cstate="print">
            <a:alphaModFix/>
            <a:extLst>
              <a:ext uri="{28A0092B-C50C-407E-A947-70E740481C1C}">
                <a14:useLocalDpi xmlns:a14="http://schemas.microsoft.com/office/drawing/2010/main"/>
              </a:ext>
            </a:extLst>
          </a:blip>
          <a:srcRect l="2459" t="6436" r="69250" b="88379"/>
          <a:stretch/>
        </p:blipFill>
        <p:spPr>
          <a:xfrm>
            <a:off x="0" y="390524"/>
            <a:ext cx="3449240" cy="355601"/>
          </a:xfrm>
          <a:prstGeom prst="rect">
            <a:avLst/>
          </a:prstGeom>
        </p:spPr>
      </p:pic>
    </p:spTree>
    <p:extLst>
      <p:ext uri="{BB962C8B-B14F-4D97-AF65-F5344CB8AC3E}">
        <p14:creationId xmlns:p14="http://schemas.microsoft.com/office/powerpoint/2010/main" val="3721231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705600"/>
            <a:ext cx="13442950" cy="154895"/>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graphicFrame>
        <p:nvGraphicFramePr>
          <p:cNvPr id="8" name="Object 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759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381060" y="1395414"/>
            <a:ext cx="12507236" cy="5405437"/>
          </a:xfrm>
          <a:prstGeom prst="rect">
            <a:avLst/>
          </a:prstGeom>
          <a:solidFill>
            <a:schemeClr val="accent5">
              <a:lumMod val="60000"/>
              <a:lumOff val="40000"/>
            </a:schemeClr>
          </a:solidFill>
        </p:spPr>
        <p:txBody>
          <a:bodyPr tIns="720000"/>
          <a:lstStyle>
            <a:lvl1pPr marL="0" indent="0" algn="ctr">
              <a:buNone/>
              <a:defRPr>
                <a:solidFill>
                  <a:schemeClr val="bg1"/>
                </a:solidFill>
              </a:defRPr>
            </a:lvl1pPr>
          </a:lstStyle>
          <a:p>
            <a:r>
              <a:rPr lang="en-US" dirty="0"/>
              <a:t>Click icon to add picture</a:t>
            </a:r>
          </a:p>
        </p:txBody>
      </p:sp>
      <p:sp>
        <p:nvSpPr>
          <p:cNvPr id="2" name="Title 1"/>
          <p:cNvSpPr>
            <a:spLocks noGrp="1"/>
          </p:cNvSpPr>
          <p:nvPr>
            <p:ph type="title" hasCustomPrompt="1"/>
          </p:nvPr>
        </p:nvSpPr>
        <p:spPr bwMode="gray">
          <a:xfrm>
            <a:off x="351316" y="35244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4053"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4" name="Text Placeholder 3"/>
          <p:cNvSpPr>
            <a:spLocks noGrp="1"/>
          </p:cNvSpPr>
          <p:nvPr>
            <p:ph type="body" sz="quarter" idx="10" hasCustomPrompt="1"/>
          </p:nvPr>
        </p:nvSpPr>
        <p:spPr bwMode="gray">
          <a:xfrm>
            <a:off x="2531932" y="2512932"/>
            <a:ext cx="8402590" cy="3106574"/>
          </a:xfrm>
          <a:prstGeom prst="rect">
            <a:avLst/>
          </a:prstGeom>
          <a:ln w="0" cap="flat" cmpd="sng" algn="ctr">
            <a:noFill/>
            <a:prstDash val="solid"/>
            <a:round/>
            <a:headEnd type="none" w="med" len="med"/>
            <a:tailEnd type="none" w="med" len="med"/>
          </a:ln>
        </p:spPr>
        <p:txBody>
          <a:bodyPr anchor="ctr" anchorCtr="1"/>
          <a:lstStyle>
            <a:lvl1pPr algn="ctr">
              <a:lnSpc>
                <a:spcPts val="2000"/>
              </a:lnSpc>
              <a:buNone/>
              <a:defRPr sz="1800"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cxnSp>
        <p:nvCxnSpPr>
          <p:cNvPr id="12" name="Straight Connector 11"/>
          <p:cNvCxnSpPr/>
          <p:nvPr userDrawn="1"/>
        </p:nvCxnSpPr>
        <p:spPr bwMode="gray">
          <a:xfrm>
            <a:off x="1"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751453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8617"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6594"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1" y="137245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1" y="157733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0166" y="1902928"/>
            <a:ext cx="5235067" cy="421827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781931" y="1902928"/>
            <a:ext cx="5232045" cy="421827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44961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964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a:prstGeom prst="rect">
            <a:avLst/>
          </a:prstGeo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314728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5433"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066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a:prstGeom prst="rect">
            <a:avLst/>
          </a:prstGeo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976394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1689"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356778" y="2461174"/>
            <a:ext cx="5238453"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9" name="Text Placeholder 13"/>
          <p:cNvSpPr>
            <a:spLocks noGrp="1"/>
          </p:cNvSpPr>
          <p:nvPr>
            <p:ph type="body" sz="quarter" idx="14" hasCustomPrompt="1"/>
          </p:nvPr>
        </p:nvSpPr>
        <p:spPr bwMode="gray">
          <a:xfrm>
            <a:off x="375909"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5" y="136229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5" y="156717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8630"/>
            <a:ext cx="5236703"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66651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2713"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7438"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7438"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652877"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652877"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24255"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24255"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8875" y="2458635"/>
            <a:ext cx="4133323"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644368" y="2459740"/>
            <a:ext cx="4124127"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89056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3737"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3209" y="812745"/>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3209"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3209" y="1583048"/>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8906946" y="2467962"/>
            <a:ext cx="4169765" cy="1026126"/>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09670" y="3548040"/>
            <a:ext cx="4169765" cy="1054123"/>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31932" y="2458714"/>
            <a:ext cx="4128151" cy="1035374"/>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46526" y="3559767"/>
            <a:ext cx="4113557" cy="1042396"/>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826656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476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8914562" y="2467962"/>
            <a:ext cx="4162147"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17287" y="3548040"/>
            <a:ext cx="415942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6366" y="2463159"/>
            <a:ext cx="4163716"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11610" y="3555957"/>
            <a:ext cx="414847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5"/>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5125"/>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1513"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1513" y="1583048"/>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381875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5785"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3555676"/>
            <a:ext cx="3081872"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3557877"/>
            <a:ext cx="3088537"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57873"/>
            <a:ext cx="3097100"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3550866"/>
            <a:ext cx="3088946"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5"/>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6594" y="1357942"/>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6594" y="158495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609486"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10023996"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67334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6809"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39832"/>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5022" y="807756"/>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84376" y="138388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58876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780052" y="3011508"/>
            <a:ext cx="4152135" cy="1029659"/>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9905" y="5207562"/>
            <a:ext cx="4121798" cy="1003948"/>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8700" y="3006084"/>
            <a:ext cx="4161383" cy="1029659"/>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5170" y="5209764"/>
            <a:ext cx="4164912" cy="1003948"/>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366269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7833"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29" y="3555676"/>
            <a:ext cx="3081873"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57876"/>
            <a:ext cx="3088538"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48347"/>
            <a:ext cx="3097101"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4" y="3550865"/>
            <a:ext cx="3088948"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5909"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8" y="1371821"/>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8" y="158622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374122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8857"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005158"/>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220262"/>
            <a:ext cx="4155337"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001004"/>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222464"/>
            <a:ext cx="4163218"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4"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4" y="158622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6" name="Text Placeholder 5"/>
          <p:cNvSpPr>
            <a:spLocks noGrp="1"/>
          </p:cNvSpPr>
          <p:nvPr>
            <p:ph type="body" sz="quarter" idx="23" hasCustomPrompt="1"/>
          </p:nvPr>
        </p:nvSpPr>
        <p:spPr>
          <a:xfrm>
            <a:off x="2515600" y="193675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5"/>
          <p:cNvSpPr>
            <a:spLocks noGrp="1"/>
          </p:cNvSpPr>
          <p:nvPr>
            <p:ph type="body" sz="quarter" idx="24" hasCustomPrompt="1"/>
          </p:nvPr>
        </p:nvSpPr>
        <p:spPr>
          <a:xfrm>
            <a:off x="6787706" y="193675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148138"/>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148138"/>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915002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988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5" y="137245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5" y="158495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642847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6457"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20905" name="think-cell Slide" r:id="rId4" imgW="6350000" imgH="6350000" progId="">
                  <p:embed/>
                </p:oleObj>
              </mc:Choice>
              <mc:Fallback>
                <p:oleObj name="think-cell Slide" r:id="rId4" imgW="6350000" imgH="6350000" progId="">
                  <p:embed/>
                  <p:pic>
                    <p:nvPicPr>
                      <p:cNvPr id="40" name="Object 3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861921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1929" name="think-cell Slide" r:id="rId4" imgW="6350000" imgH="6350000" progId="">
                  <p:embed/>
                </p:oleObj>
              </mc:Choice>
              <mc:Fallback>
                <p:oleObj name="think-cell Slide" r:id="rId4" imgW="6350000" imgH="6350000" progId="">
                  <p:embed/>
                  <p:pic>
                    <p:nvPicPr>
                      <p:cNvPr id="324" name="Object 3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Picture Placeholder 3"/>
          <p:cNvSpPr>
            <a:spLocks noGrp="1"/>
          </p:cNvSpPr>
          <p:nvPr>
            <p:ph type="pic" sz="quarter" idx="20" hasCustomPrompt="1"/>
          </p:nvPr>
        </p:nvSpPr>
        <p:spPr>
          <a:xfrm>
            <a:off x="389528" y="3595688"/>
            <a:ext cx="12687182" cy="3206750"/>
          </a:xfrm>
          <a:prstGeom prst="rect">
            <a:avLst/>
          </a:prstGeo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128560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2953"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8907307" y="4087685"/>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hasCustomPrompt="1"/>
          </p:nvPr>
        </p:nvSpPr>
        <p:spPr>
          <a:xfrm>
            <a:off x="4670102" y="1936750"/>
            <a:ext cx="4115448" cy="4313238"/>
          </a:xfrm>
          <a:prstGeom prst="rect">
            <a:avLst/>
          </a:prstGeom>
          <a:solidFill>
            <a:schemeClr val="accent5">
              <a:lumMod val="40000"/>
              <a:lumOff val="60000"/>
            </a:schemeClr>
          </a:solidFill>
        </p:spPr>
        <p:txBody>
          <a:bodyPr tIns="1800000" anchor="t"/>
          <a:lstStyle>
            <a:lvl1pPr algn="ctr">
              <a:defRPr baseline="0">
                <a:solidFill>
                  <a:schemeClr val="bg1"/>
                </a:solidFill>
              </a:defRPr>
            </a:lvl1pPr>
          </a:lstStyle>
          <a:p>
            <a:r>
              <a:rPr lang="en-GB" dirty="0"/>
              <a:t>Space for character illustration – delete grey shape</a:t>
            </a:r>
          </a:p>
        </p:txBody>
      </p:sp>
      <p:sp>
        <p:nvSpPr>
          <p:cNvPr id="13"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197424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500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285829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602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713167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704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423462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807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63162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909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29512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012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994091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114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4099189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7481" name="think-cell Slide" r:id="rId4" imgW="6350000" imgH="6350000" progId="">
                  <p:embed/>
                </p:oleObj>
              </mc:Choice>
              <mc:Fallback>
                <p:oleObj name="think-cell Slide" r:id="rId4" imgW="6350000" imgH="6350000" progId="">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16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2926186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19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3723858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421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788666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524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908826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862329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3838192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3441958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398202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539786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626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3807635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8505"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728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439904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614719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014262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557661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933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304416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705600"/>
            <a:ext cx="13442950" cy="154895"/>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graphicFrame>
        <p:nvGraphicFramePr>
          <p:cNvPr id="8" name="Object 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036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381060" y="1395414"/>
            <a:ext cx="12507236" cy="5405437"/>
          </a:xfrm>
          <a:prstGeom prst="rect">
            <a:avLst/>
          </a:prstGeom>
          <a:solidFill>
            <a:schemeClr val="accent5">
              <a:lumMod val="60000"/>
              <a:lumOff val="40000"/>
            </a:schemeClr>
          </a:solidFill>
        </p:spPr>
        <p:txBody>
          <a:bodyPr tIns="720000"/>
          <a:lstStyle>
            <a:lvl1pPr marL="0" indent="0" algn="ctr">
              <a:buNone/>
              <a:defRPr>
                <a:solidFill>
                  <a:schemeClr val="bg1"/>
                </a:solidFill>
              </a:defRPr>
            </a:lvl1pPr>
          </a:lstStyle>
          <a:p>
            <a:r>
              <a:rPr lang="en-US" dirty="0"/>
              <a:t>Click icon to add picture</a:t>
            </a:r>
          </a:p>
        </p:txBody>
      </p:sp>
      <p:sp>
        <p:nvSpPr>
          <p:cNvPr id="2" name="Title 1"/>
          <p:cNvSpPr>
            <a:spLocks noGrp="1"/>
          </p:cNvSpPr>
          <p:nvPr>
            <p:ph type="title" hasCustomPrompt="1"/>
          </p:nvPr>
        </p:nvSpPr>
        <p:spPr bwMode="gray">
          <a:xfrm>
            <a:off x="351316" y="35244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4053"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4" name="Text Placeholder 3"/>
          <p:cNvSpPr>
            <a:spLocks noGrp="1"/>
          </p:cNvSpPr>
          <p:nvPr>
            <p:ph type="body" sz="quarter" idx="10" hasCustomPrompt="1"/>
          </p:nvPr>
        </p:nvSpPr>
        <p:spPr bwMode="gray">
          <a:xfrm>
            <a:off x="2531932" y="2512932"/>
            <a:ext cx="8402590" cy="3106574"/>
          </a:xfrm>
          <a:prstGeom prst="rect">
            <a:avLst/>
          </a:prstGeom>
          <a:ln w="0" cap="flat" cmpd="sng" algn="ctr">
            <a:noFill/>
            <a:prstDash val="solid"/>
            <a:round/>
            <a:headEnd type="none" w="med" len="med"/>
            <a:tailEnd type="none" w="med" len="med"/>
          </a:ln>
        </p:spPr>
        <p:txBody>
          <a:bodyPr anchor="ctr" anchorCtr="1"/>
          <a:lstStyle>
            <a:lvl1pPr algn="ctr">
              <a:lnSpc>
                <a:spcPts val="2000"/>
              </a:lnSpc>
              <a:buNone/>
              <a:defRPr sz="1800"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cxnSp>
        <p:nvCxnSpPr>
          <p:cNvPr id="12" name="Straight Connector 11"/>
          <p:cNvCxnSpPr/>
          <p:nvPr userDrawn="1"/>
        </p:nvCxnSpPr>
        <p:spPr bwMode="gray">
          <a:xfrm>
            <a:off x="1"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070204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1385"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6594"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1" y="137245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1" y="157733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0166" y="1902928"/>
            <a:ext cx="5235067" cy="421827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781931" y="1902928"/>
            <a:ext cx="5232045" cy="421827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740855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240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a:prstGeom prst="rect">
            <a:avLst/>
          </a:prstGeo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560221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343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a:prstGeom prst="rect">
            <a:avLst/>
          </a:prstGeo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995979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4457"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356778" y="2461174"/>
            <a:ext cx="5238453"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9" name="Text Placeholder 13"/>
          <p:cNvSpPr>
            <a:spLocks noGrp="1"/>
          </p:cNvSpPr>
          <p:nvPr>
            <p:ph type="body" sz="quarter" idx="14" hasCustomPrompt="1"/>
          </p:nvPr>
        </p:nvSpPr>
        <p:spPr bwMode="gray">
          <a:xfrm>
            <a:off x="375909"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5" y="136229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5" y="156717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8630"/>
            <a:ext cx="5236703"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68142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0" y="0"/>
            <a:ext cx="13442950" cy="706985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3464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5481"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7438"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7438"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652877"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652877"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24255"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24255"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8875" y="2458635"/>
            <a:ext cx="4133323"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644368" y="2459740"/>
            <a:ext cx="4124127"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819931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6505"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3209" y="812745"/>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3209"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3209" y="1583048"/>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8906946" y="2467962"/>
            <a:ext cx="4169765" cy="1026126"/>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09670" y="3548040"/>
            <a:ext cx="4169765" cy="1054123"/>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31932" y="2458714"/>
            <a:ext cx="4128151" cy="1035374"/>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46526" y="3559767"/>
            <a:ext cx="4113557" cy="1042396"/>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288911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752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8914562" y="2467962"/>
            <a:ext cx="4162147"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17287" y="3548040"/>
            <a:ext cx="415942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6366" y="2463159"/>
            <a:ext cx="4163716"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11610" y="3555957"/>
            <a:ext cx="414847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5"/>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5125"/>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1513"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1513" y="1583048"/>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781601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8553"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3555676"/>
            <a:ext cx="3081872"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3557877"/>
            <a:ext cx="3088537"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57873"/>
            <a:ext cx="3097100"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3550866"/>
            <a:ext cx="3088946"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5"/>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6594" y="1357942"/>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6594" y="158495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609486"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10023996"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11638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9577"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39832"/>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5022" y="807756"/>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84376" y="138388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58876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780052" y="3011508"/>
            <a:ext cx="4152135" cy="1029659"/>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9905" y="5207562"/>
            <a:ext cx="4121798" cy="1003948"/>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8700" y="3006084"/>
            <a:ext cx="4161383" cy="1029659"/>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5170" y="5209764"/>
            <a:ext cx="4164912" cy="1003948"/>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371642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060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29" y="3555676"/>
            <a:ext cx="3081873"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57876"/>
            <a:ext cx="3088538"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48347"/>
            <a:ext cx="3097101"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4" y="3550865"/>
            <a:ext cx="3088948"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5909"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8" y="1371821"/>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8" y="158622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781611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1625"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005158"/>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220262"/>
            <a:ext cx="4155337"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001004"/>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222464"/>
            <a:ext cx="4163218"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4"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4" y="158622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6" name="Text Placeholder 5"/>
          <p:cNvSpPr>
            <a:spLocks noGrp="1"/>
          </p:cNvSpPr>
          <p:nvPr>
            <p:ph type="body" sz="quarter" idx="23" hasCustomPrompt="1"/>
          </p:nvPr>
        </p:nvSpPr>
        <p:spPr>
          <a:xfrm>
            <a:off x="2515600" y="193675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5"/>
          <p:cNvSpPr>
            <a:spLocks noGrp="1"/>
          </p:cNvSpPr>
          <p:nvPr>
            <p:ph type="body" sz="quarter" idx="24" hasCustomPrompt="1"/>
          </p:nvPr>
        </p:nvSpPr>
        <p:spPr>
          <a:xfrm>
            <a:off x="6787706" y="193675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148138"/>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148138"/>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680492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264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5" y="137245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5" y="158495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058061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53673" name="think-cell Slide" r:id="rId4" imgW="6350000" imgH="6350000" progId="">
                  <p:embed/>
                </p:oleObj>
              </mc:Choice>
              <mc:Fallback>
                <p:oleObj name="think-cell Slide" r:id="rId4" imgW="6350000" imgH="6350000" progId="">
                  <p:embed/>
                  <p:pic>
                    <p:nvPicPr>
                      <p:cNvPr id="40" name="Object 3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16082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4697" name="think-cell Slide" r:id="rId4" imgW="6350000" imgH="6350000" progId="">
                  <p:embed/>
                </p:oleObj>
              </mc:Choice>
              <mc:Fallback>
                <p:oleObj name="think-cell Slide" r:id="rId4" imgW="6350000" imgH="6350000" progId="">
                  <p:embed/>
                  <p:pic>
                    <p:nvPicPr>
                      <p:cNvPr id="324" name="Object 3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Picture Placeholder 3"/>
          <p:cNvSpPr>
            <a:spLocks noGrp="1"/>
          </p:cNvSpPr>
          <p:nvPr>
            <p:ph type="pic" sz="quarter" idx="20" hasCustomPrompt="1"/>
          </p:nvPr>
        </p:nvSpPr>
        <p:spPr>
          <a:xfrm>
            <a:off x="389528" y="3595688"/>
            <a:ext cx="12687182" cy="3206750"/>
          </a:xfrm>
          <a:prstGeom prst="rect">
            <a:avLst/>
          </a:prstGeo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2191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9529"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0" y="-1"/>
            <a:ext cx="13442950" cy="706986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572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8907307" y="4087685"/>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hasCustomPrompt="1"/>
          </p:nvPr>
        </p:nvSpPr>
        <p:spPr>
          <a:xfrm>
            <a:off x="4670102" y="1936750"/>
            <a:ext cx="4115448" cy="4313238"/>
          </a:xfrm>
          <a:prstGeom prst="rect">
            <a:avLst/>
          </a:prstGeom>
          <a:solidFill>
            <a:schemeClr val="accent5">
              <a:lumMod val="40000"/>
              <a:lumOff val="60000"/>
            </a:schemeClr>
          </a:solidFill>
        </p:spPr>
        <p:txBody>
          <a:bodyPr tIns="1800000" anchor="t"/>
          <a:lstStyle>
            <a:lvl1pPr algn="ctr">
              <a:defRPr baseline="0">
                <a:solidFill>
                  <a:schemeClr val="bg1"/>
                </a:solidFill>
              </a:defRPr>
            </a:lvl1pPr>
          </a:lstStyle>
          <a:p>
            <a:r>
              <a:rPr lang="en-GB" dirty="0"/>
              <a:t>Space for character illustration – delete grey shape</a:t>
            </a:r>
          </a:p>
        </p:txBody>
      </p:sp>
      <p:sp>
        <p:nvSpPr>
          <p:cNvPr id="13"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944618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spid="_x0000_s15776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6"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1"/>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706522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981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347060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084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64859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186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13137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288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497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391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172118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493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47096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596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3556537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698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2399650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3145"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553"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800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4069141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903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151985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005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633020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8499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2567326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3167517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076563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758895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108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2024572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210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837766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4" name="Straight Connector 3"/>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02624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380429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739537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314084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312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a:prstGeom prst="rect">
            <a:avLst/>
          </a:prstGeo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700" b="0" baseline="0">
                <a:solidFill>
                  <a:srgbClr val="000000"/>
                </a:solidFill>
              </a:defRPr>
            </a:lvl1pPr>
          </a:lstStyle>
          <a:p>
            <a:pPr lvl="0"/>
            <a:r>
              <a:rPr lang="en-GB" dirty="0"/>
              <a:t>Source: Arial 7pt</a:t>
            </a:r>
          </a:p>
        </p:txBody>
      </p:sp>
      <p:sp>
        <p:nvSpPr>
          <p:cNvPr id="7" name="Text Placeholder 13"/>
          <p:cNvSpPr>
            <a:spLocks noGrp="1"/>
          </p:cNvSpPr>
          <p:nvPr>
            <p:ph type="body" sz="quarter" idx="16" hasCustomPrompt="1"/>
          </p:nvPr>
        </p:nvSpPr>
        <p:spPr bwMode="gray">
          <a:xfrm>
            <a:off x="371671" y="1371821"/>
            <a:ext cx="8259575" cy="214058"/>
          </a:xfrm>
          <a:prstGeom prst="rect">
            <a:avLst/>
          </a:prstGeo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a:prstGeom prst="rect">
            <a:avLst/>
          </a:prstGeo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0"/>
            <a:ext cx="8426275" cy="4210169"/>
          </a:xfrm>
          <a:prstGeom prst="rect">
            <a:avLst/>
          </a:prstGeo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3405926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userDrawn="1">
  <p:cSld name="1_16:9 Video Full Screen">
    <p:spTree>
      <p:nvGrpSpPr>
        <p:cNvPr id="1" name=""/>
        <p:cNvGrpSpPr/>
        <p:nvPr/>
      </p:nvGrpSpPr>
      <p:grpSpPr>
        <a:xfrm>
          <a:off x="0" y="0"/>
          <a:ext cx="0" cy="0"/>
          <a:chOff x="0" y="0"/>
          <a:chExt cx="0" cy="0"/>
        </a:xfrm>
      </p:grpSpPr>
      <p:sp>
        <p:nvSpPr>
          <p:cNvPr id="2" name="Rectangle 1"/>
          <p:cNvSpPr/>
          <p:nvPr userDrawn="1"/>
        </p:nvSpPr>
        <p:spPr>
          <a:xfrm>
            <a:off x="-1" y="1"/>
            <a:ext cx="13442950" cy="679202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517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7" name="Media Placeholder 46"/>
          <p:cNvSpPr>
            <a:spLocks noGrp="1"/>
          </p:cNvSpPr>
          <p:nvPr>
            <p:ph type="media" sz="quarter" idx="10" hasCustomPrompt="1"/>
          </p:nvPr>
        </p:nvSpPr>
        <p:spPr bwMode="gray">
          <a:xfrm>
            <a:off x="-1" y="457775"/>
            <a:ext cx="13442950" cy="5856983"/>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cxnSp>
        <p:nvCxnSpPr>
          <p:cNvPr id="4" name="Straight Connector 3"/>
          <p:cNvCxnSpPr/>
          <p:nvPr userDrawn="1"/>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pic>
        <p:nvPicPr>
          <p:cNvPr id="5" name="Picture 4" descr="DCM LEFT LOGO ALL-05.eps"/>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
        <p:nvSpPr>
          <p:cNvPr id="6"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667244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694814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userDrawn="1">
  <p:cSld name="3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76201"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065371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spid="_x0000_s21100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6"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1"/>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26521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1203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90970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15099"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798428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1577"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1612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111887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824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440233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927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079295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150848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08567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0296"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68700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132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193615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234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10436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3368"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96661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4392"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10926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095920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5416"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886842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644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22933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7464"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4272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848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64948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9512"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89879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053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17461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156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77970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282463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714554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860594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362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90681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089746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19535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4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258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
        <p:nvSpPr>
          <p:cNvPr id="7" name="Text Placeholder 13"/>
          <p:cNvSpPr>
            <a:spLocks noGrp="1"/>
          </p:cNvSpPr>
          <p:nvPr>
            <p:ph type="body" sz="quarter" idx="16" hasCustomPrompt="1"/>
          </p:nvPr>
        </p:nvSpPr>
        <p:spPr bwMode="gray">
          <a:xfrm>
            <a:off x="371671"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0"/>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266845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462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888300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565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67463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8716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9320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6677"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545399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770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064420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464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0075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872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156706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9749"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81464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0773"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94350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1797"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192530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282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17131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3845"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778318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486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851268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5893"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22536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6917"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086624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794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29025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01089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3823375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773733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21247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285561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147742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64370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20045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374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5673"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669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16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772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8745"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9769"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0793"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1817"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2841"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79802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3865"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7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4889"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5913"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6937"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19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66921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6392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3998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78046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187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67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8985"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4608045"/>
            <a:ext cx="3081872" cy="14195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4610245"/>
            <a:ext cx="3088537" cy="1417329"/>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4610246"/>
            <a:ext cx="3097100" cy="14173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4603234"/>
            <a:ext cx="3088946" cy="1424341"/>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6539"/>
            <a:ext cx="12413343" cy="300620"/>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57942"/>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2564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3091824"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570375" y="2505076"/>
            <a:ext cx="3089705"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3040012"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9988173" y="2505076"/>
            <a:ext cx="3088537"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15222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000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226133"/>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441237"/>
            <a:ext cx="4155337"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221979"/>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443439"/>
            <a:ext cx="4163218"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27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8372"/>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6" name="Text Placeholder 5"/>
          <p:cNvSpPr>
            <a:spLocks noGrp="1"/>
          </p:cNvSpPr>
          <p:nvPr>
            <p:ph type="body" sz="quarter" idx="24" hasCustomPrompt="1"/>
          </p:nvPr>
        </p:nvSpPr>
        <p:spPr>
          <a:xfrm>
            <a:off x="6787706"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0" name="Text Placeholder 5"/>
          <p:cNvSpPr>
            <a:spLocks noGrp="1"/>
          </p:cNvSpPr>
          <p:nvPr>
            <p:ph type="body" sz="quarter" idx="27" hasCustomPrompt="1"/>
          </p:nvPr>
        </p:nvSpPr>
        <p:spPr>
          <a:xfrm>
            <a:off x="2505474"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8" hasCustomPrompt="1"/>
          </p:nvPr>
        </p:nvSpPr>
        <p:spPr bwMode="gray">
          <a:xfrm>
            <a:off x="270624" y="652712"/>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079039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1033"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5620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2057" name="think-cell Slide" r:id="rId4" imgW="6350000" imgH="6350000" progId="">
                  <p:embed/>
                </p:oleObj>
              </mc:Choice>
              <mc:Fallback>
                <p:oleObj name="think-cell Slide" r:id="rId4" imgW="6350000" imgH="6350000" progId="">
                  <p:embed/>
                  <p:pic>
                    <p:nvPicPr>
                      <p:cNvPr id="40" name="Object 3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6217"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3081" name="think-cell Slide" r:id="rId4" imgW="6350000" imgH="6350000" progId="">
                  <p:embed/>
                </p:oleObj>
              </mc:Choice>
              <mc:Fallback>
                <p:oleObj name="think-cell Slide" r:id="rId4" imgW="6350000" imgH="6350000" progId="">
                  <p:embed/>
                  <p:pic>
                    <p:nvPicPr>
                      <p:cNvPr id="324" name="Object 3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Picture Placeholder 3"/>
          <p:cNvSpPr>
            <a:spLocks noGrp="1"/>
          </p:cNvSpPr>
          <p:nvPr>
            <p:ph type="pic" sz="quarter" idx="20" hasCustomPrompt="1"/>
          </p:nvPr>
        </p:nvSpPr>
        <p:spPr>
          <a:xfrm>
            <a:off x="389528" y="3595688"/>
            <a:ext cx="12687182" cy="3206750"/>
          </a:xfrm>
          <a:prstGeom prst="rect">
            <a:avLst/>
          </a:prstGeo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512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615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717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820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922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024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127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229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332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24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434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536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3123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37403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294600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873108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08294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639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741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4472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265"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8934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4334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Co Brand Full Image and 8 Logos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946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335311" y="7117320"/>
            <a:ext cx="879606" cy="375362"/>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404819"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74328"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543836"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pic>
        <p:nvPicPr>
          <p:cNvPr id="20" name="Picture 1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Picture Placeholder 13"/>
          <p:cNvSpPr>
            <a:spLocks noGrp="1"/>
          </p:cNvSpPr>
          <p:nvPr>
            <p:ph type="pic" sz="quarter" idx="16"/>
          </p:nvPr>
        </p:nvSpPr>
        <p:spPr bwMode="gray">
          <a:xfrm>
            <a:off x="1914525" y="1520270"/>
            <a:ext cx="9613900" cy="5040000"/>
          </a:xfrm>
          <a:no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615470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Co Brand 8 Images and 8 Logo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048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91720" y="1943414"/>
            <a:ext cx="3056875" cy="1550674"/>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299455" y="7115220"/>
            <a:ext cx="916662"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377010"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46511"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489202" y="7115220"/>
            <a:ext cx="879606"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25" name="Picture Placeholder 13"/>
          <p:cNvSpPr>
            <a:spLocks noGrp="1"/>
          </p:cNvSpPr>
          <p:nvPr>
            <p:ph type="pic" sz="quarter" idx="25"/>
          </p:nvPr>
        </p:nvSpPr>
        <p:spPr bwMode="gray">
          <a:xfrm>
            <a:off x="3601674"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6" name="Picture Placeholder 13"/>
          <p:cNvSpPr>
            <a:spLocks noGrp="1"/>
          </p:cNvSpPr>
          <p:nvPr>
            <p:ph type="pic" sz="quarter" idx="26"/>
          </p:nvPr>
        </p:nvSpPr>
        <p:spPr bwMode="gray">
          <a:xfrm>
            <a:off x="681283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7" name="Picture Placeholder 13"/>
          <p:cNvSpPr>
            <a:spLocks noGrp="1"/>
          </p:cNvSpPr>
          <p:nvPr>
            <p:ph type="pic" sz="quarter" idx="27"/>
          </p:nvPr>
        </p:nvSpPr>
        <p:spPr bwMode="gray">
          <a:xfrm>
            <a:off x="1002399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Picture Placeholder 13"/>
          <p:cNvSpPr>
            <a:spLocks noGrp="1"/>
          </p:cNvSpPr>
          <p:nvPr>
            <p:ph type="pic" sz="quarter" idx="28"/>
          </p:nvPr>
        </p:nvSpPr>
        <p:spPr bwMode="gray">
          <a:xfrm>
            <a:off x="389780"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9" name="Picture Placeholder 13"/>
          <p:cNvSpPr>
            <a:spLocks noGrp="1"/>
          </p:cNvSpPr>
          <p:nvPr>
            <p:ph type="pic" sz="quarter" idx="29"/>
          </p:nvPr>
        </p:nvSpPr>
        <p:spPr bwMode="gray">
          <a:xfrm>
            <a:off x="360118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0" name="Picture Placeholder 13"/>
          <p:cNvSpPr>
            <a:spLocks noGrp="1"/>
          </p:cNvSpPr>
          <p:nvPr>
            <p:ph type="pic" sz="quarter" idx="30"/>
          </p:nvPr>
        </p:nvSpPr>
        <p:spPr bwMode="gray">
          <a:xfrm>
            <a:off x="6812591"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1" name="Picture Placeholder 13"/>
          <p:cNvSpPr>
            <a:spLocks noGrp="1"/>
          </p:cNvSpPr>
          <p:nvPr>
            <p:ph type="pic" sz="quarter" idx="31"/>
          </p:nvPr>
        </p:nvSpPr>
        <p:spPr bwMode="gray">
          <a:xfrm>
            <a:off x="1002399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32"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4:3 Video Full Scree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253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1"/>
            <a:ext cx="13442950" cy="7561263"/>
          </a:xfrm>
          <a:solidFill>
            <a:schemeClr val="accent5">
              <a:lumMod val="60000"/>
              <a:lumOff val="40000"/>
            </a:schemeClr>
          </a:solidFill>
        </p:spPr>
        <p:txBody>
          <a:bodyPr tIns="2520000"/>
          <a:lstStyle>
            <a:lvl1pPr marL="0" marR="0" indent="0" algn="ctr" defTabSz="961844" rtl="0" eaLnBrk="1" fontAlgn="auto" latinLnBrk="0" hangingPunct="1">
              <a:lnSpc>
                <a:spcPts val="1900"/>
              </a:lnSpc>
              <a:spcBef>
                <a:spcPts val="0"/>
              </a:spcBef>
              <a:spcAft>
                <a:spcPts val="0"/>
              </a:spcAft>
              <a:buClr>
                <a:srgbClr val="FFFFFF"/>
              </a:buClr>
              <a:buSzPct val="100000"/>
              <a:buFont typeface="Arial"/>
              <a:buNone/>
              <a:tabLst/>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356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2531932" y="1395413"/>
            <a:ext cx="8400256" cy="485457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16:9 Video Full Screen">
    <p:spTree>
      <p:nvGrpSpPr>
        <p:cNvPr id="1" name=""/>
        <p:cNvGrpSpPr/>
        <p:nvPr/>
      </p:nvGrpSpPr>
      <p:grpSpPr>
        <a:xfrm>
          <a:off x="0" y="0"/>
          <a:ext cx="0" cy="0"/>
          <a:chOff x="0" y="0"/>
          <a:chExt cx="0" cy="0"/>
        </a:xfrm>
      </p:grpSpPr>
      <p:sp>
        <p:nvSpPr>
          <p:cNvPr id="2" name="Rectangle 1"/>
          <p:cNvSpPr/>
          <p:nvPr userDrawn="1"/>
        </p:nvSpPr>
        <p:spPr>
          <a:xfrm>
            <a:off x="-1" y="1"/>
            <a:ext cx="13442950" cy="679202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458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457775"/>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1" y="1"/>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Media Placeholder 46"/>
          <p:cNvSpPr>
            <a:spLocks noGrp="1"/>
          </p:cNvSpPr>
          <p:nvPr>
            <p:ph type="media" sz="quarter" idx="10"/>
          </p:nvPr>
        </p:nvSpPr>
        <p:spPr bwMode="gray">
          <a:xfrm>
            <a:off x="-1" y="852140"/>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2085187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560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376755"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Media Placeholder 46"/>
          <p:cNvSpPr>
            <a:spLocks noGrp="1"/>
          </p:cNvSpPr>
          <p:nvPr>
            <p:ph type="media" sz="quarter" idx="16"/>
          </p:nvPr>
        </p:nvSpPr>
        <p:spPr bwMode="gray">
          <a:xfrm>
            <a:off x="4665329"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8" name="Media Placeholder 46"/>
          <p:cNvSpPr>
            <a:spLocks noGrp="1"/>
          </p:cNvSpPr>
          <p:nvPr>
            <p:ph type="media" sz="quarter" idx="17"/>
          </p:nvPr>
        </p:nvSpPr>
        <p:spPr bwMode="gray">
          <a:xfrm>
            <a:off x="8953903"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Media Placeholder 46"/>
          <p:cNvSpPr>
            <a:spLocks noGrp="1"/>
          </p:cNvSpPr>
          <p:nvPr>
            <p:ph type="media" sz="quarter" idx="18"/>
          </p:nvPr>
        </p:nvSpPr>
        <p:spPr bwMode="gray">
          <a:xfrm>
            <a:off x="376755"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3" name="Media Placeholder 46"/>
          <p:cNvSpPr>
            <a:spLocks noGrp="1"/>
          </p:cNvSpPr>
          <p:nvPr>
            <p:ph type="media" sz="quarter" idx="19"/>
          </p:nvPr>
        </p:nvSpPr>
        <p:spPr bwMode="gray">
          <a:xfrm>
            <a:off x="4665329"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4" name="Media Placeholder 46"/>
          <p:cNvSpPr>
            <a:spLocks noGrp="1"/>
          </p:cNvSpPr>
          <p:nvPr>
            <p:ph type="media" sz="quarter" idx="20"/>
          </p:nvPr>
        </p:nvSpPr>
        <p:spPr bwMode="gray">
          <a:xfrm>
            <a:off x="8953903"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46427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28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16:9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663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5" name="Rectangle 14"/>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8" name="Media Placeholder 46"/>
          <p:cNvSpPr>
            <a:spLocks noGrp="1"/>
          </p:cNvSpPr>
          <p:nvPr>
            <p:ph type="media" sz="quarter" idx="10"/>
          </p:nvPr>
        </p:nvSpPr>
        <p:spPr bwMode="gray">
          <a:xfrm>
            <a:off x="381060" y="1395414"/>
            <a:ext cx="12695650" cy="540702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868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466553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10023995" y="251706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3591181"/>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9705"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5" name="Content Placeholder 2"/>
          <p:cNvSpPr>
            <a:spLocks noGrp="1"/>
          </p:cNvSpPr>
          <p:nvPr>
            <p:ph idx="21" hasCustomPrompt="1"/>
          </p:nvPr>
        </p:nvSpPr>
        <p:spPr bwMode="gray">
          <a:xfrm>
            <a:off x="381060" y="303941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411353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30" name="Content Placeholder 2"/>
          <p:cNvSpPr>
            <a:spLocks noGrp="1"/>
          </p:cNvSpPr>
          <p:nvPr>
            <p:ph idx="24" hasCustomPrompt="1"/>
          </p:nvPr>
        </p:nvSpPr>
        <p:spPr bwMode="gray">
          <a:xfrm>
            <a:off x="10023995" y="303941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411353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76085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072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3564494"/>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2490140"/>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3188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Hexagon Diagram">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1753"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29" name="Content Placeholder 2"/>
          <p:cNvSpPr>
            <a:spLocks noGrp="1"/>
          </p:cNvSpPr>
          <p:nvPr>
            <p:ph idx="23" hasCustomPrompt="1"/>
          </p:nvPr>
        </p:nvSpPr>
        <p:spPr bwMode="gray">
          <a:xfrm>
            <a:off x="9995613" y="4665535"/>
            <a:ext cx="3081097" cy="1003948"/>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9995613" y="2488035"/>
            <a:ext cx="3081097" cy="1006053"/>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9995613" y="3576667"/>
            <a:ext cx="3081097" cy="102549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Text Placeholder 3"/>
          <p:cNvSpPr>
            <a:spLocks noGrp="1"/>
          </p:cNvSpPr>
          <p:nvPr>
            <p:ph type="body" sz="quarter" idx="26" hasCustomPrompt="1"/>
          </p:nvPr>
        </p:nvSpPr>
        <p:spPr>
          <a:xfrm>
            <a:off x="381060" y="2490562"/>
            <a:ext cx="3048480" cy="989013"/>
          </a:xfrm>
        </p:spPr>
        <p:txBody>
          <a:bodyPr/>
          <a:lstStyle>
            <a:lvl1pPr algn="r">
              <a:defRPr/>
            </a:lvl1pPr>
            <a:lvl2pPr algn="r">
              <a:defRPr/>
            </a:lvl2pPr>
            <a:lvl3pPr algn="r">
              <a:defRPr baseline="0"/>
            </a:lvl3pPr>
            <a:lvl4pPr algn="r">
              <a:defRPr baseline="0"/>
            </a:lvl4pPr>
            <a:lvl5pPr algn="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6" name="Text Placeholder 5"/>
          <p:cNvSpPr>
            <a:spLocks noGrp="1"/>
          </p:cNvSpPr>
          <p:nvPr>
            <p:ph type="body" sz="quarter" idx="27" hasCustomPrompt="1"/>
          </p:nvPr>
        </p:nvSpPr>
        <p:spPr>
          <a:xfrm>
            <a:off x="403763" y="3598863"/>
            <a:ext cx="3025778" cy="988786"/>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8" name="Text Placeholder 7"/>
          <p:cNvSpPr>
            <a:spLocks noGrp="1"/>
          </p:cNvSpPr>
          <p:nvPr>
            <p:ph type="body" sz="quarter" idx="28" hasCustomPrompt="1"/>
          </p:nvPr>
        </p:nvSpPr>
        <p:spPr>
          <a:xfrm>
            <a:off x="403763" y="4687662"/>
            <a:ext cx="3025778" cy="993775"/>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Nine Ico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2777"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2506528"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8959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8747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36" name="Content Placeholder 2"/>
          <p:cNvSpPr>
            <a:spLocks noGrp="1"/>
          </p:cNvSpPr>
          <p:nvPr>
            <p:ph idx="23" hasCustomPrompt="1"/>
          </p:nvPr>
        </p:nvSpPr>
        <p:spPr bwMode="gray">
          <a:xfrm>
            <a:off x="6770166"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7" name="Content Placeholder 2"/>
          <p:cNvSpPr>
            <a:spLocks noGrp="1"/>
          </p:cNvSpPr>
          <p:nvPr>
            <p:ph idx="24" hasCustomPrompt="1"/>
          </p:nvPr>
        </p:nvSpPr>
        <p:spPr bwMode="gray">
          <a:xfrm>
            <a:off x="6770166"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8" name="Content Placeholder 2"/>
          <p:cNvSpPr>
            <a:spLocks noGrp="1"/>
          </p:cNvSpPr>
          <p:nvPr>
            <p:ph idx="25" hasCustomPrompt="1"/>
          </p:nvPr>
        </p:nvSpPr>
        <p:spPr bwMode="gray">
          <a:xfrm>
            <a:off x="677016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2" name="Content Placeholder 2"/>
          <p:cNvSpPr>
            <a:spLocks noGrp="1"/>
          </p:cNvSpPr>
          <p:nvPr>
            <p:ph idx="26" hasCustomPrompt="1"/>
          </p:nvPr>
        </p:nvSpPr>
        <p:spPr bwMode="gray">
          <a:xfrm>
            <a:off x="11076263"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3" name="Content Placeholder 2"/>
          <p:cNvSpPr>
            <a:spLocks noGrp="1"/>
          </p:cNvSpPr>
          <p:nvPr>
            <p:ph idx="27" hasCustomPrompt="1"/>
          </p:nvPr>
        </p:nvSpPr>
        <p:spPr bwMode="gray">
          <a:xfrm>
            <a:off x="1106344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4" name="Content Placeholder 2"/>
          <p:cNvSpPr>
            <a:spLocks noGrp="1"/>
          </p:cNvSpPr>
          <p:nvPr>
            <p:ph idx="28" hasCustomPrompt="1"/>
          </p:nvPr>
        </p:nvSpPr>
        <p:spPr bwMode="gray">
          <a:xfrm>
            <a:off x="11063443" y="3581656"/>
            <a:ext cx="2013268"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Icons">
    <p:spTree>
      <p:nvGrpSpPr>
        <p:cNvPr id="1" name=""/>
        <p:cNvGrpSpPr/>
        <p:nvPr/>
      </p:nvGrpSpPr>
      <p:grpSpPr>
        <a:xfrm>
          <a:off x="0" y="0"/>
          <a:ext cx="0" cy="0"/>
          <a:chOff x="0" y="0"/>
          <a:chExt cx="0" cy="0"/>
        </a:xfrm>
      </p:grpSpPr>
      <p:sp>
        <p:nvSpPr>
          <p:cNvPr id="7" name="TextBox 16"/>
          <p:cNvSpPr txBox="1">
            <a:spLocks noChangeArrowheads="1"/>
          </p:cNvSpPr>
          <p:nvPr userDrawn="1"/>
        </p:nvSpPr>
        <p:spPr bwMode="auto">
          <a:xfrm>
            <a:off x="9059698" y="6132060"/>
            <a:ext cx="113506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 25-44</a:t>
            </a:r>
          </a:p>
        </p:txBody>
      </p:sp>
      <p:sp>
        <p:nvSpPr>
          <p:cNvPr id="8" name="Freeform 14"/>
          <p:cNvSpPr>
            <a:spLocks noEditPoints="1"/>
          </p:cNvSpPr>
          <p:nvPr userDrawn="1"/>
        </p:nvSpPr>
        <p:spPr bwMode="auto">
          <a:xfrm>
            <a:off x="8997229" y="4864973"/>
            <a:ext cx="1260000" cy="1260000"/>
          </a:xfrm>
          <a:custGeom>
            <a:avLst/>
            <a:gdLst>
              <a:gd name="T0" fmla="*/ 354 w 726"/>
              <a:gd name="T1" fmla="*/ 254 h 726"/>
              <a:gd name="T2" fmla="*/ 320 w 726"/>
              <a:gd name="T3" fmla="*/ 238 h 726"/>
              <a:gd name="T4" fmla="*/ 352 w 726"/>
              <a:gd name="T5" fmla="*/ 264 h 726"/>
              <a:gd name="T6" fmla="*/ 336 w 726"/>
              <a:gd name="T7" fmla="*/ 330 h 726"/>
              <a:gd name="T8" fmla="*/ 356 w 726"/>
              <a:gd name="T9" fmla="*/ 312 h 726"/>
              <a:gd name="T10" fmla="*/ 504 w 726"/>
              <a:gd name="T11" fmla="*/ 460 h 726"/>
              <a:gd name="T12" fmla="*/ 208 w 726"/>
              <a:gd name="T13" fmla="*/ 302 h 726"/>
              <a:gd name="T14" fmla="*/ 326 w 726"/>
              <a:gd name="T15" fmla="*/ 2 h 726"/>
              <a:gd name="T16" fmla="*/ 132 w 726"/>
              <a:gd name="T17" fmla="*/ 82 h 726"/>
              <a:gd name="T18" fmla="*/ 18 w 726"/>
              <a:gd name="T19" fmla="*/ 254 h 726"/>
              <a:gd name="T20" fmla="*/ 8 w 726"/>
              <a:gd name="T21" fmla="*/ 436 h 726"/>
              <a:gd name="T22" fmla="*/ 108 w 726"/>
              <a:gd name="T23" fmla="*/ 620 h 726"/>
              <a:gd name="T24" fmla="*/ 290 w 726"/>
              <a:gd name="T25" fmla="*/ 718 h 726"/>
              <a:gd name="T26" fmla="*/ 472 w 726"/>
              <a:gd name="T27" fmla="*/ 710 h 726"/>
              <a:gd name="T28" fmla="*/ 644 w 726"/>
              <a:gd name="T29" fmla="*/ 594 h 726"/>
              <a:gd name="T30" fmla="*/ 724 w 726"/>
              <a:gd name="T31" fmla="*/ 400 h 726"/>
              <a:gd name="T32" fmla="*/ 698 w 726"/>
              <a:gd name="T33" fmla="*/ 222 h 726"/>
              <a:gd name="T34" fmla="*/ 566 w 726"/>
              <a:gd name="T35" fmla="*/ 62 h 726"/>
              <a:gd name="T36" fmla="*/ 364 w 726"/>
              <a:gd name="T37" fmla="*/ 0 h 726"/>
              <a:gd name="T38" fmla="*/ 550 w 726"/>
              <a:gd name="T39" fmla="*/ 352 h 726"/>
              <a:gd name="T40" fmla="*/ 500 w 726"/>
              <a:gd name="T41" fmla="*/ 242 h 726"/>
              <a:gd name="T42" fmla="*/ 216 w 726"/>
              <a:gd name="T43" fmla="*/ 420 h 726"/>
              <a:gd name="T44" fmla="*/ 208 w 726"/>
              <a:gd name="T45" fmla="*/ 396 h 726"/>
              <a:gd name="T46" fmla="*/ 170 w 726"/>
              <a:gd name="T47" fmla="*/ 416 h 726"/>
              <a:gd name="T48" fmla="*/ 184 w 726"/>
              <a:gd name="T49" fmla="*/ 384 h 726"/>
              <a:gd name="T50" fmla="*/ 228 w 726"/>
              <a:gd name="T51" fmla="*/ 382 h 726"/>
              <a:gd name="T52" fmla="*/ 244 w 726"/>
              <a:gd name="T53" fmla="*/ 412 h 726"/>
              <a:gd name="T54" fmla="*/ 196 w 726"/>
              <a:gd name="T55" fmla="*/ 490 h 726"/>
              <a:gd name="T56" fmla="*/ 168 w 726"/>
              <a:gd name="T57" fmla="*/ 352 h 726"/>
              <a:gd name="T58" fmla="*/ 288 w 726"/>
              <a:gd name="T59" fmla="*/ 510 h 726"/>
              <a:gd name="T60" fmla="*/ 256 w 726"/>
              <a:gd name="T61" fmla="*/ 494 h 726"/>
              <a:gd name="T62" fmla="*/ 282 w 726"/>
              <a:gd name="T63" fmla="*/ 488 h 726"/>
              <a:gd name="T64" fmla="*/ 300 w 726"/>
              <a:gd name="T65" fmla="*/ 486 h 726"/>
              <a:gd name="T66" fmla="*/ 298 w 726"/>
              <a:gd name="T67" fmla="*/ 444 h 726"/>
              <a:gd name="T68" fmla="*/ 282 w 726"/>
              <a:gd name="T69" fmla="*/ 450 h 726"/>
              <a:gd name="T70" fmla="*/ 282 w 726"/>
              <a:gd name="T71" fmla="*/ 400 h 726"/>
              <a:gd name="T72" fmla="*/ 300 w 726"/>
              <a:gd name="T73" fmla="*/ 424 h 726"/>
              <a:gd name="T74" fmla="*/ 326 w 726"/>
              <a:gd name="T75" fmla="*/ 440 h 726"/>
              <a:gd name="T76" fmla="*/ 322 w 726"/>
              <a:gd name="T77" fmla="*/ 496 h 726"/>
              <a:gd name="T78" fmla="*/ 292 w 726"/>
              <a:gd name="T79" fmla="*/ 352 h 726"/>
              <a:gd name="T80" fmla="*/ 370 w 726"/>
              <a:gd name="T81" fmla="*/ 224 h 726"/>
              <a:gd name="T82" fmla="*/ 380 w 726"/>
              <a:gd name="T83" fmla="*/ 262 h 726"/>
              <a:gd name="T84" fmla="*/ 366 w 726"/>
              <a:gd name="T85" fmla="*/ 284 h 726"/>
              <a:gd name="T86" fmla="*/ 384 w 726"/>
              <a:gd name="T87" fmla="*/ 316 h 726"/>
              <a:gd name="T88" fmla="*/ 354 w 726"/>
              <a:gd name="T89" fmla="*/ 350 h 726"/>
              <a:gd name="T90" fmla="*/ 388 w 726"/>
              <a:gd name="T91" fmla="*/ 450 h 726"/>
              <a:gd name="T92" fmla="*/ 470 w 726"/>
              <a:gd name="T93" fmla="*/ 222 h 726"/>
              <a:gd name="T94" fmla="*/ 456 w 726"/>
              <a:gd name="T95" fmla="*/ 260 h 726"/>
              <a:gd name="T96" fmla="*/ 444 w 726"/>
              <a:gd name="T97" fmla="*/ 234 h 726"/>
              <a:gd name="T98" fmla="*/ 426 w 726"/>
              <a:gd name="T99" fmla="*/ 284 h 726"/>
              <a:gd name="T100" fmla="*/ 438 w 726"/>
              <a:gd name="T101" fmla="*/ 332 h 726"/>
              <a:gd name="T102" fmla="*/ 456 w 726"/>
              <a:gd name="T103" fmla="*/ 314 h 726"/>
              <a:gd name="T104" fmla="*/ 478 w 726"/>
              <a:gd name="T105" fmla="*/ 338 h 726"/>
              <a:gd name="T106" fmla="*/ 444 w 726"/>
              <a:gd name="T107" fmla="*/ 354 h 726"/>
              <a:gd name="T108" fmla="*/ 398 w 726"/>
              <a:gd name="T109" fmla="*/ 310 h 726"/>
              <a:gd name="T110" fmla="*/ 410 w 726"/>
              <a:gd name="T111" fmla="*/ 228 h 726"/>
              <a:gd name="T112" fmla="*/ 466 w 726"/>
              <a:gd name="T113" fmla="*/ 510 h 726"/>
              <a:gd name="T114" fmla="*/ 432 w 726"/>
              <a:gd name="T115" fmla="*/ 380 h 726"/>
              <a:gd name="T116" fmla="*/ 550 w 726"/>
              <a:gd name="T117" fmla="*/ 480 h 726"/>
              <a:gd name="T118" fmla="*/ 484 w 726"/>
              <a:gd name="T119" fmla="*/ 45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420" y="460"/>
                </a:moveTo>
                <a:lnTo>
                  <a:pt x="444" y="460"/>
                </a:lnTo>
                <a:lnTo>
                  <a:pt x="444" y="398"/>
                </a:lnTo>
                <a:lnTo>
                  <a:pt x="420" y="460"/>
                </a:lnTo>
                <a:close/>
                <a:moveTo>
                  <a:pt x="354" y="254"/>
                </a:moveTo>
                <a:lnTo>
                  <a:pt x="354" y="254"/>
                </a:lnTo>
                <a:lnTo>
                  <a:pt x="352" y="248"/>
                </a:lnTo>
                <a:lnTo>
                  <a:pt x="350" y="242"/>
                </a:lnTo>
                <a:lnTo>
                  <a:pt x="344" y="238"/>
                </a:lnTo>
                <a:lnTo>
                  <a:pt x="338" y="238"/>
                </a:lnTo>
                <a:lnTo>
                  <a:pt x="320" y="238"/>
                </a:lnTo>
                <a:lnTo>
                  <a:pt x="320" y="272"/>
                </a:lnTo>
                <a:lnTo>
                  <a:pt x="340" y="272"/>
                </a:lnTo>
                <a:lnTo>
                  <a:pt x="344" y="272"/>
                </a:lnTo>
                <a:lnTo>
                  <a:pt x="348" y="268"/>
                </a:lnTo>
                <a:lnTo>
                  <a:pt x="352" y="264"/>
                </a:lnTo>
                <a:lnTo>
                  <a:pt x="354" y="254"/>
                </a:lnTo>
                <a:close/>
                <a:moveTo>
                  <a:pt x="336" y="292"/>
                </a:moveTo>
                <a:lnTo>
                  <a:pt x="320" y="292"/>
                </a:lnTo>
                <a:lnTo>
                  <a:pt x="320" y="330"/>
                </a:lnTo>
                <a:lnTo>
                  <a:pt x="336" y="330"/>
                </a:lnTo>
                <a:lnTo>
                  <a:pt x="342" y="330"/>
                </a:lnTo>
                <a:lnTo>
                  <a:pt x="348" y="328"/>
                </a:lnTo>
                <a:lnTo>
                  <a:pt x="350" y="326"/>
                </a:lnTo>
                <a:lnTo>
                  <a:pt x="354" y="322"/>
                </a:lnTo>
                <a:lnTo>
                  <a:pt x="354" y="318"/>
                </a:lnTo>
                <a:lnTo>
                  <a:pt x="356" y="312"/>
                </a:lnTo>
                <a:lnTo>
                  <a:pt x="354" y="304"/>
                </a:lnTo>
                <a:lnTo>
                  <a:pt x="352" y="298"/>
                </a:lnTo>
                <a:lnTo>
                  <a:pt x="346" y="294"/>
                </a:lnTo>
                <a:lnTo>
                  <a:pt x="336" y="292"/>
                </a:lnTo>
                <a:close/>
                <a:moveTo>
                  <a:pt x="504" y="460"/>
                </a:moveTo>
                <a:lnTo>
                  <a:pt x="526" y="460"/>
                </a:lnTo>
                <a:lnTo>
                  <a:pt x="528" y="398"/>
                </a:lnTo>
                <a:lnTo>
                  <a:pt x="526" y="398"/>
                </a:lnTo>
                <a:lnTo>
                  <a:pt x="504" y="460"/>
                </a:lnTo>
                <a:close/>
                <a:moveTo>
                  <a:pt x="222" y="242"/>
                </a:moveTo>
                <a:lnTo>
                  <a:pt x="208" y="302"/>
                </a:lnTo>
                <a:lnTo>
                  <a:pt x="236" y="302"/>
                </a:lnTo>
                <a:lnTo>
                  <a:pt x="222" y="242"/>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00" y="242"/>
                </a:moveTo>
                <a:lnTo>
                  <a:pt x="500" y="242"/>
                </a:lnTo>
                <a:lnTo>
                  <a:pt x="512" y="232"/>
                </a:lnTo>
                <a:lnTo>
                  <a:pt x="524" y="222"/>
                </a:lnTo>
                <a:lnTo>
                  <a:pt x="550" y="222"/>
                </a:lnTo>
                <a:lnTo>
                  <a:pt x="550" y="352"/>
                </a:lnTo>
                <a:lnTo>
                  <a:pt x="522" y="352"/>
                </a:lnTo>
                <a:lnTo>
                  <a:pt x="522" y="252"/>
                </a:lnTo>
                <a:lnTo>
                  <a:pt x="510" y="260"/>
                </a:lnTo>
                <a:lnTo>
                  <a:pt x="500" y="266"/>
                </a:lnTo>
                <a:lnTo>
                  <a:pt x="500" y="242"/>
                </a:lnTo>
                <a:close/>
                <a:moveTo>
                  <a:pt x="246" y="510"/>
                </a:moveTo>
                <a:lnTo>
                  <a:pt x="168" y="510"/>
                </a:lnTo>
                <a:lnTo>
                  <a:pt x="168" y="486"/>
                </a:lnTo>
                <a:lnTo>
                  <a:pt x="208" y="434"/>
                </a:lnTo>
                <a:lnTo>
                  <a:pt x="216" y="420"/>
                </a:lnTo>
                <a:lnTo>
                  <a:pt x="218" y="410"/>
                </a:lnTo>
                <a:lnTo>
                  <a:pt x="218" y="404"/>
                </a:lnTo>
                <a:lnTo>
                  <a:pt x="216" y="400"/>
                </a:lnTo>
                <a:lnTo>
                  <a:pt x="212" y="398"/>
                </a:lnTo>
                <a:lnTo>
                  <a:pt x="208" y="396"/>
                </a:lnTo>
                <a:lnTo>
                  <a:pt x="202" y="398"/>
                </a:lnTo>
                <a:lnTo>
                  <a:pt x="198" y="402"/>
                </a:lnTo>
                <a:lnTo>
                  <a:pt x="198" y="408"/>
                </a:lnTo>
                <a:lnTo>
                  <a:pt x="196" y="416"/>
                </a:lnTo>
                <a:lnTo>
                  <a:pt x="170" y="416"/>
                </a:lnTo>
                <a:lnTo>
                  <a:pt x="170" y="406"/>
                </a:lnTo>
                <a:lnTo>
                  <a:pt x="172" y="400"/>
                </a:lnTo>
                <a:lnTo>
                  <a:pt x="174" y="392"/>
                </a:lnTo>
                <a:lnTo>
                  <a:pt x="178" y="388"/>
                </a:lnTo>
                <a:lnTo>
                  <a:pt x="184" y="384"/>
                </a:lnTo>
                <a:lnTo>
                  <a:pt x="190" y="380"/>
                </a:lnTo>
                <a:lnTo>
                  <a:pt x="198" y="378"/>
                </a:lnTo>
                <a:lnTo>
                  <a:pt x="206" y="378"/>
                </a:lnTo>
                <a:lnTo>
                  <a:pt x="222" y="380"/>
                </a:lnTo>
                <a:lnTo>
                  <a:pt x="228" y="382"/>
                </a:lnTo>
                <a:lnTo>
                  <a:pt x="234" y="386"/>
                </a:lnTo>
                <a:lnTo>
                  <a:pt x="238" y="390"/>
                </a:lnTo>
                <a:lnTo>
                  <a:pt x="242" y="396"/>
                </a:lnTo>
                <a:lnTo>
                  <a:pt x="244" y="402"/>
                </a:lnTo>
                <a:lnTo>
                  <a:pt x="244" y="412"/>
                </a:lnTo>
                <a:lnTo>
                  <a:pt x="242" y="422"/>
                </a:lnTo>
                <a:lnTo>
                  <a:pt x="238" y="434"/>
                </a:lnTo>
                <a:lnTo>
                  <a:pt x="232" y="444"/>
                </a:lnTo>
                <a:lnTo>
                  <a:pt x="226" y="456"/>
                </a:lnTo>
                <a:lnTo>
                  <a:pt x="210" y="474"/>
                </a:lnTo>
                <a:lnTo>
                  <a:pt x="196" y="490"/>
                </a:lnTo>
                <a:lnTo>
                  <a:pt x="246" y="490"/>
                </a:lnTo>
                <a:lnTo>
                  <a:pt x="246" y="510"/>
                </a:lnTo>
                <a:close/>
                <a:moveTo>
                  <a:pt x="242" y="322"/>
                </a:moveTo>
                <a:lnTo>
                  <a:pt x="204" y="322"/>
                </a:lnTo>
                <a:lnTo>
                  <a:pt x="196" y="352"/>
                </a:lnTo>
                <a:lnTo>
                  <a:pt x="168" y="352"/>
                </a:lnTo>
                <a:lnTo>
                  <a:pt x="206" y="218"/>
                </a:lnTo>
                <a:lnTo>
                  <a:pt x="242" y="218"/>
                </a:lnTo>
                <a:lnTo>
                  <a:pt x="278" y="352"/>
                </a:lnTo>
                <a:lnTo>
                  <a:pt x="250" y="352"/>
                </a:lnTo>
                <a:lnTo>
                  <a:pt x="242" y="322"/>
                </a:lnTo>
                <a:close/>
                <a:moveTo>
                  <a:pt x="288" y="510"/>
                </a:moveTo>
                <a:lnTo>
                  <a:pt x="288" y="510"/>
                </a:lnTo>
                <a:lnTo>
                  <a:pt x="274" y="510"/>
                </a:lnTo>
                <a:lnTo>
                  <a:pt x="268" y="506"/>
                </a:lnTo>
                <a:lnTo>
                  <a:pt x="264" y="504"/>
                </a:lnTo>
                <a:lnTo>
                  <a:pt x="260" y="500"/>
                </a:lnTo>
                <a:lnTo>
                  <a:pt x="256" y="494"/>
                </a:lnTo>
                <a:lnTo>
                  <a:pt x="254" y="486"/>
                </a:lnTo>
                <a:lnTo>
                  <a:pt x="254" y="478"/>
                </a:lnTo>
                <a:lnTo>
                  <a:pt x="280" y="478"/>
                </a:lnTo>
                <a:lnTo>
                  <a:pt x="282" y="484"/>
                </a:lnTo>
                <a:lnTo>
                  <a:pt x="282" y="488"/>
                </a:lnTo>
                <a:lnTo>
                  <a:pt x="286" y="490"/>
                </a:lnTo>
                <a:lnTo>
                  <a:pt x="290" y="492"/>
                </a:lnTo>
                <a:lnTo>
                  <a:pt x="296" y="490"/>
                </a:lnTo>
                <a:lnTo>
                  <a:pt x="300" y="486"/>
                </a:lnTo>
                <a:lnTo>
                  <a:pt x="302" y="478"/>
                </a:lnTo>
                <a:lnTo>
                  <a:pt x="302" y="466"/>
                </a:lnTo>
                <a:lnTo>
                  <a:pt x="302" y="458"/>
                </a:lnTo>
                <a:lnTo>
                  <a:pt x="302" y="450"/>
                </a:lnTo>
                <a:lnTo>
                  <a:pt x="298" y="444"/>
                </a:lnTo>
                <a:lnTo>
                  <a:pt x="296" y="440"/>
                </a:lnTo>
                <a:lnTo>
                  <a:pt x="292" y="440"/>
                </a:lnTo>
                <a:lnTo>
                  <a:pt x="286" y="442"/>
                </a:lnTo>
                <a:lnTo>
                  <a:pt x="284" y="446"/>
                </a:lnTo>
                <a:lnTo>
                  <a:pt x="282" y="450"/>
                </a:lnTo>
                <a:lnTo>
                  <a:pt x="282" y="454"/>
                </a:lnTo>
                <a:lnTo>
                  <a:pt x="256" y="454"/>
                </a:lnTo>
                <a:lnTo>
                  <a:pt x="256" y="380"/>
                </a:lnTo>
                <a:lnTo>
                  <a:pt x="324" y="380"/>
                </a:lnTo>
                <a:lnTo>
                  <a:pt x="324" y="400"/>
                </a:lnTo>
                <a:lnTo>
                  <a:pt x="282" y="400"/>
                </a:lnTo>
                <a:lnTo>
                  <a:pt x="282" y="432"/>
                </a:lnTo>
                <a:lnTo>
                  <a:pt x="286" y="428"/>
                </a:lnTo>
                <a:lnTo>
                  <a:pt x="290" y="426"/>
                </a:lnTo>
                <a:lnTo>
                  <a:pt x="300" y="424"/>
                </a:lnTo>
                <a:lnTo>
                  <a:pt x="308" y="424"/>
                </a:lnTo>
                <a:lnTo>
                  <a:pt x="314" y="426"/>
                </a:lnTo>
                <a:lnTo>
                  <a:pt x="318" y="430"/>
                </a:lnTo>
                <a:lnTo>
                  <a:pt x="322" y="434"/>
                </a:lnTo>
                <a:lnTo>
                  <a:pt x="326" y="440"/>
                </a:lnTo>
                <a:lnTo>
                  <a:pt x="328" y="448"/>
                </a:lnTo>
                <a:lnTo>
                  <a:pt x="328" y="466"/>
                </a:lnTo>
                <a:lnTo>
                  <a:pt x="328" y="478"/>
                </a:lnTo>
                <a:lnTo>
                  <a:pt x="326" y="488"/>
                </a:lnTo>
                <a:lnTo>
                  <a:pt x="322" y="496"/>
                </a:lnTo>
                <a:lnTo>
                  <a:pt x="318" y="502"/>
                </a:lnTo>
                <a:lnTo>
                  <a:pt x="314" y="506"/>
                </a:lnTo>
                <a:lnTo>
                  <a:pt x="306" y="508"/>
                </a:lnTo>
                <a:lnTo>
                  <a:pt x="298" y="510"/>
                </a:lnTo>
                <a:lnTo>
                  <a:pt x="288" y="510"/>
                </a:lnTo>
                <a:close/>
                <a:moveTo>
                  <a:pt x="292" y="352"/>
                </a:moveTo>
                <a:lnTo>
                  <a:pt x="292" y="218"/>
                </a:lnTo>
                <a:lnTo>
                  <a:pt x="342" y="218"/>
                </a:lnTo>
                <a:lnTo>
                  <a:pt x="358" y="218"/>
                </a:lnTo>
                <a:lnTo>
                  <a:pt x="364" y="220"/>
                </a:lnTo>
                <a:lnTo>
                  <a:pt x="370" y="224"/>
                </a:lnTo>
                <a:lnTo>
                  <a:pt x="374" y="228"/>
                </a:lnTo>
                <a:lnTo>
                  <a:pt x="378" y="234"/>
                </a:lnTo>
                <a:lnTo>
                  <a:pt x="380" y="242"/>
                </a:lnTo>
                <a:lnTo>
                  <a:pt x="382" y="252"/>
                </a:lnTo>
                <a:lnTo>
                  <a:pt x="380" y="262"/>
                </a:lnTo>
                <a:lnTo>
                  <a:pt x="376" y="272"/>
                </a:lnTo>
                <a:lnTo>
                  <a:pt x="368" y="278"/>
                </a:lnTo>
                <a:lnTo>
                  <a:pt x="358" y="282"/>
                </a:lnTo>
                <a:lnTo>
                  <a:pt x="366" y="284"/>
                </a:lnTo>
                <a:lnTo>
                  <a:pt x="370" y="286"/>
                </a:lnTo>
                <a:lnTo>
                  <a:pt x="376" y="288"/>
                </a:lnTo>
                <a:lnTo>
                  <a:pt x="378" y="292"/>
                </a:lnTo>
                <a:lnTo>
                  <a:pt x="382" y="304"/>
                </a:lnTo>
                <a:lnTo>
                  <a:pt x="384" y="316"/>
                </a:lnTo>
                <a:lnTo>
                  <a:pt x="382" y="328"/>
                </a:lnTo>
                <a:lnTo>
                  <a:pt x="378" y="336"/>
                </a:lnTo>
                <a:lnTo>
                  <a:pt x="374" y="342"/>
                </a:lnTo>
                <a:lnTo>
                  <a:pt x="368" y="346"/>
                </a:lnTo>
                <a:lnTo>
                  <a:pt x="360" y="350"/>
                </a:lnTo>
                <a:lnTo>
                  <a:pt x="354" y="350"/>
                </a:lnTo>
                <a:lnTo>
                  <a:pt x="342" y="352"/>
                </a:lnTo>
                <a:lnTo>
                  <a:pt x="292" y="352"/>
                </a:lnTo>
                <a:close/>
                <a:moveTo>
                  <a:pt x="388" y="468"/>
                </a:moveTo>
                <a:lnTo>
                  <a:pt x="342" y="468"/>
                </a:lnTo>
                <a:lnTo>
                  <a:pt x="342" y="450"/>
                </a:lnTo>
                <a:lnTo>
                  <a:pt x="388" y="450"/>
                </a:lnTo>
                <a:lnTo>
                  <a:pt x="388" y="468"/>
                </a:lnTo>
                <a:close/>
                <a:moveTo>
                  <a:pt x="444" y="214"/>
                </a:moveTo>
                <a:lnTo>
                  <a:pt x="444" y="214"/>
                </a:lnTo>
                <a:lnTo>
                  <a:pt x="454" y="216"/>
                </a:lnTo>
                <a:lnTo>
                  <a:pt x="462" y="218"/>
                </a:lnTo>
                <a:lnTo>
                  <a:pt x="470" y="222"/>
                </a:lnTo>
                <a:lnTo>
                  <a:pt x="474" y="226"/>
                </a:lnTo>
                <a:lnTo>
                  <a:pt x="478" y="232"/>
                </a:lnTo>
                <a:lnTo>
                  <a:pt x="482" y="240"/>
                </a:lnTo>
                <a:lnTo>
                  <a:pt x="484" y="250"/>
                </a:lnTo>
                <a:lnTo>
                  <a:pt x="484" y="260"/>
                </a:lnTo>
                <a:lnTo>
                  <a:pt x="456" y="260"/>
                </a:lnTo>
                <a:lnTo>
                  <a:pt x="456" y="248"/>
                </a:lnTo>
                <a:lnTo>
                  <a:pt x="454" y="240"/>
                </a:lnTo>
                <a:lnTo>
                  <a:pt x="450" y="236"/>
                </a:lnTo>
                <a:lnTo>
                  <a:pt x="444" y="234"/>
                </a:lnTo>
                <a:lnTo>
                  <a:pt x="438" y="236"/>
                </a:lnTo>
                <a:lnTo>
                  <a:pt x="434" y="238"/>
                </a:lnTo>
                <a:lnTo>
                  <a:pt x="432" y="242"/>
                </a:lnTo>
                <a:lnTo>
                  <a:pt x="430" y="246"/>
                </a:lnTo>
                <a:lnTo>
                  <a:pt x="426" y="262"/>
                </a:lnTo>
                <a:lnTo>
                  <a:pt x="426" y="284"/>
                </a:lnTo>
                <a:lnTo>
                  <a:pt x="426" y="306"/>
                </a:lnTo>
                <a:lnTo>
                  <a:pt x="430" y="322"/>
                </a:lnTo>
                <a:lnTo>
                  <a:pt x="432" y="328"/>
                </a:lnTo>
                <a:lnTo>
                  <a:pt x="434" y="330"/>
                </a:lnTo>
                <a:lnTo>
                  <a:pt x="438" y="332"/>
                </a:lnTo>
                <a:lnTo>
                  <a:pt x="444" y="334"/>
                </a:lnTo>
                <a:lnTo>
                  <a:pt x="448" y="332"/>
                </a:lnTo>
                <a:lnTo>
                  <a:pt x="452" y="330"/>
                </a:lnTo>
                <a:lnTo>
                  <a:pt x="456" y="324"/>
                </a:lnTo>
                <a:lnTo>
                  <a:pt x="456" y="314"/>
                </a:lnTo>
                <a:lnTo>
                  <a:pt x="456" y="306"/>
                </a:lnTo>
                <a:lnTo>
                  <a:pt x="484" y="306"/>
                </a:lnTo>
                <a:lnTo>
                  <a:pt x="484" y="318"/>
                </a:lnTo>
                <a:lnTo>
                  <a:pt x="482" y="328"/>
                </a:lnTo>
                <a:lnTo>
                  <a:pt x="478" y="338"/>
                </a:lnTo>
                <a:lnTo>
                  <a:pt x="474" y="344"/>
                </a:lnTo>
                <a:lnTo>
                  <a:pt x="468" y="348"/>
                </a:lnTo>
                <a:lnTo>
                  <a:pt x="462" y="352"/>
                </a:lnTo>
                <a:lnTo>
                  <a:pt x="454" y="354"/>
                </a:lnTo>
                <a:lnTo>
                  <a:pt x="444" y="354"/>
                </a:lnTo>
                <a:lnTo>
                  <a:pt x="428" y="352"/>
                </a:lnTo>
                <a:lnTo>
                  <a:pt x="418" y="348"/>
                </a:lnTo>
                <a:lnTo>
                  <a:pt x="410" y="340"/>
                </a:lnTo>
                <a:lnTo>
                  <a:pt x="404" y="332"/>
                </a:lnTo>
                <a:lnTo>
                  <a:pt x="400" y="322"/>
                </a:lnTo>
                <a:lnTo>
                  <a:pt x="398" y="310"/>
                </a:lnTo>
                <a:lnTo>
                  <a:pt x="398" y="284"/>
                </a:lnTo>
                <a:lnTo>
                  <a:pt x="398" y="258"/>
                </a:lnTo>
                <a:lnTo>
                  <a:pt x="400" y="246"/>
                </a:lnTo>
                <a:lnTo>
                  <a:pt x="404" y="236"/>
                </a:lnTo>
                <a:lnTo>
                  <a:pt x="410" y="228"/>
                </a:lnTo>
                <a:lnTo>
                  <a:pt x="418" y="220"/>
                </a:lnTo>
                <a:lnTo>
                  <a:pt x="428" y="216"/>
                </a:lnTo>
                <a:lnTo>
                  <a:pt x="444" y="214"/>
                </a:lnTo>
                <a:close/>
                <a:moveTo>
                  <a:pt x="476" y="480"/>
                </a:moveTo>
                <a:lnTo>
                  <a:pt x="466" y="480"/>
                </a:lnTo>
                <a:lnTo>
                  <a:pt x="466" y="510"/>
                </a:lnTo>
                <a:lnTo>
                  <a:pt x="440" y="510"/>
                </a:lnTo>
                <a:lnTo>
                  <a:pt x="440" y="480"/>
                </a:lnTo>
                <a:lnTo>
                  <a:pt x="400" y="480"/>
                </a:lnTo>
                <a:lnTo>
                  <a:pt x="400" y="454"/>
                </a:lnTo>
                <a:lnTo>
                  <a:pt x="432" y="380"/>
                </a:lnTo>
                <a:lnTo>
                  <a:pt x="466" y="380"/>
                </a:lnTo>
                <a:lnTo>
                  <a:pt x="466" y="460"/>
                </a:lnTo>
                <a:lnTo>
                  <a:pt x="476" y="460"/>
                </a:lnTo>
                <a:lnTo>
                  <a:pt x="476" y="480"/>
                </a:lnTo>
                <a:close/>
                <a:moveTo>
                  <a:pt x="560" y="480"/>
                </a:moveTo>
                <a:lnTo>
                  <a:pt x="550" y="480"/>
                </a:lnTo>
                <a:lnTo>
                  <a:pt x="550" y="510"/>
                </a:lnTo>
                <a:lnTo>
                  <a:pt x="524" y="510"/>
                </a:lnTo>
                <a:lnTo>
                  <a:pt x="524" y="480"/>
                </a:lnTo>
                <a:lnTo>
                  <a:pt x="484" y="480"/>
                </a:lnTo>
                <a:lnTo>
                  <a:pt x="484" y="454"/>
                </a:lnTo>
                <a:lnTo>
                  <a:pt x="514" y="380"/>
                </a:lnTo>
                <a:lnTo>
                  <a:pt x="550" y="380"/>
                </a:lnTo>
                <a:lnTo>
                  <a:pt x="550" y="460"/>
                </a:lnTo>
                <a:lnTo>
                  <a:pt x="560" y="460"/>
                </a:lnTo>
                <a:lnTo>
                  <a:pt x="560" y="4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1" name="TextBox 29"/>
          <p:cNvSpPr txBox="1">
            <a:spLocks noChangeArrowheads="1"/>
          </p:cNvSpPr>
          <p:nvPr userDrawn="1"/>
        </p:nvSpPr>
        <p:spPr bwMode="auto">
          <a:xfrm>
            <a:off x="3241528" y="2537211"/>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erson</a:t>
            </a:r>
          </a:p>
        </p:txBody>
      </p:sp>
      <p:sp>
        <p:nvSpPr>
          <p:cNvPr id="22" name="Freeform 309"/>
          <p:cNvSpPr>
            <a:spLocks noEditPoints="1"/>
          </p:cNvSpPr>
          <p:nvPr userDrawn="1"/>
        </p:nvSpPr>
        <p:spPr bwMode="auto">
          <a:xfrm>
            <a:off x="3179044" y="1259997"/>
            <a:ext cx="1260000" cy="126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82 w 724"/>
              <a:gd name="T47" fmla="*/ 146 h 726"/>
              <a:gd name="T48" fmla="*/ 428 w 724"/>
              <a:gd name="T49" fmla="*/ 172 h 726"/>
              <a:gd name="T50" fmla="*/ 454 w 724"/>
              <a:gd name="T51" fmla="*/ 220 h 726"/>
              <a:gd name="T52" fmla="*/ 454 w 724"/>
              <a:gd name="T53" fmla="*/ 256 h 726"/>
              <a:gd name="T54" fmla="*/ 432 w 724"/>
              <a:gd name="T55" fmla="*/ 302 h 726"/>
              <a:gd name="T56" fmla="*/ 388 w 724"/>
              <a:gd name="T57" fmla="*/ 328 h 726"/>
              <a:gd name="T58" fmla="*/ 362 w 724"/>
              <a:gd name="T59" fmla="*/ 332 h 726"/>
              <a:gd name="T60" fmla="*/ 354 w 724"/>
              <a:gd name="T61" fmla="*/ 332 h 726"/>
              <a:gd name="T62" fmla="*/ 306 w 724"/>
              <a:gd name="T63" fmla="*/ 314 h 726"/>
              <a:gd name="T64" fmla="*/ 274 w 724"/>
              <a:gd name="T65" fmla="*/ 272 h 726"/>
              <a:gd name="T66" fmla="*/ 268 w 724"/>
              <a:gd name="T67" fmla="*/ 238 h 726"/>
              <a:gd name="T68" fmla="*/ 284 w 724"/>
              <a:gd name="T69" fmla="*/ 186 h 726"/>
              <a:gd name="T70" fmla="*/ 326 w 724"/>
              <a:gd name="T71" fmla="*/ 152 h 726"/>
              <a:gd name="T72" fmla="*/ 520 w 724"/>
              <a:gd name="T73" fmla="*/ 524 h 726"/>
              <a:gd name="T74" fmla="*/ 206 w 724"/>
              <a:gd name="T75" fmla="*/ 514 h 726"/>
              <a:gd name="T76" fmla="*/ 212 w 724"/>
              <a:gd name="T77" fmla="*/ 466 h 726"/>
              <a:gd name="T78" fmla="*/ 232 w 724"/>
              <a:gd name="T79" fmla="*/ 426 h 726"/>
              <a:gd name="T80" fmla="*/ 252 w 724"/>
              <a:gd name="T81" fmla="*/ 402 h 726"/>
              <a:gd name="T82" fmla="*/ 284 w 724"/>
              <a:gd name="T83" fmla="*/ 378 h 726"/>
              <a:gd name="T84" fmla="*/ 324 w 724"/>
              <a:gd name="T85" fmla="*/ 362 h 726"/>
              <a:gd name="T86" fmla="*/ 354 w 724"/>
              <a:gd name="T87" fmla="*/ 356 h 726"/>
              <a:gd name="T88" fmla="*/ 372 w 724"/>
              <a:gd name="T89" fmla="*/ 356 h 726"/>
              <a:gd name="T90" fmla="*/ 400 w 724"/>
              <a:gd name="T91" fmla="*/ 362 h 726"/>
              <a:gd name="T92" fmla="*/ 440 w 724"/>
              <a:gd name="T93" fmla="*/ 378 h 726"/>
              <a:gd name="T94" fmla="*/ 474 w 724"/>
              <a:gd name="T95" fmla="*/ 402 h 726"/>
              <a:gd name="T96" fmla="*/ 492 w 724"/>
              <a:gd name="T97" fmla="*/ 426 h 726"/>
              <a:gd name="T98" fmla="*/ 512 w 724"/>
              <a:gd name="T99" fmla="*/ 466 h 726"/>
              <a:gd name="T100" fmla="*/ 520 w 724"/>
              <a:gd name="T101" fmla="*/ 514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62" y="144"/>
                </a:moveTo>
                <a:lnTo>
                  <a:pt x="362" y="144"/>
                </a:lnTo>
                <a:lnTo>
                  <a:pt x="382" y="146"/>
                </a:lnTo>
                <a:lnTo>
                  <a:pt x="398" y="152"/>
                </a:lnTo>
                <a:lnTo>
                  <a:pt x="414" y="160"/>
                </a:lnTo>
                <a:lnTo>
                  <a:pt x="428" y="172"/>
                </a:lnTo>
                <a:lnTo>
                  <a:pt x="440" y="186"/>
                </a:lnTo>
                <a:lnTo>
                  <a:pt x="450" y="202"/>
                </a:lnTo>
                <a:lnTo>
                  <a:pt x="454" y="220"/>
                </a:lnTo>
                <a:lnTo>
                  <a:pt x="456" y="238"/>
                </a:lnTo>
                <a:lnTo>
                  <a:pt x="454" y="256"/>
                </a:lnTo>
                <a:lnTo>
                  <a:pt x="450" y="272"/>
                </a:lnTo>
                <a:lnTo>
                  <a:pt x="442" y="288"/>
                </a:lnTo>
                <a:lnTo>
                  <a:pt x="432" y="302"/>
                </a:lnTo>
                <a:lnTo>
                  <a:pt x="418" y="314"/>
                </a:lnTo>
                <a:lnTo>
                  <a:pt x="404" y="322"/>
                </a:lnTo>
                <a:lnTo>
                  <a:pt x="388" y="328"/>
                </a:lnTo>
                <a:lnTo>
                  <a:pt x="370" y="332"/>
                </a:lnTo>
                <a:lnTo>
                  <a:pt x="362" y="332"/>
                </a:lnTo>
                <a:lnTo>
                  <a:pt x="354" y="332"/>
                </a:lnTo>
                <a:lnTo>
                  <a:pt x="336" y="328"/>
                </a:lnTo>
                <a:lnTo>
                  <a:pt x="320" y="322"/>
                </a:lnTo>
                <a:lnTo>
                  <a:pt x="306" y="314"/>
                </a:lnTo>
                <a:lnTo>
                  <a:pt x="292" y="302"/>
                </a:lnTo>
                <a:lnTo>
                  <a:pt x="282" y="288"/>
                </a:lnTo>
                <a:lnTo>
                  <a:pt x="274" y="272"/>
                </a:lnTo>
                <a:lnTo>
                  <a:pt x="270" y="256"/>
                </a:lnTo>
                <a:lnTo>
                  <a:pt x="268" y="238"/>
                </a:lnTo>
                <a:lnTo>
                  <a:pt x="270" y="220"/>
                </a:lnTo>
                <a:lnTo>
                  <a:pt x="276" y="202"/>
                </a:lnTo>
                <a:lnTo>
                  <a:pt x="284" y="186"/>
                </a:lnTo>
                <a:lnTo>
                  <a:pt x="296" y="172"/>
                </a:lnTo>
                <a:lnTo>
                  <a:pt x="310" y="160"/>
                </a:lnTo>
                <a:lnTo>
                  <a:pt x="326" y="152"/>
                </a:lnTo>
                <a:lnTo>
                  <a:pt x="344" y="146"/>
                </a:lnTo>
                <a:lnTo>
                  <a:pt x="362" y="144"/>
                </a:lnTo>
                <a:close/>
                <a:moveTo>
                  <a:pt x="520" y="524"/>
                </a:moveTo>
                <a:lnTo>
                  <a:pt x="206" y="524"/>
                </a:lnTo>
                <a:lnTo>
                  <a:pt x="206" y="514"/>
                </a:lnTo>
                <a:lnTo>
                  <a:pt x="206" y="498"/>
                </a:lnTo>
                <a:lnTo>
                  <a:pt x="208" y="482"/>
                </a:lnTo>
                <a:lnTo>
                  <a:pt x="212" y="466"/>
                </a:lnTo>
                <a:lnTo>
                  <a:pt x="218" y="452"/>
                </a:lnTo>
                <a:lnTo>
                  <a:pt x="224" y="438"/>
                </a:lnTo>
                <a:lnTo>
                  <a:pt x="232" y="426"/>
                </a:lnTo>
                <a:lnTo>
                  <a:pt x="240" y="414"/>
                </a:lnTo>
                <a:lnTo>
                  <a:pt x="252" y="402"/>
                </a:lnTo>
                <a:lnTo>
                  <a:pt x="262" y="394"/>
                </a:lnTo>
                <a:lnTo>
                  <a:pt x="272" y="384"/>
                </a:lnTo>
                <a:lnTo>
                  <a:pt x="284" y="378"/>
                </a:lnTo>
                <a:lnTo>
                  <a:pt x="298" y="370"/>
                </a:lnTo>
                <a:lnTo>
                  <a:pt x="310" y="366"/>
                </a:lnTo>
                <a:lnTo>
                  <a:pt x="324" y="362"/>
                </a:lnTo>
                <a:lnTo>
                  <a:pt x="338" y="358"/>
                </a:lnTo>
                <a:lnTo>
                  <a:pt x="354" y="356"/>
                </a:lnTo>
                <a:lnTo>
                  <a:pt x="362" y="356"/>
                </a:lnTo>
                <a:lnTo>
                  <a:pt x="372" y="356"/>
                </a:lnTo>
                <a:lnTo>
                  <a:pt x="386" y="358"/>
                </a:lnTo>
                <a:lnTo>
                  <a:pt x="400" y="362"/>
                </a:lnTo>
                <a:lnTo>
                  <a:pt x="414" y="366"/>
                </a:lnTo>
                <a:lnTo>
                  <a:pt x="428" y="370"/>
                </a:lnTo>
                <a:lnTo>
                  <a:pt x="440" y="378"/>
                </a:lnTo>
                <a:lnTo>
                  <a:pt x="452" y="384"/>
                </a:lnTo>
                <a:lnTo>
                  <a:pt x="462" y="394"/>
                </a:lnTo>
                <a:lnTo>
                  <a:pt x="474" y="402"/>
                </a:lnTo>
                <a:lnTo>
                  <a:pt x="484" y="414"/>
                </a:lnTo>
                <a:lnTo>
                  <a:pt x="492" y="426"/>
                </a:lnTo>
                <a:lnTo>
                  <a:pt x="500" y="438"/>
                </a:lnTo>
                <a:lnTo>
                  <a:pt x="506" y="452"/>
                </a:lnTo>
                <a:lnTo>
                  <a:pt x="512" y="466"/>
                </a:lnTo>
                <a:lnTo>
                  <a:pt x="516" y="482"/>
                </a:lnTo>
                <a:lnTo>
                  <a:pt x="518" y="498"/>
                </a:lnTo>
                <a:lnTo>
                  <a:pt x="520" y="514"/>
                </a:lnTo>
                <a:lnTo>
                  <a:pt x="520" y="5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3" name="TextBox 25"/>
          <p:cNvSpPr txBox="1">
            <a:spLocks noChangeArrowheads="1"/>
          </p:cNvSpPr>
          <p:nvPr userDrawn="1"/>
        </p:nvSpPr>
        <p:spPr bwMode="auto">
          <a:xfrm>
            <a:off x="4695322" y="2536710"/>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roup </a:t>
            </a:r>
            <a:endParaRPr lang="en-GB" altLang="en-US" sz="900" dirty="0">
              <a:solidFill>
                <a:schemeClr val="bg1"/>
              </a:solidFill>
            </a:endParaRPr>
          </a:p>
        </p:txBody>
      </p:sp>
      <p:sp>
        <p:nvSpPr>
          <p:cNvPr id="24" name="Freeform 287"/>
          <p:cNvSpPr>
            <a:spLocks noEditPoints="1"/>
          </p:cNvSpPr>
          <p:nvPr userDrawn="1"/>
        </p:nvSpPr>
        <p:spPr bwMode="auto">
          <a:xfrm>
            <a:off x="4634695"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5" name="TextBox 26"/>
          <p:cNvSpPr txBox="1">
            <a:spLocks noChangeArrowheads="1"/>
          </p:cNvSpPr>
          <p:nvPr userDrawn="1"/>
        </p:nvSpPr>
        <p:spPr bwMode="auto">
          <a:xfrm>
            <a:off x="6157078" y="2538533"/>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mily</a:t>
            </a:r>
          </a:p>
        </p:txBody>
      </p:sp>
      <p:sp>
        <p:nvSpPr>
          <p:cNvPr id="26" name="Freeform 277"/>
          <p:cNvSpPr>
            <a:spLocks noEditPoints="1"/>
          </p:cNvSpPr>
          <p:nvPr userDrawn="1"/>
        </p:nvSpPr>
        <p:spPr bwMode="auto">
          <a:xfrm>
            <a:off x="6090346" y="1259997"/>
            <a:ext cx="1260000" cy="1260000"/>
          </a:xfrm>
          <a:custGeom>
            <a:avLst/>
            <a:gdLst>
              <a:gd name="T0" fmla="*/ 190 w 726"/>
              <a:gd name="T1" fmla="*/ 44 h 726"/>
              <a:gd name="T2" fmla="*/ 28 w 726"/>
              <a:gd name="T3" fmla="*/ 222 h 726"/>
              <a:gd name="T4" fmla="*/ 8 w 726"/>
              <a:gd name="T5" fmla="*/ 436 h 726"/>
              <a:gd name="T6" fmla="*/ 132 w 726"/>
              <a:gd name="T7" fmla="*/ 642 h 726"/>
              <a:gd name="T8" fmla="*/ 364 w 726"/>
              <a:gd name="T9" fmla="*/ 726 h 726"/>
              <a:gd name="T10" fmla="*/ 566 w 726"/>
              <a:gd name="T11" fmla="*/ 664 h 726"/>
              <a:gd name="T12" fmla="*/ 710 w 726"/>
              <a:gd name="T13" fmla="*/ 470 h 726"/>
              <a:gd name="T14" fmla="*/ 710 w 726"/>
              <a:gd name="T15" fmla="*/ 254 h 726"/>
              <a:gd name="T16" fmla="*/ 566 w 726"/>
              <a:gd name="T17" fmla="*/ 62 h 726"/>
              <a:gd name="T18" fmla="*/ 296 w 726"/>
              <a:gd name="T19" fmla="*/ 208 h 726"/>
              <a:gd name="T20" fmla="*/ 334 w 726"/>
              <a:gd name="T21" fmla="*/ 234 h 726"/>
              <a:gd name="T22" fmla="*/ 326 w 726"/>
              <a:gd name="T23" fmla="*/ 282 h 726"/>
              <a:gd name="T24" fmla="*/ 278 w 726"/>
              <a:gd name="T25" fmla="*/ 290 h 726"/>
              <a:gd name="T26" fmla="*/ 252 w 726"/>
              <a:gd name="T27" fmla="*/ 250 h 726"/>
              <a:gd name="T28" fmla="*/ 286 w 726"/>
              <a:gd name="T29" fmla="*/ 208 h 726"/>
              <a:gd name="T30" fmla="*/ 196 w 726"/>
              <a:gd name="T31" fmla="*/ 312 h 726"/>
              <a:gd name="T32" fmla="*/ 180 w 726"/>
              <a:gd name="T33" fmla="*/ 354 h 726"/>
              <a:gd name="T34" fmla="*/ 140 w 726"/>
              <a:gd name="T35" fmla="*/ 336 h 726"/>
              <a:gd name="T36" fmla="*/ 156 w 726"/>
              <a:gd name="T37" fmla="*/ 296 h 726"/>
              <a:gd name="T38" fmla="*/ 194 w 726"/>
              <a:gd name="T39" fmla="*/ 460 h 726"/>
              <a:gd name="T40" fmla="*/ 184 w 726"/>
              <a:gd name="T41" fmla="*/ 518 h 726"/>
              <a:gd name="T42" fmla="*/ 164 w 726"/>
              <a:gd name="T43" fmla="*/ 508 h 726"/>
              <a:gd name="T44" fmla="*/ 150 w 726"/>
              <a:gd name="T45" fmla="*/ 516 h 726"/>
              <a:gd name="T46" fmla="*/ 124 w 726"/>
              <a:gd name="T47" fmla="*/ 460 h 726"/>
              <a:gd name="T48" fmla="*/ 162 w 726"/>
              <a:gd name="T49" fmla="*/ 364 h 726"/>
              <a:gd name="T50" fmla="*/ 218 w 726"/>
              <a:gd name="T51" fmla="*/ 452 h 726"/>
              <a:gd name="T52" fmla="*/ 342 w 726"/>
              <a:gd name="T53" fmla="*/ 416 h 726"/>
              <a:gd name="T54" fmla="*/ 318 w 726"/>
              <a:gd name="T55" fmla="*/ 516 h 726"/>
              <a:gd name="T56" fmla="*/ 304 w 726"/>
              <a:gd name="T57" fmla="*/ 416 h 726"/>
              <a:gd name="T58" fmla="*/ 278 w 726"/>
              <a:gd name="T59" fmla="*/ 518 h 726"/>
              <a:gd name="T60" fmla="*/ 252 w 726"/>
              <a:gd name="T61" fmla="*/ 416 h 726"/>
              <a:gd name="T62" fmla="*/ 242 w 726"/>
              <a:gd name="T63" fmla="*/ 320 h 726"/>
              <a:gd name="T64" fmla="*/ 338 w 726"/>
              <a:gd name="T65" fmla="*/ 308 h 726"/>
              <a:gd name="T66" fmla="*/ 350 w 726"/>
              <a:gd name="T67" fmla="*/ 406 h 726"/>
              <a:gd name="T68" fmla="*/ 598 w 726"/>
              <a:gd name="T69" fmla="*/ 318 h 726"/>
              <a:gd name="T70" fmla="*/ 574 w 726"/>
              <a:gd name="T71" fmla="*/ 354 h 726"/>
              <a:gd name="T72" fmla="*/ 538 w 726"/>
              <a:gd name="T73" fmla="*/ 332 h 726"/>
              <a:gd name="T74" fmla="*/ 562 w 726"/>
              <a:gd name="T75" fmla="*/ 294 h 726"/>
              <a:gd name="T76" fmla="*/ 470 w 726"/>
              <a:gd name="T77" fmla="*/ 220 h 726"/>
              <a:gd name="T78" fmla="*/ 480 w 726"/>
              <a:gd name="T79" fmla="*/ 268 h 726"/>
              <a:gd name="T80" fmla="*/ 440 w 726"/>
              <a:gd name="T81" fmla="*/ 294 h 726"/>
              <a:gd name="T82" fmla="*/ 398 w 726"/>
              <a:gd name="T83" fmla="*/ 260 h 726"/>
              <a:gd name="T84" fmla="*/ 416 w 726"/>
              <a:gd name="T85" fmla="*/ 216 h 726"/>
              <a:gd name="T86" fmla="*/ 494 w 726"/>
              <a:gd name="T87" fmla="*/ 438 h 726"/>
              <a:gd name="T88" fmla="*/ 458 w 726"/>
              <a:gd name="T89" fmla="*/ 518 h 726"/>
              <a:gd name="T90" fmla="*/ 434 w 726"/>
              <a:gd name="T91" fmla="*/ 438 h 726"/>
              <a:gd name="T92" fmla="*/ 422 w 726"/>
              <a:gd name="T93" fmla="*/ 518 h 726"/>
              <a:gd name="T94" fmla="*/ 386 w 726"/>
              <a:gd name="T95" fmla="*/ 438 h 726"/>
              <a:gd name="T96" fmla="*/ 430 w 726"/>
              <a:gd name="T97" fmla="*/ 312 h 726"/>
              <a:gd name="T98" fmla="*/ 504 w 726"/>
              <a:gd name="T99" fmla="*/ 422 h 726"/>
              <a:gd name="T100" fmla="*/ 606 w 726"/>
              <a:gd name="T101" fmla="*/ 442 h 726"/>
              <a:gd name="T102" fmla="*/ 590 w 726"/>
              <a:gd name="T103" fmla="*/ 514 h 726"/>
              <a:gd name="T104" fmla="*/ 574 w 726"/>
              <a:gd name="T105" fmla="*/ 508 h 726"/>
              <a:gd name="T106" fmla="*/ 558 w 726"/>
              <a:gd name="T107" fmla="*/ 516 h 726"/>
              <a:gd name="T108" fmla="*/ 544 w 726"/>
              <a:gd name="T109" fmla="*/ 446 h 726"/>
              <a:gd name="T110" fmla="*/ 528 w 726"/>
              <a:gd name="T111" fmla="*/ 436 h 726"/>
              <a:gd name="T112" fmla="*/ 538 w 726"/>
              <a:gd name="T113" fmla="*/ 364 h 726"/>
              <a:gd name="T114" fmla="*/ 610 w 726"/>
              <a:gd name="T115" fmla="*/ 37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96" y="208"/>
                </a:moveTo>
                <a:lnTo>
                  <a:pt x="296" y="208"/>
                </a:lnTo>
                <a:lnTo>
                  <a:pt x="304" y="208"/>
                </a:lnTo>
                <a:lnTo>
                  <a:pt x="312" y="212"/>
                </a:lnTo>
                <a:lnTo>
                  <a:pt x="320" y="216"/>
                </a:lnTo>
                <a:lnTo>
                  <a:pt x="326" y="220"/>
                </a:lnTo>
                <a:lnTo>
                  <a:pt x="330" y="226"/>
                </a:lnTo>
                <a:lnTo>
                  <a:pt x="334" y="234"/>
                </a:lnTo>
                <a:lnTo>
                  <a:pt x="338" y="242"/>
                </a:lnTo>
                <a:lnTo>
                  <a:pt x="338" y="250"/>
                </a:lnTo>
                <a:lnTo>
                  <a:pt x="338" y="260"/>
                </a:lnTo>
                <a:lnTo>
                  <a:pt x="334" y="268"/>
                </a:lnTo>
                <a:lnTo>
                  <a:pt x="330" y="274"/>
                </a:lnTo>
                <a:lnTo>
                  <a:pt x="326" y="282"/>
                </a:lnTo>
                <a:lnTo>
                  <a:pt x="320" y="286"/>
                </a:lnTo>
                <a:lnTo>
                  <a:pt x="312" y="290"/>
                </a:lnTo>
                <a:lnTo>
                  <a:pt x="304" y="292"/>
                </a:lnTo>
                <a:lnTo>
                  <a:pt x="296" y="294"/>
                </a:lnTo>
                <a:lnTo>
                  <a:pt x="286" y="292"/>
                </a:lnTo>
                <a:lnTo>
                  <a:pt x="278" y="290"/>
                </a:lnTo>
                <a:lnTo>
                  <a:pt x="272" y="286"/>
                </a:lnTo>
                <a:lnTo>
                  <a:pt x="266" y="282"/>
                </a:lnTo>
                <a:lnTo>
                  <a:pt x="260" y="274"/>
                </a:lnTo>
                <a:lnTo>
                  <a:pt x="256" y="268"/>
                </a:lnTo>
                <a:lnTo>
                  <a:pt x="254" y="260"/>
                </a:lnTo>
                <a:lnTo>
                  <a:pt x="252" y="250"/>
                </a:lnTo>
                <a:lnTo>
                  <a:pt x="254" y="242"/>
                </a:lnTo>
                <a:lnTo>
                  <a:pt x="256" y="234"/>
                </a:lnTo>
                <a:lnTo>
                  <a:pt x="260" y="226"/>
                </a:lnTo>
                <a:lnTo>
                  <a:pt x="266" y="220"/>
                </a:lnTo>
                <a:lnTo>
                  <a:pt x="272" y="216"/>
                </a:lnTo>
                <a:lnTo>
                  <a:pt x="278" y="212"/>
                </a:lnTo>
                <a:lnTo>
                  <a:pt x="286" y="208"/>
                </a:lnTo>
                <a:lnTo>
                  <a:pt x="296" y="208"/>
                </a:lnTo>
                <a:close/>
                <a:moveTo>
                  <a:pt x="168" y="294"/>
                </a:moveTo>
                <a:lnTo>
                  <a:pt x="168" y="294"/>
                </a:lnTo>
                <a:lnTo>
                  <a:pt x="174" y="294"/>
                </a:lnTo>
                <a:lnTo>
                  <a:pt x="180" y="296"/>
                </a:lnTo>
                <a:lnTo>
                  <a:pt x="190" y="304"/>
                </a:lnTo>
                <a:lnTo>
                  <a:pt x="196" y="312"/>
                </a:lnTo>
                <a:lnTo>
                  <a:pt x="198" y="318"/>
                </a:lnTo>
                <a:lnTo>
                  <a:pt x="200" y="324"/>
                </a:lnTo>
                <a:lnTo>
                  <a:pt x="198" y="332"/>
                </a:lnTo>
                <a:lnTo>
                  <a:pt x="196" y="336"/>
                </a:lnTo>
                <a:lnTo>
                  <a:pt x="190" y="346"/>
                </a:lnTo>
                <a:lnTo>
                  <a:pt x="180" y="354"/>
                </a:lnTo>
                <a:lnTo>
                  <a:pt x="174" y="354"/>
                </a:lnTo>
                <a:lnTo>
                  <a:pt x="168" y="356"/>
                </a:lnTo>
                <a:lnTo>
                  <a:pt x="162" y="354"/>
                </a:lnTo>
                <a:lnTo>
                  <a:pt x="156" y="354"/>
                </a:lnTo>
                <a:lnTo>
                  <a:pt x="148" y="346"/>
                </a:lnTo>
                <a:lnTo>
                  <a:pt x="140" y="336"/>
                </a:lnTo>
                <a:lnTo>
                  <a:pt x="138" y="332"/>
                </a:lnTo>
                <a:lnTo>
                  <a:pt x="138" y="324"/>
                </a:lnTo>
                <a:lnTo>
                  <a:pt x="138" y="318"/>
                </a:lnTo>
                <a:lnTo>
                  <a:pt x="140" y="312"/>
                </a:lnTo>
                <a:lnTo>
                  <a:pt x="148" y="304"/>
                </a:lnTo>
                <a:lnTo>
                  <a:pt x="156" y="296"/>
                </a:lnTo>
                <a:lnTo>
                  <a:pt x="162" y="294"/>
                </a:lnTo>
                <a:lnTo>
                  <a:pt x="168" y="294"/>
                </a:lnTo>
                <a:close/>
                <a:moveTo>
                  <a:pt x="216" y="456"/>
                </a:moveTo>
                <a:lnTo>
                  <a:pt x="216" y="456"/>
                </a:lnTo>
                <a:lnTo>
                  <a:pt x="212" y="460"/>
                </a:lnTo>
                <a:lnTo>
                  <a:pt x="208" y="460"/>
                </a:lnTo>
                <a:lnTo>
                  <a:pt x="194" y="460"/>
                </a:lnTo>
                <a:lnTo>
                  <a:pt x="194" y="508"/>
                </a:lnTo>
                <a:lnTo>
                  <a:pt x="192" y="512"/>
                </a:lnTo>
                <a:lnTo>
                  <a:pt x="190" y="514"/>
                </a:lnTo>
                <a:lnTo>
                  <a:pt x="188" y="516"/>
                </a:lnTo>
                <a:lnTo>
                  <a:pt x="184" y="518"/>
                </a:lnTo>
                <a:lnTo>
                  <a:pt x="180" y="516"/>
                </a:lnTo>
                <a:lnTo>
                  <a:pt x="176" y="514"/>
                </a:lnTo>
                <a:lnTo>
                  <a:pt x="174" y="512"/>
                </a:lnTo>
                <a:lnTo>
                  <a:pt x="174" y="508"/>
                </a:lnTo>
                <a:lnTo>
                  <a:pt x="174" y="460"/>
                </a:lnTo>
                <a:lnTo>
                  <a:pt x="164" y="460"/>
                </a:lnTo>
                <a:lnTo>
                  <a:pt x="164" y="508"/>
                </a:lnTo>
                <a:lnTo>
                  <a:pt x="162" y="512"/>
                </a:lnTo>
                <a:lnTo>
                  <a:pt x="160" y="514"/>
                </a:lnTo>
                <a:lnTo>
                  <a:pt x="158" y="516"/>
                </a:lnTo>
                <a:lnTo>
                  <a:pt x="154" y="518"/>
                </a:lnTo>
                <a:lnTo>
                  <a:pt x="150" y="516"/>
                </a:lnTo>
                <a:lnTo>
                  <a:pt x="146" y="514"/>
                </a:lnTo>
                <a:lnTo>
                  <a:pt x="144" y="512"/>
                </a:lnTo>
                <a:lnTo>
                  <a:pt x="144" y="508"/>
                </a:lnTo>
                <a:lnTo>
                  <a:pt x="144" y="460"/>
                </a:lnTo>
                <a:lnTo>
                  <a:pt x="130" y="460"/>
                </a:lnTo>
                <a:lnTo>
                  <a:pt x="124" y="460"/>
                </a:lnTo>
                <a:lnTo>
                  <a:pt x="120" y="456"/>
                </a:lnTo>
                <a:lnTo>
                  <a:pt x="120" y="452"/>
                </a:lnTo>
                <a:lnTo>
                  <a:pt x="120" y="446"/>
                </a:lnTo>
                <a:lnTo>
                  <a:pt x="158" y="368"/>
                </a:lnTo>
                <a:lnTo>
                  <a:pt x="162" y="364"/>
                </a:lnTo>
                <a:lnTo>
                  <a:pt x="168" y="362"/>
                </a:lnTo>
                <a:lnTo>
                  <a:pt x="174" y="364"/>
                </a:lnTo>
                <a:lnTo>
                  <a:pt x="178" y="368"/>
                </a:lnTo>
                <a:lnTo>
                  <a:pt x="218" y="446"/>
                </a:lnTo>
                <a:lnTo>
                  <a:pt x="218" y="452"/>
                </a:lnTo>
                <a:lnTo>
                  <a:pt x="216" y="456"/>
                </a:lnTo>
                <a:close/>
                <a:moveTo>
                  <a:pt x="350" y="406"/>
                </a:moveTo>
                <a:lnTo>
                  <a:pt x="350" y="406"/>
                </a:lnTo>
                <a:lnTo>
                  <a:pt x="348" y="410"/>
                </a:lnTo>
                <a:lnTo>
                  <a:pt x="346" y="414"/>
                </a:lnTo>
                <a:lnTo>
                  <a:pt x="342" y="416"/>
                </a:lnTo>
                <a:lnTo>
                  <a:pt x="338" y="416"/>
                </a:lnTo>
                <a:lnTo>
                  <a:pt x="326" y="416"/>
                </a:lnTo>
                <a:lnTo>
                  <a:pt x="326" y="506"/>
                </a:lnTo>
                <a:lnTo>
                  <a:pt x="324" y="512"/>
                </a:lnTo>
                <a:lnTo>
                  <a:pt x="322" y="514"/>
                </a:lnTo>
                <a:lnTo>
                  <a:pt x="318" y="516"/>
                </a:lnTo>
                <a:lnTo>
                  <a:pt x="314" y="518"/>
                </a:lnTo>
                <a:lnTo>
                  <a:pt x="310" y="516"/>
                </a:lnTo>
                <a:lnTo>
                  <a:pt x="306" y="514"/>
                </a:lnTo>
                <a:lnTo>
                  <a:pt x="304" y="512"/>
                </a:lnTo>
                <a:lnTo>
                  <a:pt x="304" y="506"/>
                </a:lnTo>
                <a:lnTo>
                  <a:pt x="304" y="416"/>
                </a:lnTo>
                <a:lnTo>
                  <a:pt x="290" y="416"/>
                </a:lnTo>
                <a:lnTo>
                  <a:pt x="290" y="506"/>
                </a:lnTo>
                <a:lnTo>
                  <a:pt x="288" y="512"/>
                </a:lnTo>
                <a:lnTo>
                  <a:pt x="286" y="514"/>
                </a:lnTo>
                <a:lnTo>
                  <a:pt x="282" y="516"/>
                </a:lnTo>
                <a:lnTo>
                  <a:pt x="278" y="518"/>
                </a:lnTo>
                <a:lnTo>
                  <a:pt x="274" y="516"/>
                </a:lnTo>
                <a:lnTo>
                  <a:pt x="270" y="514"/>
                </a:lnTo>
                <a:lnTo>
                  <a:pt x="268" y="512"/>
                </a:lnTo>
                <a:lnTo>
                  <a:pt x="268" y="506"/>
                </a:lnTo>
                <a:lnTo>
                  <a:pt x="268" y="416"/>
                </a:lnTo>
                <a:lnTo>
                  <a:pt x="252" y="416"/>
                </a:lnTo>
                <a:lnTo>
                  <a:pt x="248" y="416"/>
                </a:lnTo>
                <a:lnTo>
                  <a:pt x="244" y="414"/>
                </a:lnTo>
                <a:lnTo>
                  <a:pt x="242" y="410"/>
                </a:lnTo>
                <a:lnTo>
                  <a:pt x="242" y="406"/>
                </a:lnTo>
                <a:lnTo>
                  <a:pt x="242" y="320"/>
                </a:lnTo>
                <a:lnTo>
                  <a:pt x="242" y="316"/>
                </a:lnTo>
                <a:lnTo>
                  <a:pt x="244" y="312"/>
                </a:lnTo>
                <a:lnTo>
                  <a:pt x="248" y="310"/>
                </a:lnTo>
                <a:lnTo>
                  <a:pt x="252" y="308"/>
                </a:lnTo>
                <a:lnTo>
                  <a:pt x="338" y="308"/>
                </a:lnTo>
                <a:lnTo>
                  <a:pt x="342" y="310"/>
                </a:lnTo>
                <a:lnTo>
                  <a:pt x="346" y="312"/>
                </a:lnTo>
                <a:lnTo>
                  <a:pt x="348" y="316"/>
                </a:lnTo>
                <a:lnTo>
                  <a:pt x="350" y="320"/>
                </a:lnTo>
                <a:lnTo>
                  <a:pt x="350" y="406"/>
                </a:lnTo>
                <a:close/>
                <a:moveTo>
                  <a:pt x="568" y="294"/>
                </a:moveTo>
                <a:lnTo>
                  <a:pt x="568" y="294"/>
                </a:lnTo>
                <a:lnTo>
                  <a:pt x="574" y="294"/>
                </a:lnTo>
                <a:lnTo>
                  <a:pt x="580" y="296"/>
                </a:lnTo>
                <a:lnTo>
                  <a:pt x="590" y="304"/>
                </a:lnTo>
                <a:lnTo>
                  <a:pt x="596" y="312"/>
                </a:lnTo>
                <a:lnTo>
                  <a:pt x="598" y="318"/>
                </a:lnTo>
                <a:lnTo>
                  <a:pt x="598" y="324"/>
                </a:lnTo>
                <a:lnTo>
                  <a:pt x="598" y="332"/>
                </a:lnTo>
                <a:lnTo>
                  <a:pt x="596" y="336"/>
                </a:lnTo>
                <a:lnTo>
                  <a:pt x="590" y="346"/>
                </a:lnTo>
                <a:lnTo>
                  <a:pt x="580" y="354"/>
                </a:lnTo>
                <a:lnTo>
                  <a:pt x="574" y="354"/>
                </a:lnTo>
                <a:lnTo>
                  <a:pt x="568" y="356"/>
                </a:lnTo>
                <a:lnTo>
                  <a:pt x="562" y="354"/>
                </a:lnTo>
                <a:lnTo>
                  <a:pt x="556" y="354"/>
                </a:lnTo>
                <a:lnTo>
                  <a:pt x="546" y="346"/>
                </a:lnTo>
                <a:lnTo>
                  <a:pt x="540" y="336"/>
                </a:lnTo>
                <a:lnTo>
                  <a:pt x="538" y="332"/>
                </a:lnTo>
                <a:lnTo>
                  <a:pt x="538" y="324"/>
                </a:lnTo>
                <a:lnTo>
                  <a:pt x="538" y="318"/>
                </a:lnTo>
                <a:lnTo>
                  <a:pt x="540" y="312"/>
                </a:lnTo>
                <a:lnTo>
                  <a:pt x="546" y="304"/>
                </a:lnTo>
                <a:lnTo>
                  <a:pt x="556" y="296"/>
                </a:lnTo>
                <a:lnTo>
                  <a:pt x="562" y="294"/>
                </a:lnTo>
                <a:lnTo>
                  <a:pt x="568" y="294"/>
                </a:lnTo>
                <a:close/>
                <a:moveTo>
                  <a:pt x="440" y="208"/>
                </a:moveTo>
                <a:lnTo>
                  <a:pt x="440" y="208"/>
                </a:lnTo>
                <a:lnTo>
                  <a:pt x="448" y="208"/>
                </a:lnTo>
                <a:lnTo>
                  <a:pt x="456" y="212"/>
                </a:lnTo>
                <a:lnTo>
                  <a:pt x="464" y="216"/>
                </a:lnTo>
                <a:lnTo>
                  <a:pt x="470" y="220"/>
                </a:lnTo>
                <a:lnTo>
                  <a:pt x="476" y="226"/>
                </a:lnTo>
                <a:lnTo>
                  <a:pt x="480" y="234"/>
                </a:lnTo>
                <a:lnTo>
                  <a:pt x="482" y="242"/>
                </a:lnTo>
                <a:lnTo>
                  <a:pt x="482" y="250"/>
                </a:lnTo>
                <a:lnTo>
                  <a:pt x="482" y="260"/>
                </a:lnTo>
                <a:lnTo>
                  <a:pt x="480" y="268"/>
                </a:lnTo>
                <a:lnTo>
                  <a:pt x="476" y="274"/>
                </a:lnTo>
                <a:lnTo>
                  <a:pt x="470" y="282"/>
                </a:lnTo>
                <a:lnTo>
                  <a:pt x="464" y="286"/>
                </a:lnTo>
                <a:lnTo>
                  <a:pt x="456" y="290"/>
                </a:lnTo>
                <a:lnTo>
                  <a:pt x="448" y="292"/>
                </a:lnTo>
                <a:lnTo>
                  <a:pt x="440" y="294"/>
                </a:lnTo>
                <a:lnTo>
                  <a:pt x="432" y="292"/>
                </a:lnTo>
                <a:lnTo>
                  <a:pt x="424" y="290"/>
                </a:lnTo>
                <a:lnTo>
                  <a:pt x="416" y="286"/>
                </a:lnTo>
                <a:lnTo>
                  <a:pt x="410" y="282"/>
                </a:lnTo>
                <a:lnTo>
                  <a:pt x="404" y="274"/>
                </a:lnTo>
                <a:lnTo>
                  <a:pt x="400" y="268"/>
                </a:lnTo>
                <a:lnTo>
                  <a:pt x="398" y="260"/>
                </a:lnTo>
                <a:lnTo>
                  <a:pt x="398" y="250"/>
                </a:lnTo>
                <a:lnTo>
                  <a:pt x="398" y="242"/>
                </a:lnTo>
                <a:lnTo>
                  <a:pt x="400" y="234"/>
                </a:lnTo>
                <a:lnTo>
                  <a:pt x="404" y="226"/>
                </a:lnTo>
                <a:lnTo>
                  <a:pt x="410" y="220"/>
                </a:lnTo>
                <a:lnTo>
                  <a:pt x="416" y="216"/>
                </a:lnTo>
                <a:lnTo>
                  <a:pt x="424" y="212"/>
                </a:lnTo>
                <a:lnTo>
                  <a:pt x="432" y="208"/>
                </a:lnTo>
                <a:lnTo>
                  <a:pt x="440" y="208"/>
                </a:lnTo>
                <a:close/>
                <a:moveTo>
                  <a:pt x="504" y="432"/>
                </a:moveTo>
                <a:lnTo>
                  <a:pt x="504" y="432"/>
                </a:lnTo>
                <a:lnTo>
                  <a:pt x="500" y="436"/>
                </a:lnTo>
                <a:lnTo>
                  <a:pt x="494" y="438"/>
                </a:lnTo>
                <a:lnTo>
                  <a:pt x="470" y="438"/>
                </a:lnTo>
                <a:lnTo>
                  <a:pt x="470" y="506"/>
                </a:lnTo>
                <a:lnTo>
                  <a:pt x="468" y="512"/>
                </a:lnTo>
                <a:lnTo>
                  <a:pt x="466" y="514"/>
                </a:lnTo>
                <a:lnTo>
                  <a:pt x="464" y="516"/>
                </a:lnTo>
                <a:lnTo>
                  <a:pt x="458" y="518"/>
                </a:lnTo>
                <a:lnTo>
                  <a:pt x="454" y="516"/>
                </a:lnTo>
                <a:lnTo>
                  <a:pt x="452" y="514"/>
                </a:lnTo>
                <a:lnTo>
                  <a:pt x="448" y="512"/>
                </a:lnTo>
                <a:lnTo>
                  <a:pt x="448" y="506"/>
                </a:lnTo>
                <a:lnTo>
                  <a:pt x="448" y="438"/>
                </a:lnTo>
                <a:lnTo>
                  <a:pt x="434" y="438"/>
                </a:lnTo>
                <a:lnTo>
                  <a:pt x="434" y="506"/>
                </a:lnTo>
                <a:lnTo>
                  <a:pt x="434" y="512"/>
                </a:lnTo>
                <a:lnTo>
                  <a:pt x="430" y="514"/>
                </a:lnTo>
                <a:lnTo>
                  <a:pt x="428" y="516"/>
                </a:lnTo>
                <a:lnTo>
                  <a:pt x="422" y="518"/>
                </a:lnTo>
                <a:lnTo>
                  <a:pt x="418" y="516"/>
                </a:lnTo>
                <a:lnTo>
                  <a:pt x="416" y="514"/>
                </a:lnTo>
                <a:lnTo>
                  <a:pt x="412" y="512"/>
                </a:lnTo>
                <a:lnTo>
                  <a:pt x="412" y="506"/>
                </a:lnTo>
                <a:lnTo>
                  <a:pt x="412" y="438"/>
                </a:lnTo>
                <a:lnTo>
                  <a:pt x="386" y="438"/>
                </a:lnTo>
                <a:lnTo>
                  <a:pt x="380" y="436"/>
                </a:lnTo>
                <a:lnTo>
                  <a:pt x="376" y="432"/>
                </a:lnTo>
                <a:lnTo>
                  <a:pt x="374" y="428"/>
                </a:lnTo>
                <a:lnTo>
                  <a:pt x="376" y="422"/>
                </a:lnTo>
                <a:lnTo>
                  <a:pt x="430" y="312"/>
                </a:lnTo>
                <a:lnTo>
                  <a:pt x="434" y="308"/>
                </a:lnTo>
                <a:lnTo>
                  <a:pt x="440" y="306"/>
                </a:lnTo>
                <a:lnTo>
                  <a:pt x="446" y="308"/>
                </a:lnTo>
                <a:lnTo>
                  <a:pt x="450" y="312"/>
                </a:lnTo>
                <a:lnTo>
                  <a:pt x="504" y="422"/>
                </a:lnTo>
                <a:lnTo>
                  <a:pt x="506" y="428"/>
                </a:lnTo>
                <a:lnTo>
                  <a:pt x="504" y="432"/>
                </a:lnTo>
                <a:close/>
                <a:moveTo>
                  <a:pt x="610" y="436"/>
                </a:moveTo>
                <a:lnTo>
                  <a:pt x="610" y="436"/>
                </a:lnTo>
                <a:lnTo>
                  <a:pt x="608" y="440"/>
                </a:lnTo>
                <a:lnTo>
                  <a:pt x="606" y="442"/>
                </a:lnTo>
                <a:lnTo>
                  <a:pt x="602" y="444"/>
                </a:lnTo>
                <a:lnTo>
                  <a:pt x="598" y="446"/>
                </a:lnTo>
                <a:lnTo>
                  <a:pt x="594" y="446"/>
                </a:lnTo>
                <a:lnTo>
                  <a:pt x="594" y="508"/>
                </a:lnTo>
                <a:lnTo>
                  <a:pt x="592" y="512"/>
                </a:lnTo>
                <a:lnTo>
                  <a:pt x="590" y="514"/>
                </a:lnTo>
                <a:lnTo>
                  <a:pt x="588" y="516"/>
                </a:lnTo>
                <a:lnTo>
                  <a:pt x="584" y="518"/>
                </a:lnTo>
                <a:lnTo>
                  <a:pt x="580" y="516"/>
                </a:lnTo>
                <a:lnTo>
                  <a:pt x="576" y="514"/>
                </a:lnTo>
                <a:lnTo>
                  <a:pt x="574" y="512"/>
                </a:lnTo>
                <a:lnTo>
                  <a:pt x="574" y="508"/>
                </a:lnTo>
                <a:lnTo>
                  <a:pt x="574" y="446"/>
                </a:lnTo>
                <a:lnTo>
                  <a:pt x="564" y="446"/>
                </a:lnTo>
                <a:lnTo>
                  <a:pt x="564" y="508"/>
                </a:lnTo>
                <a:lnTo>
                  <a:pt x="562" y="512"/>
                </a:lnTo>
                <a:lnTo>
                  <a:pt x="560" y="514"/>
                </a:lnTo>
                <a:lnTo>
                  <a:pt x="558" y="516"/>
                </a:lnTo>
                <a:lnTo>
                  <a:pt x="554" y="518"/>
                </a:lnTo>
                <a:lnTo>
                  <a:pt x="550" y="516"/>
                </a:lnTo>
                <a:lnTo>
                  <a:pt x="546" y="514"/>
                </a:lnTo>
                <a:lnTo>
                  <a:pt x="544" y="512"/>
                </a:lnTo>
                <a:lnTo>
                  <a:pt x="544" y="508"/>
                </a:lnTo>
                <a:lnTo>
                  <a:pt x="544" y="446"/>
                </a:lnTo>
                <a:lnTo>
                  <a:pt x="538" y="446"/>
                </a:lnTo>
                <a:lnTo>
                  <a:pt x="534" y="444"/>
                </a:lnTo>
                <a:lnTo>
                  <a:pt x="530" y="442"/>
                </a:lnTo>
                <a:lnTo>
                  <a:pt x="528" y="440"/>
                </a:lnTo>
                <a:lnTo>
                  <a:pt x="528" y="436"/>
                </a:lnTo>
                <a:lnTo>
                  <a:pt x="528" y="374"/>
                </a:lnTo>
                <a:lnTo>
                  <a:pt x="528" y="370"/>
                </a:lnTo>
                <a:lnTo>
                  <a:pt x="530" y="366"/>
                </a:lnTo>
                <a:lnTo>
                  <a:pt x="534" y="364"/>
                </a:lnTo>
                <a:lnTo>
                  <a:pt x="538" y="364"/>
                </a:lnTo>
                <a:lnTo>
                  <a:pt x="598" y="364"/>
                </a:lnTo>
                <a:lnTo>
                  <a:pt x="602" y="364"/>
                </a:lnTo>
                <a:lnTo>
                  <a:pt x="606" y="366"/>
                </a:lnTo>
                <a:lnTo>
                  <a:pt x="608" y="370"/>
                </a:lnTo>
                <a:lnTo>
                  <a:pt x="610" y="374"/>
                </a:lnTo>
                <a:lnTo>
                  <a:pt x="610" y="4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7" name="TextBox 31"/>
          <p:cNvSpPr txBox="1">
            <a:spLocks noChangeArrowheads="1"/>
          </p:cNvSpPr>
          <p:nvPr userDrawn="1"/>
        </p:nvSpPr>
        <p:spPr bwMode="auto">
          <a:xfrm>
            <a:off x="9063143" y="2537909"/>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a:t>
            </a:r>
          </a:p>
        </p:txBody>
      </p:sp>
      <p:sp>
        <p:nvSpPr>
          <p:cNvPr id="28" name="Freeform 328"/>
          <p:cNvSpPr>
            <a:spLocks noEditPoints="1"/>
          </p:cNvSpPr>
          <p:nvPr userDrawn="1"/>
        </p:nvSpPr>
        <p:spPr bwMode="auto">
          <a:xfrm>
            <a:off x="9001648"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444 w 726"/>
              <a:gd name="T35" fmla="*/ 190 h 726"/>
              <a:gd name="T36" fmla="*/ 474 w 726"/>
              <a:gd name="T37" fmla="*/ 210 h 726"/>
              <a:gd name="T38" fmla="*/ 482 w 726"/>
              <a:gd name="T39" fmla="*/ 238 h 726"/>
              <a:gd name="T40" fmla="*/ 468 w 726"/>
              <a:gd name="T41" fmla="*/ 272 h 726"/>
              <a:gd name="T42" fmla="*/ 434 w 726"/>
              <a:gd name="T43" fmla="*/ 286 h 726"/>
              <a:gd name="T44" fmla="*/ 408 w 726"/>
              <a:gd name="T45" fmla="*/ 278 h 726"/>
              <a:gd name="T46" fmla="*/ 386 w 726"/>
              <a:gd name="T47" fmla="*/ 246 h 726"/>
              <a:gd name="T48" fmla="*/ 390 w 726"/>
              <a:gd name="T49" fmla="*/ 218 h 726"/>
              <a:gd name="T50" fmla="*/ 416 w 726"/>
              <a:gd name="T51" fmla="*/ 192 h 726"/>
              <a:gd name="T52" fmla="*/ 272 w 726"/>
              <a:gd name="T53" fmla="*/ 190 h 726"/>
              <a:gd name="T54" fmla="*/ 306 w 726"/>
              <a:gd name="T55" fmla="*/ 204 h 726"/>
              <a:gd name="T56" fmla="*/ 320 w 726"/>
              <a:gd name="T57" fmla="*/ 238 h 726"/>
              <a:gd name="T58" fmla="*/ 312 w 726"/>
              <a:gd name="T59" fmla="*/ 264 h 726"/>
              <a:gd name="T60" fmla="*/ 282 w 726"/>
              <a:gd name="T61" fmla="*/ 284 h 726"/>
              <a:gd name="T62" fmla="*/ 252 w 726"/>
              <a:gd name="T63" fmla="*/ 282 h 726"/>
              <a:gd name="T64" fmla="*/ 228 w 726"/>
              <a:gd name="T65" fmla="*/ 256 h 726"/>
              <a:gd name="T66" fmla="*/ 224 w 726"/>
              <a:gd name="T67" fmla="*/ 228 h 726"/>
              <a:gd name="T68" fmla="*/ 244 w 726"/>
              <a:gd name="T69" fmla="*/ 198 h 726"/>
              <a:gd name="T70" fmla="*/ 332 w 726"/>
              <a:gd name="T71" fmla="*/ 410 h 726"/>
              <a:gd name="T72" fmla="*/ 328 w 726"/>
              <a:gd name="T73" fmla="*/ 420 h 726"/>
              <a:gd name="T74" fmla="*/ 306 w 726"/>
              <a:gd name="T75" fmla="*/ 524 h 726"/>
              <a:gd name="T76" fmla="*/ 298 w 726"/>
              <a:gd name="T77" fmla="*/ 536 h 726"/>
              <a:gd name="T78" fmla="*/ 284 w 726"/>
              <a:gd name="T79" fmla="*/ 534 h 726"/>
              <a:gd name="T80" fmla="*/ 264 w 726"/>
              <a:gd name="T81" fmla="*/ 424 h 726"/>
              <a:gd name="T82" fmla="*/ 262 w 726"/>
              <a:gd name="T83" fmla="*/ 534 h 726"/>
              <a:gd name="T84" fmla="*/ 248 w 726"/>
              <a:gd name="T85" fmla="*/ 536 h 726"/>
              <a:gd name="T86" fmla="*/ 240 w 726"/>
              <a:gd name="T87" fmla="*/ 424 h 726"/>
              <a:gd name="T88" fmla="*/ 214 w 726"/>
              <a:gd name="T89" fmla="*/ 420 h 726"/>
              <a:gd name="T90" fmla="*/ 212 w 726"/>
              <a:gd name="T91" fmla="*/ 314 h 726"/>
              <a:gd name="T92" fmla="*/ 214 w 726"/>
              <a:gd name="T93" fmla="*/ 306 h 726"/>
              <a:gd name="T94" fmla="*/ 320 w 726"/>
              <a:gd name="T95" fmla="*/ 302 h 726"/>
              <a:gd name="T96" fmla="*/ 332 w 726"/>
              <a:gd name="T97" fmla="*/ 310 h 726"/>
              <a:gd name="T98" fmla="*/ 506 w 726"/>
              <a:gd name="T99" fmla="*/ 442 h 726"/>
              <a:gd name="T100" fmla="*/ 468 w 726"/>
              <a:gd name="T101" fmla="*/ 524 h 726"/>
              <a:gd name="T102" fmla="*/ 460 w 726"/>
              <a:gd name="T103" fmla="*/ 536 h 726"/>
              <a:gd name="T104" fmla="*/ 446 w 726"/>
              <a:gd name="T105" fmla="*/ 534 h 726"/>
              <a:gd name="T106" fmla="*/ 428 w 726"/>
              <a:gd name="T107" fmla="*/ 448 h 726"/>
              <a:gd name="T108" fmla="*/ 424 w 726"/>
              <a:gd name="T109" fmla="*/ 534 h 726"/>
              <a:gd name="T110" fmla="*/ 410 w 726"/>
              <a:gd name="T111" fmla="*/ 536 h 726"/>
              <a:gd name="T112" fmla="*/ 402 w 726"/>
              <a:gd name="T113" fmla="*/ 448 h 726"/>
              <a:gd name="T114" fmla="*/ 362 w 726"/>
              <a:gd name="T115" fmla="*/ 442 h 726"/>
              <a:gd name="T116" fmla="*/ 424 w 726"/>
              <a:gd name="T117" fmla="*/ 306 h 726"/>
              <a:gd name="T118" fmla="*/ 434 w 726"/>
              <a:gd name="T119" fmla="*/ 298 h 726"/>
              <a:gd name="T120" fmla="*/ 506 w 726"/>
              <a:gd name="T121" fmla="*/ 43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34" y="190"/>
                </a:moveTo>
                <a:lnTo>
                  <a:pt x="434" y="190"/>
                </a:lnTo>
                <a:lnTo>
                  <a:pt x="444" y="190"/>
                </a:lnTo>
                <a:lnTo>
                  <a:pt x="452" y="192"/>
                </a:lnTo>
                <a:lnTo>
                  <a:pt x="460" y="198"/>
                </a:lnTo>
                <a:lnTo>
                  <a:pt x="468" y="204"/>
                </a:lnTo>
                <a:lnTo>
                  <a:pt x="474" y="210"/>
                </a:lnTo>
                <a:lnTo>
                  <a:pt x="478" y="218"/>
                </a:lnTo>
                <a:lnTo>
                  <a:pt x="482" y="228"/>
                </a:lnTo>
                <a:lnTo>
                  <a:pt x="482" y="238"/>
                </a:lnTo>
                <a:lnTo>
                  <a:pt x="482" y="246"/>
                </a:lnTo>
                <a:lnTo>
                  <a:pt x="478" y="256"/>
                </a:lnTo>
                <a:lnTo>
                  <a:pt x="474" y="264"/>
                </a:lnTo>
                <a:lnTo>
                  <a:pt x="468" y="272"/>
                </a:lnTo>
                <a:lnTo>
                  <a:pt x="460" y="278"/>
                </a:lnTo>
                <a:lnTo>
                  <a:pt x="452" y="282"/>
                </a:lnTo>
                <a:lnTo>
                  <a:pt x="444" y="284"/>
                </a:lnTo>
                <a:lnTo>
                  <a:pt x="434" y="286"/>
                </a:lnTo>
                <a:lnTo>
                  <a:pt x="424" y="284"/>
                </a:lnTo>
                <a:lnTo>
                  <a:pt x="416" y="282"/>
                </a:lnTo>
                <a:lnTo>
                  <a:pt x="408" y="278"/>
                </a:lnTo>
                <a:lnTo>
                  <a:pt x="400" y="272"/>
                </a:lnTo>
                <a:lnTo>
                  <a:pt x="394" y="264"/>
                </a:lnTo>
                <a:lnTo>
                  <a:pt x="390" y="256"/>
                </a:lnTo>
                <a:lnTo>
                  <a:pt x="386" y="246"/>
                </a:lnTo>
                <a:lnTo>
                  <a:pt x="386" y="238"/>
                </a:lnTo>
                <a:lnTo>
                  <a:pt x="386" y="228"/>
                </a:lnTo>
                <a:lnTo>
                  <a:pt x="390" y="218"/>
                </a:lnTo>
                <a:lnTo>
                  <a:pt x="394" y="210"/>
                </a:lnTo>
                <a:lnTo>
                  <a:pt x="400" y="204"/>
                </a:lnTo>
                <a:lnTo>
                  <a:pt x="408" y="198"/>
                </a:lnTo>
                <a:lnTo>
                  <a:pt x="416" y="192"/>
                </a:lnTo>
                <a:lnTo>
                  <a:pt x="424" y="190"/>
                </a:lnTo>
                <a:lnTo>
                  <a:pt x="434" y="190"/>
                </a:lnTo>
                <a:close/>
                <a:moveTo>
                  <a:pt x="272" y="190"/>
                </a:moveTo>
                <a:lnTo>
                  <a:pt x="272" y="190"/>
                </a:lnTo>
                <a:lnTo>
                  <a:pt x="282" y="190"/>
                </a:lnTo>
                <a:lnTo>
                  <a:pt x="290" y="192"/>
                </a:lnTo>
                <a:lnTo>
                  <a:pt x="298" y="198"/>
                </a:lnTo>
                <a:lnTo>
                  <a:pt x="306" y="204"/>
                </a:lnTo>
                <a:lnTo>
                  <a:pt x="312" y="210"/>
                </a:lnTo>
                <a:lnTo>
                  <a:pt x="316" y="218"/>
                </a:lnTo>
                <a:lnTo>
                  <a:pt x="318" y="228"/>
                </a:lnTo>
                <a:lnTo>
                  <a:pt x="320" y="238"/>
                </a:lnTo>
                <a:lnTo>
                  <a:pt x="318" y="246"/>
                </a:lnTo>
                <a:lnTo>
                  <a:pt x="316" y="256"/>
                </a:lnTo>
                <a:lnTo>
                  <a:pt x="312" y="264"/>
                </a:lnTo>
                <a:lnTo>
                  <a:pt x="306" y="272"/>
                </a:lnTo>
                <a:lnTo>
                  <a:pt x="298" y="278"/>
                </a:lnTo>
                <a:lnTo>
                  <a:pt x="290" y="282"/>
                </a:lnTo>
                <a:lnTo>
                  <a:pt x="282" y="284"/>
                </a:lnTo>
                <a:lnTo>
                  <a:pt x="272" y="286"/>
                </a:lnTo>
                <a:lnTo>
                  <a:pt x="262" y="284"/>
                </a:lnTo>
                <a:lnTo>
                  <a:pt x="252" y="282"/>
                </a:lnTo>
                <a:lnTo>
                  <a:pt x="244" y="278"/>
                </a:lnTo>
                <a:lnTo>
                  <a:pt x="238" y="272"/>
                </a:lnTo>
                <a:lnTo>
                  <a:pt x="232" y="264"/>
                </a:lnTo>
                <a:lnTo>
                  <a:pt x="228" y="256"/>
                </a:lnTo>
                <a:lnTo>
                  <a:pt x="224" y="246"/>
                </a:lnTo>
                <a:lnTo>
                  <a:pt x="224" y="238"/>
                </a:lnTo>
                <a:lnTo>
                  <a:pt x="224" y="228"/>
                </a:lnTo>
                <a:lnTo>
                  <a:pt x="228" y="218"/>
                </a:lnTo>
                <a:lnTo>
                  <a:pt x="232" y="210"/>
                </a:lnTo>
                <a:lnTo>
                  <a:pt x="238" y="204"/>
                </a:lnTo>
                <a:lnTo>
                  <a:pt x="244" y="198"/>
                </a:lnTo>
                <a:lnTo>
                  <a:pt x="252" y="192"/>
                </a:lnTo>
                <a:lnTo>
                  <a:pt x="262" y="190"/>
                </a:lnTo>
                <a:lnTo>
                  <a:pt x="272" y="190"/>
                </a:lnTo>
                <a:close/>
                <a:moveTo>
                  <a:pt x="332" y="410"/>
                </a:moveTo>
                <a:lnTo>
                  <a:pt x="332" y="410"/>
                </a:lnTo>
                <a:lnTo>
                  <a:pt x="332" y="416"/>
                </a:lnTo>
                <a:lnTo>
                  <a:pt x="328" y="420"/>
                </a:lnTo>
                <a:lnTo>
                  <a:pt x="324" y="422"/>
                </a:lnTo>
                <a:lnTo>
                  <a:pt x="320" y="424"/>
                </a:lnTo>
                <a:lnTo>
                  <a:pt x="306" y="424"/>
                </a:lnTo>
                <a:lnTo>
                  <a:pt x="306" y="524"/>
                </a:lnTo>
                <a:lnTo>
                  <a:pt x="304" y="530"/>
                </a:lnTo>
                <a:lnTo>
                  <a:pt x="302" y="534"/>
                </a:lnTo>
                <a:lnTo>
                  <a:pt x="298" y="536"/>
                </a:lnTo>
                <a:lnTo>
                  <a:pt x="292" y="536"/>
                </a:lnTo>
                <a:lnTo>
                  <a:pt x="288" y="536"/>
                </a:lnTo>
                <a:lnTo>
                  <a:pt x="284" y="534"/>
                </a:lnTo>
                <a:lnTo>
                  <a:pt x="282" y="530"/>
                </a:lnTo>
                <a:lnTo>
                  <a:pt x="280" y="524"/>
                </a:lnTo>
                <a:lnTo>
                  <a:pt x="280" y="424"/>
                </a:lnTo>
                <a:lnTo>
                  <a:pt x="264" y="424"/>
                </a:lnTo>
                <a:lnTo>
                  <a:pt x="264" y="524"/>
                </a:lnTo>
                <a:lnTo>
                  <a:pt x="264" y="530"/>
                </a:lnTo>
                <a:lnTo>
                  <a:pt x="262" y="534"/>
                </a:lnTo>
                <a:lnTo>
                  <a:pt x="258" y="536"/>
                </a:lnTo>
                <a:lnTo>
                  <a:pt x="252" y="536"/>
                </a:lnTo>
                <a:lnTo>
                  <a:pt x="248" y="536"/>
                </a:lnTo>
                <a:lnTo>
                  <a:pt x="244" y="534"/>
                </a:lnTo>
                <a:lnTo>
                  <a:pt x="242" y="530"/>
                </a:lnTo>
                <a:lnTo>
                  <a:pt x="240" y="524"/>
                </a:lnTo>
                <a:lnTo>
                  <a:pt x="240" y="424"/>
                </a:lnTo>
                <a:lnTo>
                  <a:pt x="224" y="424"/>
                </a:lnTo>
                <a:lnTo>
                  <a:pt x="218" y="422"/>
                </a:lnTo>
                <a:lnTo>
                  <a:pt x="214" y="420"/>
                </a:lnTo>
                <a:lnTo>
                  <a:pt x="212" y="416"/>
                </a:lnTo>
                <a:lnTo>
                  <a:pt x="212" y="410"/>
                </a:lnTo>
                <a:lnTo>
                  <a:pt x="212" y="314"/>
                </a:lnTo>
                <a:lnTo>
                  <a:pt x="212" y="310"/>
                </a:lnTo>
                <a:lnTo>
                  <a:pt x="214" y="306"/>
                </a:lnTo>
                <a:lnTo>
                  <a:pt x="218" y="304"/>
                </a:lnTo>
                <a:lnTo>
                  <a:pt x="224" y="302"/>
                </a:lnTo>
                <a:lnTo>
                  <a:pt x="320" y="302"/>
                </a:lnTo>
                <a:lnTo>
                  <a:pt x="324" y="304"/>
                </a:lnTo>
                <a:lnTo>
                  <a:pt x="328" y="306"/>
                </a:lnTo>
                <a:lnTo>
                  <a:pt x="332" y="310"/>
                </a:lnTo>
                <a:lnTo>
                  <a:pt x="332" y="314"/>
                </a:lnTo>
                <a:lnTo>
                  <a:pt x="332" y="410"/>
                </a:lnTo>
                <a:close/>
                <a:moveTo>
                  <a:pt x="506" y="442"/>
                </a:moveTo>
                <a:lnTo>
                  <a:pt x="506" y="442"/>
                </a:lnTo>
                <a:lnTo>
                  <a:pt x="502" y="446"/>
                </a:lnTo>
                <a:lnTo>
                  <a:pt x="496" y="448"/>
                </a:lnTo>
                <a:lnTo>
                  <a:pt x="468" y="448"/>
                </a:lnTo>
                <a:lnTo>
                  <a:pt x="468" y="524"/>
                </a:lnTo>
                <a:lnTo>
                  <a:pt x="466" y="530"/>
                </a:lnTo>
                <a:lnTo>
                  <a:pt x="464" y="534"/>
                </a:lnTo>
                <a:lnTo>
                  <a:pt x="460" y="536"/>
                </a:lnTo>
                <a:lnTo>
                  <a:pt x="456" y="536"/>
                </a:lnTo>
                <a:lnTo>
                  <a:pt x="450" y="536"/>
                </a:lnTo>
                <a:lnTo>
                  <a:pt x="446" y="534"/>
                </a:lnTo>
                <a:lnTo>
                  <a:pt x="444" y="530"/>
                </a:lnTo>
                <a:lnTo>
                  <a:pt x="442" y="524"/>
                </a:lnTo>
                <a:lnTo>
                  <a:pt x="442" y="448"/>
                </a:lnTo>
                <a:lnTo>
                  <a:pt x="428" y="448"/>
                </a:lnTo>
                <a:lnTo>
                  <a:pt x="428" y="524"/>
                </a:lnTo>
                <a:lnTo>
                  <a:pt x="426" y="530"/>
                </a:lnTo>
                <a:lnTo>
                  <a:pt x="424" y="534"/>
                </a:lnTo>
                <a:lnTo>
                  <a:pt x="420" y="536"/>
                </a:lnTo>
                <a:lnTo>
                  <a:pt x="414" y="536"/>
                </a:lnTo>
                <a:lnTo>
                  <a:pt x="410" y="536"/>
                </a:lnTo>
                <a:lnTo>
                  <a:pt x="406" y="534"/>
                </a:lnTo>
                <a:lnTo>
                  <a:pt x="404" y="530"/>
                </a:lnTo>
                <a:lnTo>
                  <a:pt x="402" y="524"/>
                </a:lnTo>
                <a:lnTo>
                  <a:pt x="402" y="448"/>
                </a:lnTo>
                <a:lnTo>
                  <a:pt x="372" y="448"/>
                </a:lnTo>
                <a:lnTo>
                  <a:pt x="366" y="446"/>
                </a:lnTo>
                <a:lnTo>
                  <a:pt x="362" y="442"/>
                </a:lnTo>
                <a:lnTo>
                  <a:pt x="360" y="436"/>
                </a:lnTo>
                <a:lnTo>
                  <a:pt x="362" y="430"/>
                </a:lnTo>
                <a:lnTo>
                  <a:pt x="424" y="306"/>
                </a:lnTo>
                <a:lnTo>
                  <a:pt x="428" y="300"/>
                </a:lnTo>
                <a:lnTo>
                  <a:pt x="434" y="298"/>
                </a:lnTo>
                <a:lnTo>
                  <a:pt x="440" y="300"/>
                </a:lnTo>
                <a:lnTo>
                  <a:pt x="446" y="306"/>
                </a:lnTo>
                <a:lnTo>
                  <a:pt x="506" y="430"/>
                </a:lnTo>
                <a:lnTo>
                  <a:pt x="508" y="436"/>
                </a:lnTo>
                <a:lnTo>
                  <a:pt x="506" y="44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TextBox 27"/>
          <p:cNvSpPr txBox="1">
            <a:spLocks noChangeArrowheads="1"/>
          </p:cNvSpPr>
          <p:nvPr userDrawn="1"/>
        </p:nvSpPr>
        <p:spPr bwMode="auto">
          <a:xfrm>
            <a:off x="327501" y="2536711"/>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Female</a:t>
            </a:r>
          </a:p>
        </p:txBody>
      </p:sp>
      <p:sp>
        <p:nvSpPr>
          <p:cNvPr id="30" name="Freeform 299"/>
          <p:cNvSpPr>
            <a:spLocks noEditPoints="1"/>
          </p:cNvSpPr>
          <p:nvPr userDrawn="1"/>
        </p:nvSpPr>
        <p:spPr bwMode="auto">
          <a:xfrm>
            <a:off x="267742"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TextBox 30"/>
          <p:cNvSpPr txBox="1">
            <a:spLocks noChangeArrowheads="1"/>
          </p:cNvSpPr>
          <p:nvPr userDrawn="1"/>
        </p:nvSpPr>
        <p:spPr bwMode="auto">
          <a:xfrm>
            <a:off x="1780237" y="2537824"/>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le</a:t>
            </a:r>
          </a:p>
        </p:txBody>
      </p:sp>
      <p:sp>
        <p:nvSpPr>
          <p:cNvPr id="32" name="Freeform 295"/>
          <p:cNvSpPr>
            <a:spLocks noEditPoints="1"/>
          </p:cNvSpPr>
          <p:nvPr userDrawn="1"/>
        </p:nvSpPr>
        <p:spPr bwMode="auto">
          <a:xfrm>
            <a:off x="1723393"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TextBox 32"/>
          <p:cNvSpPr txBox="1">
            <a:spLocks noChangeArrowheads="1"/>
          </p:cNvSpPr>
          <p:nvPr userDrawn="1"/>
        </p:nvSpPr>
        <p:spPr bwMode="auto">
          <a:xfrm>
            <a:off x="7610870" y="2536710"/>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arents</a:t>
            </a:r>
          </a:p>
        </p:txBody>
      </p:sp>
      <p:sp>
        <p:nvSpPr>
          <p:cNvPr id="34" name="Freeform 303"/>
          <p:cNvSpPr>
            <a:spLocks noEditPoints="1"/>
          </p:cNvSpPr>
          <p:nvPr userDrawn="1"/>
        </p:nvSpPr>
        <p:spPr bwMode="auto">
          <a:xfrm>
            <a:off x="7545997"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4 w 726"/>
              <a:gd name="T13" fmla="*/ 642 h 726"/>
              <a:gd name="T14" fmla="*/ 256 w 726"/>
              <a:gd name="T15" fmla="*/ 710 h 726"/>
              <a:gd name="T16" fmla="*/ 364 w 726"/>
              <a:gd name="T17" fmla="*/ 726 h 726"/>
              <a:gd name="T18" fmla="*/ 506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272 w 726"/>
              <a:gd name="T35" fmla="*/ 162 h 726"/>
              <a:gd name="T36" fmla="*/ 308 w 726"/>
              <a:gd name="T37" fmla="*/ 184 h 726"/>
              <a:gd name="T38" fmla="*/ 318 w 726"/>
              <a:gd name="T39" fmla="*/ 216 h 726"/>
              <a:gd name="T40" fmla="*/ 300 w 726"/>
              <a:gd name="T41" fmla="*/ 256 h 726"/>
              <a:gd name="T42" fmla="*/ 262 w 726"/>
              <a:gd name="T43" fmla="*/ 272 h 726"/>
              <a:gd name="T44" fmla="*/ 230 w 726"/>
              <a:gd name="T45" fmla="*/ 262 h 726"/>
              <a:gd name="T46" fmla="*/ 206 w 726"/>
              <a:gd name="T47" fmla="*/ 228 h 726"/>
              <a:gd name="T48" fmla="*/ 210 w 726"/>
              <a:gd name="T49" fmla="*/ 194 h 726"/>
              <a:gd name="T50" fmla="*/ 240 w 726"/>
              <a:gd name="T51" fmla="*/ 164 h 726"/>
              <a:gd name="T52" fmla="*/ 332 w 726"/>
              <a:gd name="T53" fmla="*/ 418 h 726"/>
              <a:gd name="T54" fmla="*/ 322 w 726"/>
              <a:gd name="T55" fmla="*/ 432 h 726"/>
              <a:gd name="T56" fmla="*/ 300 w 726"/>
              <a:gd name="T57" fmla="*/ 552 h 726"/>
              <a:gd name="T58" fmla="*/ 286 w 726"/>
              <a:gd name="T59" fmla="*/ 566 h 726"/>
              <a:gd name="T60" fmla="*/ 272 w 726"/>
              <a:gd name="T61" fmla="*/ 556 h 726"/>
              <a:gd name="T62" fmla="*/ 254 w 726"/>
              <a:gd name="T63" fmla="*/ 552 h 726"/>
              <a:gd name="T64" fmla="*/ 244 w 726"/>
              <a:gd name="T65" fmla="*/ 564 h 726"/>
              <a:gd name="T66" fmla="*/ 228 w 726"/>
              <a:gd name="T67" fmla="*/ 562 h 726"/>
              <a:gd name="T68" fmla="*/ 206 w 726"/>
              <a:gd name="T69" fmla="*/ 432 h 726"/>
              <a:gd name="T70" fmla="*/ 196 w 726"/>
              <a:gd name="T71" fmla="*/ 428 h 726"/>
              <a:gd name="T72" fmla="*/ 192 w 726"/>
              <a:gd name="T73" fmla="*/ 306 h 726"/>
              <a:gd name="T74" fmla="*/ 200 w 726"/>
              <a:gd name="T75" fmla="*/ 294 h 726"/>
              <a:gd name="T76" fmla="*/ 322 w 726"/>
              <a:gd name="T77" fmla="*/ 294 h 726"/>
              <a:gd name="T78" fmla="*/ 332 w 726"/>
              <a:gd name="T79" fmla="*/ 306 h 726"/>
              <a:gd name="T80" fmla="*/ 462 w 726"/>
              <a:gd name="T81" fmla="*/ 162 h 726"/>
              <a:gd name="T82" fmla="*/ 496 w 726"/>
              <a:gd name="T83" fmla="*/ 184 h 726"/>
              <a:gd name="T84" fmla="*/ 506 w 726"/>
              <a:gd name="T85" fmla="*/ 216 h 726"/>
              <a:gd name="T86" fmla="*/ 490 w 726"/>
              <a:gd name="T87" fmla="*/ 256 h 726"/>
              <a:gd name="T88" fmla="*/ 450 w 726"/>
              <a:gd name="T89" fmla="*/ 272 h 726"/>
              <a:gd name="T90" fmla="*/ 420 w 726"/>
              <a:gd name="T91" fmla="*/ 262 h 726"/>
              <a:gd name="T92" fmla="*/ 396 w 726"/>
              <a:gd name="T93" fmla="*/ 228 h 726"/>
              <a:gd name="T94" fmla="*/ 398 w 726"/>
              <a:gd name="T95" fmla="*/ 194 h 726"/>
              <a:gd name="T96" fmla="*/ 428 w 726"/>
              <a:gd name="T97" fmla="*/ 164 h 726"/>
              <a:gd name="T98" fmla="*/ 534 w 726"/>
              <a:gd name="T99" fmla="*/ 454 h 726"/>
              <a:gd name="T100" fmla="*/ 490 w 726"/>
              <a:gd name="T101" fmla="*/ 552 h 726"/>
              <a:gd name="T102" fmla="*/ 480 w 726"/>
              <a:gd name="T103" fmla="*/ 564 h 726"/>
              <a:gd name="T104" fmla="*/ 466 w 726"/>
              <a:gd name="T105" fmla="*/ 562 h 726"/>
              <a:gd name="T106" fmla="*/ 442 w 726"/>
              <a:gd name="T107" fmla="*/ 460 h 726"/>
              <a:gd name="T108" fmla="*/ 438 w 726"/>
              <a:gd name="T109" fmla="*/ 562 h 726"/>
              <a:gd name="T110" fmla="*/ 422 w 726"/>
              <a:gd name="T111" fmla="*/ 564 h 726"/>
              <a:gd name="T112" fmla="*/ 414 w 726"/>
              <a:gd name="T113" fmla="*/ 460 h 726"/>
              <a:gd name="T114" fmla="*/ 366 w 726"/>
              <a:gd name="T115" fmla="*/ 454 h 726"/>
              <a:gd name="T116" fmla="*/ 438 w 726"/>
              <a:gd name="T117" fmla="*/ 296 h 726"/>
              <a:gd name="T118" fmla="*/ 450 w 726"/>
              <a:gd name="T119" fmla="*/ 288 h 726"/>
              <a:gd name="T120" fmla="*/ 536 w 726"/>
              <a:gd name="T121" fmla="*/ 44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62" y="160"/>
                </a:moveTo>
                <a:lnTo>
                  <a:pt x="262" y="160"/>
                </a:lnTo>
                <a:lnTo>
                  <a:pt x="272" y="162"/>
                </a:lnTo>
                <a:lnTo>
                  <a:pt x="284" y="164"/>
                </a:lnTo>
                <a:lnTo>
                  <a:pt x="292" y="170"/>
                </a:lnTo>
                <a:lnTo>
                  <a:pt x="300" y="176"/>
                </a:lnTo>
                <a:lnTo>
                  <a:pt x="308" y="184"/>
                </a:lnTo>
                <a:lnTo>
                  <a:pt x="312" y="194"/>
                </a:lnTo>
                <a:lnTo>
                  <a:pt x="316" y="206"/>
                </a:lnTo>
                <a:lnTo>
                  <a:pt x="318" y="216"/>
                </a:lnTo>
                <a:lnTo>
                  <a:pt x="316" y="228"/>
                </a:lnTo>
                <a:lnTo>
                  <a:pt x="312" y="238"/>
                </a:lnTo>
                <a:lnTo>
                  <a:pt x="308" y="248"/>
                </a:lnTo>
                <a:lnTo>
                  <a:pt x="300" y="256"/>
                </a:lnTo>
                <a:lnTo>
                  <a:pt x="292" y="262"/>
                </a:lnTo>
                <a:lnTo>
                  <a:pt x="284" y="268"/>
                </a:lnTo>
                <a:lnTo>
                  <a:pt x="272" y="272"/>
                </a:lnTo>
                <a:lnTo>
                  <a:pt x="262" y="272"/>
                </a:lnTo>
                <a:lnTo>
                  <a:pt x="250" y="272"/>
                </a:lnTo>
                <a:lnTo>
                  <a:pt x="240" y="268"/>
                </a:lnTo>
                <a:lnTo>
                  <a:pt x="230" y="262"/>
                </a:lnTo>
                <a:lnTo>
                  <a:pt x="222" y="256"/>
                </a:lnTo>
                <a:lnTo>
                  <a:pt x="214" y="248"/>
                </a:lnTo>
                <a:lnTo>
                  <a:pt x="210" y="238"/>
                </a:lnTo>
                <a:lnTo>
                  <a:pt x="206" y="228"/>
                </a:lnTo>
                <a:lnTo>
                  <a:pt x="206" y="216"/>
                </a:lnTo>
                <a:lnTo>
                  <a:pt x="206" y="206"/>
                </a:lnTo>
                <a:lnTo>
                  <a:pt x="210" y="194"/>
                </a:lnTo>
                <a:lnTo>
                  <a:pt x="214" y="184"/>
                </a:lnTo>
                <a:lnTo>
                  <a:pt x="222" y="176"/>
                </a:lnTo>
                <a:lnTo>
                  <a:pt x="230" y="170"/>
                </a:lnTo>
                <a:lnTo>
                  <a:pt x="240" y="164"/>
                </a:lnTo>
                <a:lnTo>
                  <a:pt x="250" y="162"/>
                </a:lnTo>
                <a:lnTo>
                  <a:pt x="262" y="160"/>
                </a:lnTo>
                <a:close/>
                <a:moveTo>
                  <a:pt x="332" y="418"/>
                </a:moveTo>
                <a:lnTo>
                  <a:pt x="332" y="418"/>
                </a:lnTo>
                <a:lnTo>
                  <a:pt x="330" y="424"/>
                </a:lnTo>
                <a:lnTo>
                  <a:pt x="328" y="428"/>
                </a:lnTo>
                <a:lnTo>
                  <a:pt x="322" y="432"/>
                </a:lnTo>
                <a:lnTo>
                  <a:pt x="318" y="432"/>
                </a:lnTo>
                <a:lnTo>
                  <a:pt x="300" y="432"/>
                </a:lnTo>
                <a:lnTo>
                  <a:pt x="300" y="552"/>
                </a:lnTo>
                <a:lnTo>
                  <a:pt x="300" y="556"/>
                </a:lnTo>
                <a:lnTo>
                  <a:pt x="296" y="562"/>
                </a:lnTo>
                <a:lnTo>
                  <a:pt x="292" y="564"/>
                </a:lnTo>
                <a:lnTo>
                  <a:pt x="286" y="566"/>
                </a:lnTo>
                <a:lnTo>
                  <a:pt x="280" y="564"/>
                </a:lnTo>
                <a:lnTo>
                  <a:pt x="276" y="562"/>
                </a:lnTo>
                <a:lnTo>
                  <a:pt x="272" y="556"/>
                </a:lnTo>
                <a:lnTo>
                  <a:pt x="272" y="552"/>
                </a:lnTo>
                <a:lnTo>
                  <a:pt x="272" y="432"/>
                </a:lnTo>
                <a:lnTo>
                  <a:pt x="254" y="432"/>
                </a:lnTo>
                <a:lnTo>
                  <a:pt x="254" y="552"/>
                </a:lnTo>
                <a:lnTo>
                  <a:pt x="252" y="556"/>
                </a:lnTo>
                <a:lnTo>
                  <a:pt x="250" y="562"/>
                </a:lnTo>
                <a:lnTo>
                  <a:pt x="244" y="564"/>
                </a:lnTo>
                <a:lnTo>
                  <a:pt x="240" y="566"/>
                </a:lnTo>
                <a:lnTo>
                  <a:pt x="234" y="564"/>
                </a:lnTo>
                <a:lnTo>
                  <a:pt x="228" y="562"/>
                </a:lnTo>
                <a:lnTo>
                  <a:pt x="226" y="556"/>
                </a:lnTo>
                <a:lnTo>
                  <a:pt x="224" y="552"/>
                </a:lnTo>
                <a:lnTo>
                  <a:pt x="224" y="432"/>
                </a:lnTo>
                <a:lnTo>
                  <a:pt x="206" y="432"/>
                </a:lnTo>
                <a:lnTo>
                  <a:pt x="200" y="432"/>
                </a:lnTo>
                <a:lnTo>
                  <a:pt x="196" y="428"/>
                </a:lnTo>
                <a:lnTo>
                  <a:pt x="192" y="424"/>
                </a:lnTo>
                <a:lnTo>
                  <a:pt x="192" y="418"/>
                </a:lnTo>
                <a:lnTo>
                  <a:pt x="192" y="306"/>
                </a:lnTo>
                <a:lnTo>
                  <a:pt x="192" y="300"/>
                </a:lnTo>
                <a:lnTo>
                  <a:pt x="196" y="296"/>
                </a:lnTo>
                <a:lnTo>
                  <a:pt x="200" y="294"/>
                </a:lnTo>
                <a:lnTo>
                  <a:pt x="206" y="292"/>
                </a:lnTo>
                <a:lnTo>
                  <a:pt x="318" y="292"/>
                </a:lnTo>
                <a:lnTo>
                  <a:pt x="322" y="294"/>
                </a:lnTo>
                <a:lnTo>
                  <a:pt x="328" y="296"/>
                </a:lnTo>
                <a:lnTo>
                  <a:pt x="330" y="300"/>
                </a:lnTo>
                <a:lnTo>
                  <a:pt x="332" y="306"/>
                </a:lnTo>
                <a:lnTo>
                  <a:pt x="332" y="418"/>
                </a:lnTo>
                <a:close/>
                <a:moveTo>
                  <a:pt x="450" y="160"/>
                </a:moveTo>
                <a:lnTo>
                  <a:pt x="450" y="160"/>
                </a:lnTo>
                <a:lnTo>
                  <a:pt x="462" y="162"/>
                </a:lnTo>
                <a:lnTo>
                  <a:pt x="472" y="164"/>
                </a:lnTo>
                <a:lnTo>
                  <a:pt x="482" y="170"/>
                </a:lnTo>
                <a:lnTo>
                  <a:pt x="490" y="176"/>
                </a:lnTo>
                <a:lnTo>
                  <a:pt x="496" y="184"/>
                </a:lnTo>
                <a:lnTo>
                  <a:pt x="502" y="194"/>
                </a:lnTo>
                <a:lnTo>
                  <a:pt x="506" y="206"/>
                </a:lnTo>
                <a:lnTo>
                  <a:pt x="506" y="216"/>
                </a:lnTo>
                <a:lnTo>
                  <a:pt x="506" y="228"/>
                </a:lnTo>
                <a:lnTo>
                  <a:pt x="502" y="238"/>
                </a:lnTo>
                <a:lnTo>
                  <a:pt x="496" y="248"/>
                </a:lnTo>
                <a:lnTo>
                  <a:pt x="490" y="256"/>
                </a:lnTo>
                <a:lnTo>
                  <a:pt x="482" y="262"/>
                </a:lnTo>
                <a:lnTo>
                  <a:pt x="472" y="268"/>
                </a:lnTo>
                <a:lnTo>
                  <a:pt x="462" y="272"/>
                </a:lnTo>
                <a:lnTo>
                  <a:pt x="450" y="272"/>
                </a:lnTo>
                <a:lnTo>
                  <a:pt x="440" y="272"/>
                </a:lnTo>
                <a:lnTo>
                  <a:pt x="428" y="268"/>
                </a:lnTo>
                <a:lnTo>
                  <a:pt x="420" y="262"/>
                </a:lnTo>
                <a:lnTo>
                  <a:pt x="410" y="256"/>
                </a:lnTo>
                <a:lnTo>
                  <a:pt x="404" y="248"/>
                </a:lnTo>
                <a:lnTo>
                  <a:pt x="398" y="238"/>
                </a:lnTo>
                <a:lnTo>
                  <a:pt x="396" y="228"/>
                </a:lnTo>
                <a:lnTo>
                  <a:pt x="394" y="216"/>
                </a:lnTo>
                <a:lnTo>
                  <a:pt x="396" y="206"/>
                </a:lnTo>
                <a:lnTo>
                  <a:pt x="398" y="194"/>
                </a:lnTo>
                <a:lnTo>
                  <a:pt x="404" y="184"/>
                </a:lnTo>
                <a:lnTo>
                  <a:pt x="410" y="176"/>
                </a:lnTo>
                <a:lnTo>
                  <a:pt x="420" y="170"/>
                </a:lnTo>
                <a:lnTo>
                  <a:pt x="428" y="164"/>
                </a:lnTo>
                <a:lnTo>
                  <a:pt x="440" y="162"/>
                </a:lnTo>
                <a:lnTo>
                  <a:pt x="450" y="160"/>
                </a:lnTo>
                <a:close/>
                <a:moveTo>
                  <a:pt x="534" y="454"/>
                </a:moveTo>
                <a:lnTo>
                  <a:pt x="534" y="454"/>
                </a:lnTo>
                <a:lnTo>
                  <a:pt x="530" y="460"/>
                </a:lnTo>
                <a:lnTo>
                  <a:pt x="522" y="460"/>
                </a:lnTo>
                <a:lnTo>
                  <a:pt x="490" y="460"/>
                </a:lnTo>
                <a:lnTo>
                  <a:pt x="490" y="552"/>
                </a:lnTo>
                <a:lnTo>
                  <a:pt x="488" y="556"/>
                </a:lnTo>
                <a:lnTo>
                  <a:pt x="486" y="562"/>
                </a:lnTo>
                <a:lnTo>
                  <a:pt x="480" y="564"/>
                </a:lnTo>
                <a:lnTo>
                  <a:pt x="476" y="566"/>
                </a:lnTo>
                <a:lnTo>
                  <a:pt x="470" y="564"/>
                </a:lnTo>
                <a:lnTo>
                  <a:pt x="466" y="562"/>
                </a:lnTo>
                <a:lnTo>
                  <a:pt x="462" y="556"/>
                </a:lnTo>
                <a:lnTo>
                  <a:pt x="460" y="552"/>
                </a:lnTo>
                <a:lnTo>
                  <a:pt x="460" y="460"/>
                </a:lnTo>
                <a:lnTo>
                  <a:pt x="442" y="460"/>
                </a:lnTo>
                <a:lnTo>
                  <a:pt x="442" y="552"/>
                </a:lnTo>
                <a:lnTo>
                  <a:pt x="442" y="556"/>
                </a:lnTo>
                <a:lnTo>
                  <a:pt x="438" y="562"/>
                </a:lnTo>
                <a:lnTo>
                  <a:pt x="434" y="564"/>
                </a:lnTo>
                <a:lnTo>
                  <a:pt x="428" y="566"/>
                </a:lnTo>
                <a:lnTo>
                  <a:pt x="422" y="564"/>
                </a:lnTo>
                <a:lnTo>
                  <a:pt x="418" y="562"/>
                </a:lnTo>
                <a:lnTo>
                  <a:pt x="414" y="556"/>
                </a:lnTo>
                <a:lnTo>
                  <a:pt x="414" y="552"/>
                </a:lnTo>
                <a:lnTo>
                  <a:pt x="414" y="460"/>
                </a:lnTo>
                <a:lnTo>
                  <a:pt x="378" y="460"/>
                </a:lnTo>
                <a:lnTo>
                  <a:pt x="372" y="460"/>
                </a:lnTo>
                <a:lnTo>
                  <a:pt x="366" y="454"/>
                </a:lnTo>
                <a:lnTo>
                  <a:pt x="364" y="448"/>
                </a:lnTo>
                <a:lnTo>
                  <a:pt x="366" y="440"/>
                </a:lnTo>
                <a:lnTo>
                  <a:pt x="438" y="296"/>
                </a:lnTo>
                <a:lnTo>
                  <a:pt x="442" y="290"/>
                </a:lnTo>
                <a:lnTo>
                  <a:pt x="450" y="288"/>
                </a:lnTo>
                <a:lnTo>
                  <a:pt x="458" y="290"/>
                </a:lnTo>
                <a:lnTo>
                  <a:pt x="464" y="296"/>
                </a:lnTo>
                <a:lnTo>
                  <a:pt x="536" y="440"/>
                </a:lnTo>
                <a:lnTo>
                  <a:pt x="536" y="448"/>
                </a:lnTo>
                <a:lnTo>
                  <a:pt x="534" y="4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TextBox 34"/>
          <p:cNvSpPr txBox="1">
            <a:spLocks noChangeArrowheads="1"/>
          </p:cNvSpPr>
          <p:nvPr userDrawn="1"/>
        </p:nvSpPr>
        <p:spPr bwMode="auto">
          <a:xfrm>
            <a:off x="10515434" y="2538532"/>
            <a:ext cx="113347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uple</a:t>
            </a:r>
          </a:p>
        </p:txBody>
      </p:sp>
      <p:sp>
        <p:nvSpPr>
          <p:cNvPr id="36" name="Freeform 206"/>
          <p:cNvSpPr>
            <a:spLocks noEditPoints="1"/>
          </p:cNvSpPr>
          <p:nvPr userDrawn="1"/>
        </p:nvSpPr>
        <p:spPr bwMode="auto">
          <a:xfrm>
            <a:off x="10457299"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152 w 726"/>
              <a:gd name="T35" fmla="*/ 538 h 726"/>
              <a:gd name="T36" fmla="*/ 162 w 726"/>
              <a:gd name="T37" fmla="*/ 490 h 726"/>
              <a:gd name="T38" fmla="*/ 204 w 726"/>
              <a:gd name="T39" fmla="*/ 438 h 726"/>
              <a:gd name="T40" fmla="*/ 262 w 726"/>
              <a:gd name="T41" fmla="*/ 544 h 726"/>
              <a:gd name="T42" fmla="*/ 274 w 726"/>
              <a:gd name="T43" fmla="*/ 392 h 726"/>
              <a:gd name="T44" fmla="*/ 242 w 726"/>
              <a:gd name="T45" fmla="*/ 384 h 726"/>
              <a:gd name="T46" fmla="*/ 208 w 726"/>
              <a:gd name="T47" fmla="*/ 346 h 726"/>
              <a:gd name="T48" fmla="*/ 204 w 726"/>
              <a:gd name="T49" fmla="*/ 306 h 726"/>
              <a:gd name="T50" fmla="*/ 234 w 726"/>
              <a:gd name="T51" fmla="*/ 260 h 726"/>
              <a:gd name="T52" fmla="*/ 274 w 726"/>
              <a:gd name="T53" fmla="*/ 248 h 726"/>
              <a:gd name="T54" fmla="*/ 324 w 726"/>
              <a:gd name="T55" fmla="*/ 270 h 726"/>
              <a:gd name="T56" fmla="*/ 346 w 726"/>
              <a:gd name="T57" fmla="*/ 320 h 726"/>
              <a:gd name="T58" fmla="*/ 334 w 726"/>
              <a:gd name="T59" fmla="*/ 360 h 726"/>
              <a:gd name="T60" fmla="*/ 290 w 726"/>
              <a:gd name="T61" fmla="*/ 390 h 726"/>
              <a:gd name="T62" fmla="*/ 310 w 726"/>
              <a:gd name="T63" fmla="*/ 188 h 726"/>
              <a:gd name="T64" fmla="*/ 304 w 726"/>
              <a:gd name="T65" fmla="*/ 168 h 726"/>
              <a:gd name="T66" fmla="*/ 310 w 726"/>
              <a:gd name="T67" fmla="*/ 148 h 726"/>
              <a:gd name="T68" fmla="*/ 332 w 726"/>
              <a:gd name="T69" fmla="*/ 134 h 726"/>
              <a:gd name="T70" fmla="*/ 352 w 726"/>
              <a:gd name="T71" fmla="*/ 136 h 726"/>
              <a:gd name="T72" fmla="*/ 368 w 726"/>
              <a:gd name="T73" fmla="*/ 140 h 726"/>
              <a:gd name="T74" fmla="*/ 388 w 726"/>
              <a:gd name="T75" fmla="*/ 132 h 726"/>
              <a:gd name="T76" fmla="*/ 412 w 726"/>
              <a:gd name="T77" fmla="*/ 142 h 726"/>
              <a:gd name="T78" fmla="*/ 422 w 726"/>
              <a:gd name="T79" fmla="*/ 168 h 726"/>
              <a:gd name="T80" fmla="*/ 418 w 726"/>
              <a:gd name="T81" fmla="*/ 184 h 726"/>
              <a:gd name="T82" fmla="*/ 452 w 726"/>
              <a:gd name="T83" fmla="*/ 392 h 726"/>
              <a:gd name="T84" fmla="*/ 422 w 726"/>
              <a:gd name="T85" fmla="*/ 386 h 726"/>
              <a:gd name="T86" fmla="*/ 386 w 726"/>
              <a:gd name="T87" fmla="*/ 348 h 726"/>
              <a:gd name="T88" fmla="*/ 382 w 726"/>
              <a:gd name="T89" fmla="*/ 306 h 726"/>
              <a:gd name="T90" fmla="*/ 412 w 726"/>
              <a:gd name="T91" fmla="*/ 260 h 726"/>
              <a:gd name="T92" fmla="*/ 452 w 726"/>
              <a:gd name="T93" fmla="*/ 248 h 726"/>
              <a:gd name="T94" fmla="*/ 504 w 726"/>
              <a:gd name="T95" fmla="*/ 270 h 726"/>
              <a:gd name="T96" fmla="*/ 524 w 726"/>
              <a:gd name="T97" fmla="*/ 320 h 726"/>
              <a:gd name="T98" fmla="*/ 514 w 726"/>
              <a:gd name="T99" fmla="*/ 358 h 726"/>
              <a:gd name="T100" fmla="*/ 472 w 726"/>
              <a:gd name="T101" fmla="*/ 390 h 726"/>
              <a:gd name="T102" fmla="*/ 574 w 726"/>
              <a:gd name="T103" fmla="*/ 544 h 726"/>
              <a:gd name="T104" fmla="*/ 486 w 726"/>
              <a:gd name="T105" fmla="*/ 420 h 726"/>
              <a:gd name="T106" fmla="*/ 538 w 726"/>
              <a:gd name="T107" fmla="*/ 452 h 726"/>
              <a:gd name="T108" fmla="*/ 574 w 726"/>
              <a:gd name="T109" fmla="*/ 5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62" y="544"/>
                </a:moveTo>
                <a:lnTo>
                  <a:pt x="152" y="544"/>
                </a:lnTo>
                <a:lnTo>
                  <a:pt x="152" y="538"/>
                </a:lnTo>
                <a:lnTo>
                  <a:pt x="154" y="526"/>
                </a:lnTo>
                <a:lnTo>
                  <a:pt x="156" y="514"/>
                </a:lnTo>
                <a:lnTo>
                  <a:pt x="162" y="490"/>
                </a:lnTo>
                <a:lnTo>
                  <a:pt x="174" y="470"/>
                </a:lnTo>
                <a:lnTo>
                  <a:pt x="188" y="452"/>
                </a:lnTo>
                <a:lnTo>
                  <a:pt x="204" y="438"/>
                </a:lnTo>
                <a:lnTo>
                  <a:pt x="222" y="428"/>
                </a:lnTo>
                <a:lnTo>
                  <a:pt x="240" y="420"/>
                </a:lnTo>
                <a:lnTo>
                  <a:pt x="262" y="416"/>
                </a:lnTo>
                <a:lnTo>
                  <a:pt x="262" y="544"/>
                </a:lnTo>
                <a:close/>
                <a:moveTo>
                  <a:pt x="278" y="392"/>
                </a:moveTo>
                <a:lnTo>
                  <a:pt x="278" y="392"/>
                </a:lnTo>
                <a:lnTo>
                  <a:pt x="274" y="392"/>
                </a:lnTo>
                <a:lnTo>
                  <a:pt x="268" y="392"/>
                </a:lnTo>
                <a:lnTo>
                  <a:pt x="254" y="390"/>
                </a:lnTo>
                <a:lnTo>
                  <a:pt x="242" y="384"/>
                </a:lnTo>
                <a:lnTo>
                  <a:pt x="230" y="378"/>
                </a:lnTo>
                <a:lnTo>
                  <a:pt x="220" y="368"/>
                </a:lnTo>
                <a:lnTo>
                  <a:pt x="214" y="358"/>
                </a:lnTo>
                <a:lnTo>
                  <a:pt x="208" y="346"/>
                </a:lnTo>
                <a:lnTo>
                  <a:pt x="204" y="334"/>
                </a:lnTo>
                <a:lnTo>
                  <a:pt x="202" y="320"/>
                </a:lnTo>
                <a:lnTo>
                  <a:pt x="204" y="306"/>
                </a:lnTo>
                <a:lnTo>
                  <a:pt x="208" y="292"/>
                </a:lnTo>
                <a:lnTo>
                  <a:pt x="214" y="280"/>
                </a:lnTo>
                <a:lnTo>
                  <a:pt x="224" y="270"/>
                </a:lnTo>
                <a:lnTo>
                  <a:pt x="234" y="260"/>
                </a:lnTo>
                <a:lnTo>
                  <a:pt x="246" y="254"/>
                </a:lnTo>
                <a:lnTo>
                  <a:pt x="260" y="250"/>
                </a:lnTo>
                <a:lnTo>
                  <a:pt x="274" y="248"/>
                </a:lnTo>
                <a:lnTo>
                  <a:pt x="288" y="250"/>
                </a:lnTo>
                <a:lnTo>
                  <a:pt x="302" y="254"/>
                </a:lnTo>
                <a:lnTo>
                  <a:pt x="314" y="260"/>
                </a:lnTo>
                <a:lnTo>
                  <a:pt x="324" y="270"/>
                </a:lnTo>
                <a:lnTo>
                  <a:pt x="334" y="280"/>
                </a:lnTo>
                <a:lnTo>
                  <a:pt x="340" y="292"/>
                </a:lnTo>
                <a:lnTo>
                  <a:pt x="344" y="306"/>
                </a:lnTo>
                <a:lnTo>
                  <a:pt x="346" y="320"/>
                </a:lnTo>
                <a:lnTo>
                  <a:pt x="344" y="334"/>
                </a:lnTo>
                <a:lnTo>
                  <a:pt x="340" y="348"/>
                </a:lnTo>
                <a:lnTo>
                  <a:pt x="334" y="360"/>
                </a:lnTo>
                <a:lnTo>
                  <a:pt x="326" y="370"/>
                </a:lnTo>
                <a:lnTo>
                  <a:pt x="316" y="378"/>
                </a:lnTo>
                <a:lnTo>
                  <a:pt x="304" y="386"/>
                </a:lnTo>
                <a:lnTo>
                  <a:pt x="290" y="390"/>
                </a:lnTo>
                <a:lnTo>
                  <a:pt x="278" y="392"/>
                </a:lnTo>
                <a:close/>
                <a:moveTo>
                  <a:pt x="364" y="240"/>
                </a:moveTo>
                <a:lnTo>
                  <a:pt x="310" y="188"/>
                </a:lnTo>
                <a:lnTo>
                  <a:pt x="308" y="184"/>
                </a:lnTo>
                <a:lnTo>
                  <a:pt x="306" y="176"/>
                </a:lnTo>
                <a:lnTo>
                  <a:pt x="304" y="168"/>
                </a:lnTo>
                <a:lnTo>
                  <a:pt x="304" y="160"/>
                </a:lnTo>
                <a:lnTo>
                  <a:pt x="306" y="154"/>
                </a:lnTo>
                <a:lnTo>
                  <a:pt x="310" y="148"/>
                </a:lnTo>
                <a:lnTo>
                  <a:pt x="314" y="142"/>
                </a:lnTo>
                <a:lnTo>
                  <a:pt x="320" y="138"/>
                </a:lnTo>
                <a:lnTo>
                  <a:pt x="324" y="136"/>
                </a:lnTo>
                <a:lnTo>
                  <a:pt x="332" y="134"/>
                </a:lnTo>
                <a:lnTo>
                  <a:pt x="338" y="132"/>
                </a:lnTo>
                <a:lnTo>
                  <a:pt x="346" y="134"/>
                </a:lnTo>
                <a:lnTo>
                  <a:pt x="352" y="136"/>
                </a:lnTo>
                <a:lnTo>
                  <a:pt x="358" y="140"/>
                </a:lnTo>
                <a:lnTo>
                  <a:pt x="364" y="144"/>
                </a:lnTo>
                <a:lnTo>
                  <a:pt x="368" y="140"/>
                </a:lnTo>
                <a:lnTo>
                  <a:pt x="374" y="136"/>
                </a:lnTo>
                <a:lnTo>
                  <a:pt x="382" y="134"/>
                </a:lnTo>
                <a:lnTo>
                  <a:pt x="388" y="132"/>
                </a:lnTo>
                <a:lnTo>
                  <a:pt x="396" y="134"/>
                </a:lnTo>
                <a:lnTo>
                  <a:pt x="402" y="136"/>
                </a:lnTo>
                <a:lnTo>
                  <a:pt x="408" y="138"/>
                </a:lnTo>
                <a:lnTo>
                  <a:pt x="412" y="142"/>
                </a:lnTo>
                <a:lnTo>
                  <a:pt x="416" y="148"/>
                </a:lnTo>
                <a:lnTo>
                  <a:pt x="420" y="154"/>
                </a:lnTo>
                <a:lnTo>
                  <a:pt x="422" y="160"/>
                </a:lnTo>
                <a:lnTo>
                  <a:pt x="422" y="168"/>
                </a:lnTo>
                <a:lnTo>
                  <a:pt x="422" y="176"/>
                </a:lnTo>
                <a:lnTo>
                  <a:pt x="418" y="184"/>
                </a:lnTo>
                <a:lnTo>
                  <a:pt x="416" y="188"/>
                </a:lnTo>
                <a:lnTo>
                  <a:pt x="364" y="240"/>
                </a:lnTo>
                <a:close/>
                <a:moveTo>
                  <a:pt x="452" y="392"/>
                </a:moveTo>
                <a:lnTo>
                  <a:pt x="452" y="392"/>
                </a:lnTo>
                <a:lnTo>
                  <a:pt x="450" y="392"/>
                </a:lnTo>
                <a:lnTo>
                  <a:pt x="436" y="390"/>
                </a:lnTo>
                <a:lnTo>
                  <a:pt x="422" y="386"/>
                </a:lnTo>
                <a:lnTo>
                  <a:pt x="412" y="378"/>
                </a:lnTo>
                <a:lnTo>
                  <a:pt x="400" y="370"/>
                </a:lnTo>
                <a:lnTo>
                  <a:pt x="392" y="360"/>
                </a:lnTo>
                <a:lnTo>
                  <a:pt x="386" y="348"/>
                </a:lnTo>
                <a:lnTo>
                  <a:pt x="382" y="334"/>
                </a:lnTo>
                <a:lnTo>
                  <a:pt x="380" y="320"/>
                </a:lnTo>
                <a:lnTo>
                  <a:pt x="382" y="306"/>
                </a:lnTo>
                <a:lnTo>
                  <a:pt x="386" y="292"/>
                </a:lnTo>
                <a:lnTo>
                  <a:pt x="394" y="280"/>
                </a:lnTo>
                <a:lnTo>
                  <a:pt x="402" y="270"/>
                </a:lnTo>
                <a:lnTo>
                  <a:pt x="412" y="260"/>
                </a:lnTo>
                <a:lnTo>
                  <a:pt x="424" y="254"/>
                </a:lnTo>
                <a:lnTo>
                  <a:pt x="438" y="250"/>
                </a:lnTo>
                <a:lnTo>
                  <a:pt x="452" y="248"/>
                </a:lnTo>
                <a:lnTo>
                  <a:pt x="468" y="250"/>
                </a:lnTo>
                <a:lnTo>
                  <a:pt x="480" y="254"/>
                </a:lnTo>
                <a:lnTo>
                  <a:pt x="492" y="260"/>
                </a:lnTo>
                <a:lnTo>
                  <a:pt x="504" y="270"/>
                </a:lnTo>
                <a:lnTo>
                  <a:pt x="512" y="280"/>
                </a:lnTo>
                <a:lnTo>
                  <a:pt x="518" y="292"/>
                </a:lnTo>
                <a:lnTo>
                  <a:pt x="524" y="306"/>
                </a:lnTo>
                <a:lnTo>
                  <a:pt x="524" y="320"/>
                </a:lnTo>
                <a:lnTo>
                  <a:pt x="524" y="334"/>
                </a:lnTo>
                <a:lnTo>
                  <a:pt x="520" y="346"/>
                </a:lnTo>
                <a:lnTo>
                  <a:pt x="514" y="358"/>
                </a:lnTo>
                <a:lnTo>
                  <a:pt x="506" y="368"/>
                </a:lnTo>
                <a:lnTo>
                  <a:pt x="496" y="378"/>
                </a:lnTo>
                <a:lnTo>
                  <a:pt x="486" y="384"/>
                </a:lnTo>
                <a:lnTo>
                  <a:pt x="472" y="390"/>
                </a:lnTo>
                <a:lnTo>
                  <a:pt x="460" y="392"/>
                </a:lnTo>
                <a:lnTo>
                  <a:pt x="452" y="392"/>
                </a:lnTo>
                <a:close/>
                <a:moveTo>
                  <a:pt x="574" y="544"/>
                </a:moveTo>
                <a:lnTo>
                  <a:pt x="464" y="544"/>
                </a:lnTo>
                <a:lnTo>
                  <a:pt x="464" y="416"/>
                </a:lnTo>
                <a:lnTo>
                  <a:pt x="486" y="420"/>
                </a:lnTo>
                <a:lnTo>
                  <a:pt x="506" y="428"/>
                </a:lnTo>
                <a:lnTo>
                  <a:pt x="522" y="438"/>
                </a:lnTo>
                <a:lnTo>
                  <a:pt x="538" y="452"/>
                </a:lnTo>
                <a:lnTo>
                  <a:pt x="554" y="470"/>
                </a:lnTo>
                <a:lnTo>
                  <a:pt x="564" y="490"/>
                </a:lnTo>
                <a:lnTo>
                  <a:pt x="572" y="514"/>
                </a:lnTo>
                <a:lnTo>
                  <a:pt x="574" y="526"/>
                </a:lnTo>
                <a:lnTo>
                  <a:pt x="574" y="538"/>
                </a:lnTo>
                <a:lnTo>
                  <a:pt x="574" y="5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7" name="TextBox 35"/>
          <p:cNvSpPr txBox="1">
            <a:spLocks noChangeArrowheads="1"/>
          </p:cNvSpPr>
          <p:nvPr userDrawn="1"/>
        </p:nvSpPr>
        <p:spPr bwMode="auto">
          <a:xfrm>
            <a:off x="11992079" y="4337495"/>
            <a:ext cx="1084411"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a:t>
            </a:r>
          </a:p>
        </p:txBody>
      </p:sp>
      <p:sp>
        <p:nvSpPr>
          <p:cNvPr id="38" name="Freeform 44"/>
          <p:cNvSpPr>
            <a:spLocks/>
          </p:cNvSpPr>
          <p:nvPr userDrawn="1"/>
        </p:nvSpPr>
        <p:spPr bwMode="auto">
          <a:xfrm>
            <a:off x="11908649" y="3057528"/>
            <a:ext cx="1260000" cy="1260000"/>
          </a:xfrm>
          <a:custGeom>
            <a:avLst/>
            <a:gdLst>
              <a:gd name="T0" fmla="*/ 633380 w 1087200"/>
              <a:gd name="T1" fmla="*/ 678885 h 1087200"/>
              <a:gd name="T2" fmla="*/ 830158 w 1087200"/>
              <a:gd name="T3" fmla="*/ 710861 h 1087200"/>
              <a:gd name="T4" fmla="*/ 602633 w 1087200"/>
              <a:gd name="T5" fmla="*/ 709631 h 1087200"/>
              <a:gd name="T6" fmla="*/ 702251 w 1087200"/>
              <a:gd name="T7" fmla="*/ 558358 h 1087200"/>
              <a:gd name="T8" fmla="*/ 185710 w 1087200"/>
              <a:gd name="T9" fmla="*/ 612473 h 1087200"/>
              <a:gd name="T10" fmla="*/ 232444 w 1087200"/>
              <a:gd name="T11" fmla="*/ 769895 h 1087200"/>
              <a:gd name="T12" fmla="*/ 275489 w 1087200"/>
              <a:gd name="T13" fmla="*/ 755137 h 1087200"/>
              <a:gd name="T14" fmla="*/ 307466 w 1087200"/>
              <a:gd name="T15" fmla="*/ 755137 h 1087200"/>
              <a:gd name="T16" fmla="*/ 341902 w 1087200"/>
              <a:gd name="T17" fmla="*/ 473498 h 1087200"/>
              <a:gd name="T18" fmla="*/ 462429 w 1087200"/>
              <a:gd name="T19" fmla="*/ 468578 h 1087200"/>
              <a:gd name="T20" fmla="*/ 391097 w 1087200"/>
              <a:gd name="T21" fmla="*/ 653058 h 1087200"/>
              <a:gd name="T22" fmla="*/ 457509 w 1087200"/>
              <a:gd name="T23" fmla="*/ 769895 h 1087200"/>
              <a:gd name="T24" fmla="*/ 493175 w 1087200"/>
              <a:gd name="T25" fmla="*/ 766206 h 1087200"/>
              <a:gd name="T26" fmla="*/ 557128 w 1087200"/>
              <a:gd name="T27" fmla="*/ 654288 h 1087200"/>
              <a:gd name="T28" fmla="*/ 571887 w 1087200"/>
              <a:gd name="T29" fmla="*/ 630920 h 1087200"/>
              <a:gd name="T30" fmla="*/ 873204 w 1087200"/>
              <a:gd name="T31" fmla="*/ 462429 h 1087200"/>
              <a:gd name="T32" fmla="*/ 801872 w 1087200"/>
              <a:gd name="T33" fmla="*/ 440291 h 1087200"/>
              <a:gd name="T34" fmla="*/ 801872 w 1087200"/>
              <a:gd name="T35" fmla="*/ 485796 h 1087200"/>
              <a:gd name="T36" fmla="*/ 760056 w 1087200"/>
              <a:gd name="T37" fmla="*/ 485796 h 1087200"/>
              <a:gd name="T38" fmla="*/ 760056 w 1087200"/>
              <a:gd name="T39" fmla="*/ 440291 h 1087200"/>
              <a:gd name="T40" fmla="*/ 792034 w 1087200"/>
              <a:gd name="T41" fmla="*/ 356661 h 1087200"/>
              <a:gd name="T42" fmla="*/ 804332 w 1087200"/>
              <a:gd name="T43" fmla="*/ 389868 h 1087200"/>
              <a:gd name="T44" fmla="*/ 771126 w 1087200"/>
              <a:gd name="T45" fmla="*/ 402166 h 1087200"/>
              <a:gd name="T46" fmla="*/ 757597 w 1087200"/>
              <a:gd name="T47" fmla="*/ 368960 h 1087200"/>
              <a:gd name="T48" fmla="*/ 624771 w 1087200"/>
              <a:gd name="T49" fmla="*/ 343132 h 1087200"/>
              <a:gd name="T50" fmla="*/ 678885 w 1087200"/>
              <a:gd name="T51" fmla="*/ 325914 h 1087200"/>
              <a:gd name="T52" fmla="*/ 720700 w 1087200"/>
              <a:gd name="T53" fmla="*/ 365269 h 1087200"/>
              <a:gd name="T54" fmla="*/ 735459 w 1087200"/>
              <a:gd name="T55" fmla="*/ 420613 h 1087200"/>
              <a:gd name="T56" fmla="*/ 714551 w 1087200"/>
              <a:gd name="T57" fmla="*/ 478417 h 1087200"/>
              <a:gd name="T58" fmla="*/ 794492 w 1087200"/>
              <a:gd name="T59" fmla="*/ 523922 h 1087200"/>
              <a:gd name="T60" fmla="*/ 848606 w 1087200"/>
              <a:gd name="T61" fmla="*/ 457509 h 1087200"/>
              <a:gd name="T62" fmla="*/ 826469 w 1087200"/>
              <a:gd name="T63" fmla="*/ 410774 h 1087200"/>
              <a:gd name="T64" fmla="*/ 833848 w 1087200"/>
              <a:gd name="T65" fmla="*/ 346821 h 1087200"/>
              <a:gd name="T66" fmla="*/ 463658 w 1087200"/>
              <a:gd name="T67" fmla="*/ 317305 h 1087200"/>
              <a:gd name="T68" fmla="*/ 414464 w 1087200"/>
              <a:gd name="T69" fmla="*/ 391097 h 1087200"/>
              <a:gd name="T70" fmla="*/ 489485 w 1087200"/>
              <a:gd name="T71" fmla="*/ 440291 h 1087200"/>
              <a:gd name="T72" fmla="*/ 538680 w 1087200"/>
              <a:gd name="T73" fmla="*/ 366499 h 1087200"/>
              <a:gd name="T74" fmla="*/ 263191 w 1087200"/>
              <a:gd name="T75" fmla="*/ 316075 h 1087200"/>
              <a:gd name="T76" fmla="*/ 200468 w 1087200"/>
              <a:gd name="T77" fmla="*/ 378798 h 1087200"/>
              <a:gd name="T78" fmla="*/ 263191 w 1087200"/>
              <a:gd name="T79" fmla="*/ 441521 h 1087200"/>
              <a:gd name="T80" fmla="*/ 327144 w 1087200"/>
              <a:gd name="T81" fmla="*/ 378798 h 1087200"/>
              <a:gd name="T82" fmla="*/ 263191 w 1087200"/>
              <a:gd name="T83" fmla="*/ 316075 h 1087200"/>
              <a:gd name="T84" fmla="*/ 705942 w 1087200"/>
              <a:gd name="T85" fmla="*/ 24597 h 1087200"/>
              <a:gd name="T86" fmla="*/ 889192 w 1087200"/>
              <a:gd name="T87" fmla="*/ 124216 h 1087200"/>
              <a:gd name="T88" fmla="*/ 1022017 w 1087200"/>
              <a:gd name="T89" fmla="*/ 284099 h 1087200"/>
              <a:gd name="T90" fmla="*/ 1084740 w 1087200"/>
              <a:gd name="T91" fmla="*/ 488256 h 1087200"/>
              <a:gd name="T92" fmla="*/ 1062603 w 1087200"/>
              <a:gd name="T93" fmla="*/ 704712 h 1087200"/>
              <a:gd name="T94" fmla="*/ 962984 w 1087200"/>
              <a:gd name="T95" fmla="*/ 889192 h 1087200"/>
              <a:gd name="T96" fmla="*/ 803102 w 1087200"/>
              <a:gd name="T97" fmla="*/ 1022017 h 1087200"/>
              <a:gd name="T98" fmla="*/ 598944 w 1087200"/>
              <a:gd name="T99" fmla="*/ 1084740 h 1087200"/>
              <a:gd name="T100" fmla="*/ 382488 w 1087200"/>
              <a:gd name="T101" fmla="*/ 1062603 h 1087200"/>
              <a:gd name="T102" fmla="*/ 198008 w 1087200"/>
              <a:gd name="T103" fmla="*/ 962984 h 1087200"/>
              <a:gd name="T104" fmla="*/ 65183 w 1087200"/>
              <a:gd name="T105" fmla="*/ 803102 h 1087200"/>
              <a:gd name="T106" fmla="*/ 2460 w 1087200"/>
              <a:gd name="T107" fmla="*/ 598944 h 1087200"/>
              <a:gd name="T108" fmla="*/ 24598 w 1087200"/>
              <a:gd name="T109" fmla="*/ 382488 h 1087200"/>
              <a:gd name="T110" fmla="*/ 124217 w 1087200"/>
              <a:gd name="T111" fmla="*/ 198008 h 1087200"/>
              <a:gd name="T112" fmla="*/ 284099 w 1087200"/>
              <a:gd name="T113" fmla="*/ 65183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796952" y="586645"/>
                </a:moveTo>
                <a:lnTo>
                  <a:pt x="798182" y="586645"/>
                </a:lnTo>
                <a:lnTo>
                  <a:pt x="795723" y="680115"/>
                </a:lnTo>
                <a:lnTo>
                  <a:pt x="761286" y="680115"/>
                </a:lnTo>
                <a:lnTo>
                  <a:pt x="796952" y="586645"/>
                </a:lnTo>
                <a:close/>
                <a:moveTo>
                  <a:pt x="669046" y="585415"/>
                </a:moveTo>
                <a:lnTo>
                  <a:pt x="666586" y="678885"/>
                </a:lnTo>
                <a:lnTo>
                  <a:pt x="633380" y="678885"/>
                </a:lnTo>
                <a:lnTo>
                  <a:pt x="669046" y="585415"/>
                </a:lnTo>
                <a:close/>
                <a:moveTo>
                  <a:pt x="778504" y="559588"/>
                </a:moveTo>
                <a:lnTo>
                  <a:pt x="731769" y="671506"/>
                </a:lnTo>
                <a:lnTo>
                  <a:pt x="731769" y="710861"/>
                </a:lnTo>
                <a:lnTo>
                  <a:pt x="792032" y="710861"/>
                </a:lnTo>
                <a:lnTo>
                  <a:pt x="792032" y="755136"/>
                </a:lnTo>
                <a:lnTo>
                  <a:pt x="830158" y="755136"/>
                </a:lnTo>
                <a:lnTo>
                  <a:pt x="830158" y="710861"/>
                </a:lnTo>
                <a:lnTo>
                  <a:pt x="846146" y="710861"/>
                </a:lnTo>
                <a:lnTo>
                  <a:pt x="846146" y="680115"/>
                </a:lnTo>
                <a:lnTo>
                  <a:pt x="830158" y="680115"/>
                </a:lnTo>
                <a:lnTo>
                  <a:pt x="830158" y="559588"/>
                </a:lnTo>
                <a:lnTo>
                  <a:pt x="778504" y="559588"/>
                </a:lnTo>
                <a:close/>
                <a:moveTo>
                  <a:pt x="650597" y="558358"/>
                </a:moveTo>
                <a:lnTo>
                  <a:pt x="602633" y="669046"/>
                </a:lnTo>
                <a:lnTo>
                  <a:pt x="602633" y="709631"/>
                </a:lnTo>
                <a:lnTo>
                  <a:pt x="662896" y="709631"/>
                </a:lnTo>
                <a:lnTo>
                  <a:pt x="662896" y="753906"/>
                </a:lnTo>
                <a:lnTo>
                  <a:pt x="702251" y="753906"/>
                </a:lnTo>
                <a:lnTo>
                  <a:pt x="702251" y="709631"/>
                </a:lnTo>
                <a:lnTo>
                  <a:pt x="717010" y="709631"/>
                </a:lnTo>
                <a:lnTo>
                  <a:pt x="717010" y="678885"/>
                </a:lnTo>
                <a:lnTo>
                  <a:pt x="702251" y="678885"/>
                </a:lnTo>
                <a:lnTo>
                  <a:pt x="702251" y="558358"/>
                </a:lnTo>
                <a:lnTo>
                  <a:pt x="650597" y="558358"/>
                </a:lnTo>
                <a:close/>
                <a:moveTo>
                  <a:pt x="200468" y="463659"/>
                </a:moveTo>
                <a:lnTo>
                  <a:pt x="194319" y="464889"/>
                </a:lnTo>
                <a:lnTo>
                  <a:pt x="189399" y="468578"/>
                </a:lnTo>
                <a:lnTo>
                  <a:pt x="185710" y="473498"/>
                </a:lnTo>
                <a:lnTo>
                  <a:pt x="184480" y="479647"/>
                </a:lnTo>
                <a:lnTo>
                  <a:pt x="184480" y="606323"/>
                </a:lnTo>
                <a:lnTo>
                  <a:pt x="185710" y="612473"/>
                </a:lnTo>
                <a:lnTo>
                  <a:pt x="189399" y="617392"/>
                </a:lnTo>
                <a:lnTo>
                  <a:pt x="194319" y="621082"/>
                </a:lnTo>
                <a:lnTo>
                  <a:pt x="200468" y="622312"/>
                </a:lnTo>
                <a:lnTo>
                  <a:pt x="222605" y="622312"/>
                </a:lnTo>
                <a:lnTo>
                  <a:pt x="222605" y="755137"/>
                </a:lnTo>
                <a:lnTo>
                  <a:pt x="223835" y="761286"/>
                </a:lnTo>
                <a:lnTo>
                  <a:pt x="227525" y="766206"/>
                </a:lnTo>
                <a:lnTo>
                  <a:pt x="232444" y="769895"/>
                </a:lnTo>
                <a:lnTo>
                  <a:pt x="238594" y="771125"/>
                </a:lnTo>
                <a:lnTo>
                  <a:pt x="244743" y="769895"/>
                </a:lnTo>
                <a:lnTo>
                  <a:pt x="249662" y="766206"/>
                </a:lnTo>
                <a:lnTo>
                  <a:pt x="253352" y="761286"/>
                </a:lnTo>
                <a:lnTo>
                  <a:pt x="254582" y="755137"/>
                </a:lnTo>
                <a:lnTo>
                  <a:pt x="254582" y="622312"/>
                </a:lnTo>
                <a:lnTo>
                  <a:pt x="275489" y="622312"/>
                </a:lnTo>
                <a:lnTo>
                  <a:pt x="275489" y="755137"/>
                </a:lnTo>
                <a:lnTo>
                  <a:pt x="276719" y="761286"/>
                </a:lnTo>
                <a:lnTo>
                  <a:pt x="280409" y="766206"/>
                </a:lnTo>
                <a:lnTo>
                  <a:pt x="285328" y="769895"/>
                </a:lnTo>
                <a:lnTo>
                  <a:pt x="291478" y="771125"/>
                </a:lnTo>
                <a:lnTo>
                  <a:pt x="297627" y="769895"/>
                </a:lnTo>
                <a:lnTo>
                  <a:pt x="302546" y="766206"/>
                </a:lnTo>
                <a:lnTo>
                  <a:pt x="306236" y="761286"/>
                </a:lnTo>
                <a:lnTo>
                  <a:pt x="307466" y="755137"/>
                </a:lnTo>
                <a:lnTo>
                  <a:pt x="307466" y="622312"/>
                </a:lnTo>
                <a:lnTo>
                  <a:pt x="327144" y="622312"/>
                </a:lnTo>
                <a:lnTo>
                  <a:pt x="333293" y="621082"/>
                </a:lnTo>
                <a:lnTo>
                  <a:pt x="338212" y="617392"/>
                </a:lnTo>
                <a:lnTo>
                  <a:pt x="341902" y="612473"/>
                </a:lnTo>
                <a:lnTo>
                  <a:pt x="343132" y="606323"/>
                </a:lnTo>
                <a:lnTo>
                  <a:pt x="343132" y="479647"/>
                </a:lnTo>
                <a:lnTo>
                  <a:pt x="341902" y="473498"/>
                </a:lnTo>
                <a:lnTo>
                  <a:pt x="338212" y="468578"/>
                </a:lnTo>
                <a:lnTo>
                  <a:pt x="333293" y="464889"/>
                </a:lnTo>
                <a:lnTo>
                  <a:pt x="327144" y="463659"/>
                </a:lnTo>
                <a:lnTo>
                  <a:pt x="200468" y="463659"/>
                </a:lnTo>
                <a:close/>
                <a:moveTo>
                  <a:pt x="472268" y="459969"/>
                </a:moveTo>
                <a:lnTo>
                  <a:pt x="468578" y="462429"/>
                </a:lnTo>
                <a:lnTo>
                  <a:pt x="464889" y="464888"/>
                </a:lnTo>
                <a:lnTo>
                  <a:pt x="462429" y="468578"/>
                </a:lnTo>
                <a:lnTo>
                  <a:pt x="381258" y="630920"/>
                </a:lnTo>
                <a:lnTo>
                  <a:pt x="380028" y="634610"/>
                </a:lnTo>
                <a:lnTo>
                  <a:pt x="380028" y="638300"/>
                </a:lnTo>
                <a:lnTo>
                  <a:pt x="380028" y="641989"/>
                </a:lnTo>
                <a:lnTo>
                  <a:pt x="382487" y="645679"/>
                </a:lnTo>
                <a:lnTo>
                  <a:pt x="384947" y="649368"/>
                </a:lnTo>
                <a:lnTo>
                  <a:pt x="387407" y="651828"/>
                </a:lnTo>
                <a:lnTo>
                  <a:pt x="391097" y="653058"/>
                </a:lnTo>
                <a:lnTo>
                  <a:pt x="396016" y="654288"/>
                </a:lnTo>
                <a:lnTo>
                  <a:pt x="435372" y="654288"/>
                </a:lnTo>
                <a:lnTo>
                  <a:pt x="435372" y="755137"/>
                </a:lnTo>
                <a:lnTo>
                  <a:pt x="436602" y="761286"/>
                </a:lnTo>
                <a:lnTo>
                  <a:pt x="440291" y="766206"/>
                </a:lnTo>
                <a:lnTo>
                  <a:pt x="445211" y="769895"/>
                </a:lnTo>
                <a:lnTo>
                  <a:pt x="451360" y="771125"/>
                </a:lnTo>
                <a:lnTo>
                  <a:pt x="457509" y="769895"/>
                </a:lnTo>
                <a:lnTo>
                  <a:pt x="462429" y="766206"/>
                </a:lnTo>
                <a:lnTo>
                  <a:pt x="466118" y="761286"/>
                </a:lnTo>
                <a:lnTo>
                  <a:pt x="467348" y="755137"/>
                </a:lnTo>
                <a:lnTo>
                  <a:pt x="467348" y="654288"/>
                </a:lnTo>
                <a:lnTo>
                  <a:pt x="488256" y="654288"/>
                </a:lnTo>
                <a:lnTo>
                  <a:pt x="488256" y="755137"/>
                </a:lnTo>
                <a:lnTo>
                  <a:pt x="489486" y="761286"/>
                </a:lnTo>
                <a:lnTo>
                  <a:pt x="493175" y="766206"/>
                </a:lnTo>
                <a:lnTo>
                  <a:pt x="498095" y="769895"/>
                </a:lnTo>
                <a:lnTo>
                  <a:pt x="504244" y="771125"/>
                </a:lnTo>
                <a:lnTo>
                  <a:pt x="510394" y="769895"/>
                </a:lnTo>
                <a:lnTo>
                  <a:pt x="515313" y="766206"/>
                </a:lnTo>
                <a:lnTo>
                  <a:pt x="519003" y="761286"/>
                </a:lnTo>
                <a:lnTo>
                  <a:pt x="520233" y="755137"/>
                </a:lnTo>
                <a:lnTo>
                  <a:pt x="520233" y="654288"/>
                </a:lnTo>
                <a:lnTo>
                  <a:pt x="557128" y="654288"/>
                </a:lnTo>
                <a:lnTo>
                  <a:pt x="560818" y="653058"/>
                </a:lnTo>
                <a:lnTo>
                  <a:pt x="564508" y="651828"/>
                </a:lnTo>
                <a:lnTo>
                  <a:pt x="568197" y="649368"/>
                </a:lnTo>
                <a:lnTo>
                  <a:pt x="570657" y="645679"/>
                </a:lnTo>
                <a:lnTo>
                  <a:pt x="573117" y="641989"/>
                </a:lnTo>
                <a:lnTo>
                  <a:pt x="573117" y="638300"/>
                </a:lnTo>
                <a:lnTo>
                  <a:pt x="573117" y="634610"/>
                </a:lnTo>
                <a:lnTo>
                  <a:pt x="571887" y="630920"/>
                </a:lnTo>
                <a:lnTo>
                  <a:pt x="490716" y="468578"/>
                </a:lnTo>
                <a:lnTo>
                  <a:pt x="488256" y="464888"/>
                </a:lnTo>
                <a:lnTo>
                  <a:pt x="484566" y="462429"/>
                </a:lnTo>
                <a:lnTo>
                  <a:pt x="480877" y="459969"/>
                </a:lnTo>
                <a:lnTo>
                  <a:pt x="475957" y="459969"/>
                </a:lnTo>
                <a:lnTo>
                  <a:pt x="472268" y="459969"/>
                </a:lnTo>
                <a:close/>
                <a:moveTo>
                  <a:pt x="873204" y="436602"/>
                </a:moveTo>
                <a:lnTo>
                  <a:pt x="873204" y="462429"/>
                </a:lnTo>
                <a:lnTo>
                  <a:pt x="937157" y="462429"/>
                </a:lnTo>
                <a:lnTo>
                  <a:pt x="937157" y="436602"/>
                </a:lnTo>
                <a:lnTo>
                  <a:pt x="873204" y="436602"/>
                </a:lnTo>
                <a:close/>
                <a:moveTo>
                  <a:pt x="780964" y="432912"/>
                </a:moveTo>
                <a:lnTo>
                  <a:pt x="787114" y="434142"/>
                </a:lnTo>
                <a:lnTo>
                  <a:pt x="793263" y="435372"/>
                </a:lnTo>
                <a:lnTo>
                  <a:pt x="796953" y="437832"/>
                </a:lnTo>
                <a:lnTo>
                  <a:pt x="801872" y="440291"/>
                </a:lnTo>
                <a:lnTo>
                  <a:pt x="805562" y="445211"/>
                </a:lnTo>
                <a:lnTo>
                  <a:pt x="806792" y="450130"/>
                </a:lnTo>
                <a:lnTo>
                  <a:pt x="809251" y="456279"/>
                </a:lnTo>
                <a:lnTo>
                  <a:pt x="809251" y="463659"/>
                </a:lnTo>
                <a:lnTo>
                  <a:pt x="809251" y="469808"/>
                </a:lnTo>
                <a:lnTo>
                  <a:pt x="806792" y="475957"/>
                </a:lnTo>
                <a:lnTo>
                  <a:pt x="805562" y="482107"/>
                </a:lnTo>
                <a:lnTo>
                  <a:pt x="801872" y="485796"/>
                </a:lnTo>
                <a:lnTo>
                  <a:pt x="798182" y="489486"/>
                </a:lnTo>
                <a:lnTo>
                  <a:pt x="793263" y="491945"/>
                </a:lnTo>
                <a:lnTo>
                  <a:pt x="787114" y="493175"/>
                </a:lnTo>
                <a:lnTo>
                  <a:pt x="780964" y="494405"/>
                </a:lnTo>
                <a:lnTo>
                  <a:pt x="774815" y="493175"/>
                </a:lnTo>
                <a:lnTo>
                  <a:pt x="769895" y="491945"/>
                </a:lnTo>
                <a:lnTo>
                  <a:pt x="764976" y="489486"/>
                </a:lnTo>
                <a:lnTo>
                  <a:pt x="760056" y="485796"/>
                </a:lnTo>
                <a:lnTo>
                  <a:pt x="757597" y="482107"/>
                </a:lnTo>
                <a:lnTo>
                  <a:pt x="755136" y="475957"/>
                </a:lnTo>
                <a:lnTo>
                  <a:pt x="753907" y="469808"/>
                </a:lnTo>
                <a:lnTo>
                  <a:pt x="752677" y="463659"/>
                </a:lnTo>
                <a:lnTo>
                  <a:pt x="753907" y="456279"/>
                </a:lnTo>
                <a:lnTo>
                  <a:pt x="755136" y="450130"/>
                </a:lnTo>
                <a:lnTo>
                  <a:pt x="757597" y="445211"/>
                </a:lnTo>
                <a:lnTo>
                  <a:pt x="760056" y="440291"/>
                </a:lnTo>
                <a:lnTo>
                  <a:pt x="764976" y="437832"/>
                </a:lnTo>
                <a:lnTo>
                  <a:pt x="769895" y="435372"/>
                </a:lnTo>
                <a:lnTo>
                  <a:pt x="774815" y="434142"/>
                </a:lnTo>
                <a:lnTo>
                  <a:pt x="780964" y="432912"/>
                </a:lnTo>
                <a:close/>
                <a:moveTo>
                  <a:pt x="776045" y="355431"/>
                </a:moveTo>
                <a:lnTo>
                  <a:pt x="780965" y="355431"/>
                </a:lnTo>
                <a:lnTo>
                  <a:pt x="787114" y="355431"/>
                </a:lnTo>
                <a:lnTo>
                  <a:pt x="792034" y="356661"/>
                </a:lnTo>
                <a:lnTo>
                  <a:pt x="795723" y="359121"/>
                </a:lnTo>
                <a:lnTo>
                  <a:pt x="799413" y="361580"/>
                </a:lnTo>
                <a:lnTo>
                  <a:pt x="801873" y="365270"/>
                </a:lnTo>
                <a:lnTo>
                  <a:pt x="804332" y="368960"/>
                </a:lnTo>
                <a:lnTo>
                  <a:pt x="805562" y="373879"/>
                </a:lnTo>
                <a:lnTo>
                  <a:pt x="805562" y="380029"/>
                </a:lnTo>
                <a:lnTo>
                  <a:pt x="805562" y="384948"/>
                </a:lnTo>
                <a:lnTo>
                  <a:pt x="804332" y="389868"/>
                </a:lnTo>
                <a:lnTo>
                  <a:pt x="801873" y="393557"/>
                </a:lnTo>
                <a:lnTo>
                  <a:pt x="799413" y="397247"/>
                </a:lnTo>
                <a:lnTo>
                  <a:pt x="795723" y="399707"/>
                </a:lnTo>
                <a:lnTo>
                  <a:pt x="792034" y="402166"/>
                </a:lnTo>
                <a:lnTo>
                  <a:pt x="787114" y="403396"/>
                </a:lnTo>
                <a:lnTo>
                  <a:pt x="780965" y="403396"/>
                </a:lnTo>
                <a:lnTo>
                  <a:pt x="776045" y="403396"/>
                </a:lnTo>
                <a:lnTo>
                  <a:pt x="771126" y="402166"/>
                </a:lnTo>
                <a:lnTo>
                  <a:pt x="766206" y="399707"/>
                </a:lnTo>
                <a:lnTo>
                  <a:pt x="762517" y="397247"/>
                </a:lnTo>
                <a:lnTo>
                  <a:pt x="760057" y="393557"/>
                </a:lnTo>
                <a:lnTo>
                  <a:pt x="757597" y="389868"/>
                </a:lnTo>
                <a:lnTo>
                  <a:pt x="756367" y="384948"/>
                </a:lnTo>
                <a:lnTo>
                  <a:pt x="756367" y="380029"/>
                </a:lnTo>
                <a:lnTo>
                  <a:pt x="756367" y="373879"/>
                </a:lnTo>
                <a:lnTo>
                  <a:pt x="757597" y="368960"/>
                </a:lnTo>
                <a:lnTo>
                  <a:pt x="760057" y="365270"/>
                </a:lnTo>
                <a:lnTo>
                  <a:pt x="762517" y="361580"/>
                </a:lnTo>
                <a:lnTo>
                  <a:pt x="766206" y="359121"/>
                </a:lnTo>
                <a:lnTo>
                  <a:pt x="771126" y="356661"/>
                </a:lnTo>
                <a:lnTo>
                  <a:pt x="776045" y="355431"/>
                </a:lnTo>
                <a:close/>
                <a:moveTo>
                  <a:pt x="641989" y="325914"/>
                </a:moveTo>
                <a:lnTo>
                  <a:pt x="633380" y="335753"/>
                </a:lnTo>
                <a:lnTo>
                  <a:pt x="624771" y="343132"/>
                </a:lnTo>
                <a:lnTo>
                  <a:pt x="614932" y="350511"/>
                </a:lnTo>
                <a:lnTo>
                  <a:pt x="603863" y="356660"/>
                </a:lnTo>
                <a:lnTo>
                  <a:pt x="603863" y="393556"/>
                </a:lnTo>
                <a:lnTo>
                  <a:pt x="621081" y="382488"/>
                </a:lnTo>
                <a:lnTo>
                  <a:pt x="637069" y="371419"/>
                </a:lnTo>
                <a:lnTo>
                  <a:pt x="637069" y="521462"/>
                </a:lnTo>
                <a:lnTo>
                  <a:pt x="678885" y="521462"/>
                </a:lnTo>
                <a:lnTo>
                  <a:pt x="678885" y="325914"/>
                </a:lnTo>
                <a:lnTo>
                  <a:pt x="641989" y="325914"/>
                </a:lnTo>
                <a:close/>
                <a:moveTo>
                  <a:pt x="767435" y="324684"/>
                </a:moveTo>
                <a:lnTo>
                  <a:pt x="755137" y="328373"/>
                </a:lnTo>
                <a:lnTo>
                  <a:pt x="744068" y="332063"/>
                </a:lnTo>
                <a:lnTo>
                  <a:pt x="735459" y="339442"/>
                </a:lnTo>
                <a:lnTo>
                  <a:pt x="728079" y="346821"/>
                </a:lnTo>
                <a:lnTo>
                  <a:pt x="723160" y="355430"/>
                </a:lnTo>
                <a:lnTo>
                  <a:pt x="720700" y="365269"/>
                </a:lnTo>
                <a:lnTo>
                  <a:pt x="719470" y="375108"/>
                </a:lnTo>
                <a:lnTo>
                  <a:pt x="720700" y="384947"/>
                </a:lnTo>
                <a:lnTo>
                  <a:pt x="724390" y="396016"/>
                </a:lnTo>
                <a:lnTo>
                  <a:pt x="726849" y="400936"/>
                </a:lnTo>
                <a:lnTo>
                  <a:pt x="730539" y="407085"/>
                </a:lnTo>
                <a:lnTo>
                  <a:pt x="735459" y="412004"/>
                </a:lnTo>
                <a:lnTo>
                  <a:pt x="742838" y="416924"/>
                </a:lnTo>
                <a:lnTo>
                  <a:pt x="735459" y="420613"/>
                </a:lnTo>
                <a:lnTo>
                  <a:pt x="729309" y="424303"/>
                </a:lnTo>
                <a:lnTo>
                  <a:pt x="724390" y="430452"/>
                </a:lnTo>
                <a:lnTo>
                  <a:pt x="720700" y="436602"/>
                </a:lnTo>
                <a:lnTo>
                  <a:pt x="717010" y="442751"/>
                </a:lnTo>
                <a:lnTo>
                  <a:pt x="714551" y="450130"/>
                </a:lnTo>
                <a:lnTo>
                  <a:pt x="713321" y="457509"/>
                </a:lnTo>
                <a:lnTo>
                  <a:pt x="713321" y="466118"/>
                </a:lnTo>
                <a:lnTo>
                  <a:pt x="714551" y="478417"/>
                </a:lnTo>
                <a:lnTo>
                  <a:pt x="717010" y="489486"/>
                </a:lnTo>
                <a:lnTo>
                  <a:pt x="723160" y="499325"/>
                </a:lnTo>
                <a:lnTo>
                  <a:pt x="730539" y="507934"/>
                </a:lnTo>
                <a:lnTo>
                  <a:pt x="739148" y="515313"/>
                </a:lnTo>
                <a:lnTo>
                  <a:pt x="751447" y="521462"/>
                </a:lnTo>
                <a:lnTo>
                  <a:pt x="763746" y="523922"/>
                </a:lnTo>
                <a:lnTo>
                  <a:pt x="779734" y="525152"/>
                </a:lnTo>
                <a:lnTo>
                  <a:pt x="794492" y="523922"/>
                </a:lnTo>
                <a:lnTo>
                  <a:pt x="809251" y="521462"/>
                </a:lnTo>
                <a:lnTo>
                  <a:pt x="820319" y="515313"/>
                </a:lnTo>
                <a:lnTo>
                  <a:pt x="830158" y="507934"/>
                </a:lnTo>
                <a:lnTo>
                  <a:pt x="838767" y="499325"/>
                </a:lnTo>
                <a:lnTo>
                  <a:pt x="843687" y="489486"/>
                </a:lnTo>
                <a:lnTo>
                  <a:pt x="847376" y="478417"/>
                </a:lnTo>
                <a:lnTo>
                  <a:pt x="848606" y="466118"/>
                </a:lnTo>
                <a:lnTo>
                  <a:pt x="848606" y="457509"/>
                </a:lnTo>
                <a:lnTo>
                  <a:pt x="847376" y="450130"/>
                </a:lnTo>
                <a:lnTo>
                  <a:pt x="844917" y="442751"/>
                </a:lnTo>
                <a:lnTo>
                  <a:pt x="841227" y="436602"/>
                </a:lnTo>
                <a:lnTo>
                  <a:pt x="837537" y="430452"/>
                </a:lnTo>
                <a:lnTo>
                  <a:pt x="832618" y="424303"/>
                </a:lnTo>
                <a:lnTo>
                  <a:pt x="826469" y="419383"/>
                </a:lnTo>
                <a:lnTo>
                  <a:pt x="820319" y="414464"/>
                </a:lnTo>
                <a:lnTo>
                  <a:pt x="826469" y="410774"/>
                </a:lnTo>
                <a:lnTo>
                  <a:pt x="831388" y="405855"/>
                </a:lnTo>
                <a:lnTo>
                  <a:pt x="835078" y="400936"/>
                </a:lnTo>
                <a:lnTo>
                  <a:pt x="837537" y="396016"/>
                </a:lnTo>
                <a:lnTo>
                  <a:pt x="841227" y="384947"/>
                </a:lnTo>
                <a:lnTo>
                  <a:pt x="842457" y="375108"/>
                </a:lnTo>
                <a:lnTo>
                  <a:pt x="841227" y="365269"/>
                </a:lnTo>
                <a:lnTo>
                  <a:pt x="838767" y="355430"/>
                </a:lnTo>
                <a:lnTo>
                  <a:pt x="833848" y="346821"/>
                </a:lnTo>
                <a:lnTo>
                  <a:pt x="826469" y="339442"/>
                </a:lnTo>
                <a:lnTo>
                  <a:pt x="817860" y="332063"/>
                </a:lnTo>
                <a:lnTo>
                  <a:pt x="806791" y="328373"/>
                </a:lnTo>
                <a:lnTo>
                  <a:pt x="794492" y="324684"/>
                </a:lnTo>
                <a:lnTo>
                  <a:pt x="780964" y="324684"/>
                </a:lnTo>
                <a:lnTo>
                  <a:pt x="767435" y="324684"/>
                </a:lnTo>
                <a:close/>
                <a:moveTo>
                  <a:pt x="475957" y="316075"/>
                </a:moveTo>
                <a:lnTo>
                  <a:pt x="463658" y="317305"/>
                </a:lnTo>
                <a:lnTo>
                  <a:pt x="451360" y="320994"/>
                </a:lnTo>
                <a:lnTo>
                  <a:pt x="441521" y="325914"/>
                </a:lnTo>
                <a:lnTo>
                  <a:pt x="431682" y="334523"/>
                </a:lnTo>
                <a:lnTo>
                  <a:pt x="424303" y="343132"/>
                </a:lnTo>
                <a:lnTo>
                  <a:pt x="418153" y="354201"/>
                </a:lnTo>
                <a:lnTo>
                  <a:pt x="414464" y="366499"/>
                </a:lnTo>
                <a:lnTo>
                  <a:pt x="413234" y="378798"/>
                </a:lnTo>
                <a:lnTo>
                  <a:pt x="414464" y="391097"/>
                </a:lnTo>
                <a:lnTo>
                  <a:pt x="418153" y="403395"/>
                </a:lnTo>
                <a:lnTo>
                  <a:pt x="424303" y="414464"/>
                </a:lnTo>
                <a:lnTo>
                  <a:pt x="431682" y="423073"/>
                </a:lnTo>
                <a:lnTo>
                  <a:pt x="441521" y="430452"/>
                </a:lnTo>
                <a:lnTo>
                  <a:pt x="451360" y="436601"/>
                </a:lnTo>
                <a:lnTo>
                  <a:pt x="463658" y="440291"/>
                </a:lnTo>
                <a:lnTo>
                  <a:pt x="475957" y="441521"/>
                </a:lnTo>
                <a:lnTo>
                  <a:pt x="489485" y="440291"/>
                </a:lnTo>
                <a:lnTo>
                  <a:pt x="500554" y="436601"/>
                </a:lnTo>
                <a:lnTo>
                  <a:pt x="511623" y="430452"/>
                </a:lnTo>
                <a:lnTo>
                  <a:pt x="521462" y="423073"/>
                </a:lnTo>
                <a:lnTo>
                  <a:pt x="528841" y="414464"/>
                </a:lnTo>
                <a:lnTo>
                  <a:pt x="534990" y="403395"/>
                </a:lnTo>
                <a:lnTo>
                  <a:pt x="538680" y="391097"/>
                </a:lnTo>
                <a:lnTo>
                  <a:pt x="539910" y="378798"/>
                </a:lnTo>
                <a:lnTo>
                  <a:pt x="538680" y="366499"/>
                </a:lnTo>
                <a:lnTo>
                  <a:pt x="534990" y="354201"/>
                </a:lnTo>
                <a:lnTo>
                  <a:pt x="528841" y="343132"/>
                </a:lnTo>
                <a:lnTo>
                  <a:pt x="521462" y="334523"/>
                </a:lnTo>
                <a:lnTo>
                  <a:pt x="511623" y="325914"/>
                </a:lnTo>
                <a:lnTo>
                  <a:pt x="500554" y="320994"/>
                </a:lnTo>
                <a:lnTo>
                  <a:pt x="489485" y="317305"/>
                </a:lnTo>
                <a:lnTo>
                  <a:pt x="475957" y="316075"/>
                </a:lnTo>
                <a:close/>
                <a:moveTo>
                  <a:pt x="263191" y="316075"/>
                </a:moveTo>
                <a:lnTo>
                  <a:pt x="250892" y="317305"/>
                </a:lnTo>
                <a:lnTo>
                  <a:pt x="239823" y="320994"/>
                </a:lnTo>
                <a:lnTo>
                  <a:pt x="228755" y="325914"/>
                </a:lnTo>
                <a:lnTo>
                  <a:pt x="218916" y="334523"/>
                </a:lnTo>
                <a:lnTo>
                  <a:pt x="211537" y="343132"/>
                </a:lnTo>
                <a:lnTo>
                  <a:pt x="205387" y="354201"/>
                </a:lnTo>
                <a:lnTo>
                  <a:pt x="201698" y="366499"/>
                </a:lnTo>
                <a:lnTo>
                  <a:pt x="200468" y="378798"/>
                </a:lnTo>
                <a:lnTo>
                  <a:pt x="201698" y="391097"/>
                </a:lnTo>
                <a:lnTo>
                  <a:pt x="205387" y="403395"/>
                </a:lnTo>
                <a:lnTo>
                  <a:pt x="211537" y="414464"/>
                </a:lnTo>
                <a:lnTo>
                  <a:pt x="218916" y="423073"/>
                </a:lnTo>
                <a:lnTo>
                  <a:pt x="228755" y="430452"/>
                </a:lnTo>
                <a:lnTo>
                  <a:pt x="239823" y="436601"/>
                </a:lnTo>
                <a:lnTo>
                  <a:pt x="250892" y="440291"/>
                </a:lnTo>
                <a:lnTo>
                  <a:pt x="263191" y="441521"/>
                </a:lnTo>
                <a:lnTo>
                  <a:pt x="276719" y="440291"/>
                </a:lnTo>
                <a:lnTo>
                  <a:pt x="287788" y="436601"/>
                </a:lnTo>
                <a:lnTo>
                  <a:pt x="298857" y="430452"/>
                </a:lnTo>
                <a:lnTo>
                  <a:pt x="308696" y="423073"/>
                </a:lnTo>
                <a:lnTo>
                  <a:pt x="316075" y="414464"/>
                </a:lnTo>
                <a:lnTo>
                  <a:pt x="322224" y="403395"/>
                </a:lnTo>
                <a:lnTo>
                  <a:pt x="325914" y="391097"/>
                </a:lnTo>
                <a:lnTo>
                  <a:pt x="327144" y="378798"/>
                </a:lnTo>
                <a:lnTo>
                  <a:pt x="325914" y="366499"/>
                </a:lnTo>
                <a:lnTo>
                  <a:pt x="322224" y="354201"/>
                </a:lnTo>
                <a:lnTo>
                  <a:pt x="316075" y="343132"/>
                </a:lnTo>
                <a:lnTo>
                  <a:pt x="308696" y="334523"/>
                </a:lnTo>
                <a:lnTo>
                  <a:pt x="298857" y="325914"/>
                </a:lnTo>
                <a:lnTo>
                  <a:pt x="287788" y="320994"/>
                </a:lnTo>
                <a:lnTo>
                  <a:pt x="276719" y="317305"/>
                </a:lnTo>
                <a:lnTo>
                  <a:pt x="263191" y="316075"/>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39" name="TextBox 38"/>
          <p:cNvSpPr txBox="1">
            <a:spLocks noChangeArrowheads="1"/>
          </p:cNvSpPr>
          <p:nvPr userDrawn="1"/>
        </p:nvSpPr>
        <p:spPr bwMode="auto">
          <a:xfrm>
            <a:off x="343759" y="6132060"/>
            <a:ext cx="110254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 Female</a:t>
            </a:r>
          </a:p>
        </p:txBody>
      </p:sp>
      <p:sp>
        <p:nvSpPr>
          <p:cNvPr id="40" name="Freeform 31"/>
          <p:cNvSpPr>
            <a:spLocks/>
          </p:cNvSpPr>
          <p:nvPr userDrawn="1"/>
        </p:nvSpPr>
        <p:spPr bwMode="auto">
          <a:xfrm>
            <a:off x="265033" y="4864973"/>
            <a:ext cx="1260000" cy="1260000"/>
          </a:xfrm>
          <a:custGeom>
            <a:avLst/>
            <a:gdLst>
              <a:gd name="T0" fmla="*/ 607553 w 1087200"/>
              <a:gd name="T1" fmla="*/ 669046 h 1087200"/>
              <a:gd name="T2" fmla="*/ 732998 w 1087200"/>
              <a:gd name="T3" fmla="*/ 745297 h 1087200"/>
              <a:gd name="T4" fmla="*/ 719470 w 1087200"/>
              <a:gd name="T5" fmla="*/ 549749 h 1087200"/>
              <a:gd name="T6" fmla="*/ 643218 w 1087200"/>
              <a:gd name="T7" fmla="*/ 699792 h 1087200"/>
              <a:gd name="T8" fmla="*/ 344361 w 1087200"/>
              <a:gd name="T9" fmla="*/ 432912 h 1087200"/>
              <a:gd name="T10" fmla="*/ 222605 w 1087200"/>
              <a:gd name="T11" fmla="*/ 675195 h 1087200"/>
              <a:gd name="T12" fmla="*/ 295167 w 1087200"/>
              <a:gd name="T13" fmla="*/ 825238 h 1087200"/>
              <a:gd name="T14" fmla="*/ 312385 w 1087200"/>
              <a:gd name="T15" fmla="*/ 846146 h 1087200"/>
              <a:gd name="T16" fmla="*/ 336982 w 1087200"/>
              <a:gd name="T17" fmla="*/ 832618 h 1087200"/>
              <a:gd name="T18" fmla="*/ 367729 w 1087200"/>
              <a:gd name="T19" fmla="*/ 832618 h 1087200"/>
              <a:gd name="T20" fmla="*/ 391096 w 1087200"/>
              <a:gd name="T21" fmla="*/ 846146 h 1087200"/>
              <a:gd name="T22" fmla="*/ 408315 w 1087200"/>
              <a:gd name="T23" fmla="*/ 825238 h 1087200"/>
              <a:gd name="T24" fmla="*/ 478417 w 1087200"/>
              <a:gd name="T25" fmla="*/ 675195 h 1087200"/>
              <a:gd name="T26" fmla="*/ 356660 w 1087200"/>
              <a:gd name="T27" fmla="*/ 432912 h 1087200"/>
              <a:gd name="T28" fmla="*/ 746528 w 1087200"/>
              <a:gd name="T29" fmla="*/ 435371 h 1087200"/>
              <a:gd name="T30" fmla="*/ 742838 w 1087200"/>
              <a:gd name="T31" fmla="*/ 475957 h 1087200"/>
              <a:gd name="T32" fmla="*/ 705942 w 1087200"/>
              <a:gd name="T33" fmla="*/ 479646 h 1087200"/>
              <a:gd name="T34" fmla="*/ 696103 w 1087200"/>
              <a:gd name="T35" fmla="*/ 440291 h 1087200"/>
              <a:gd name="T36" fmla="*/ 817859 w 1087200"/>
              <a:gd name="T37" fmla="*/ 412005 h 1087200"/>
              <a:gd name="T38" fmla="*/ 728080 w 1087200"/>
              <a:gd name="T39" fmla="*/ 345592 h 1087200"/>
              <a:gd name="T40" fmla="*/ 746528 w 1087200"/>
              <a:gd name="T41" fmla="*/ 370189 h 1087200"/>
              <a:gd name="T42" fmla="*/ 728080 w 1087200"/>
              <a:gd name="T43" fmla="*/ 393557 h 1087200"/>
              <a:gd name="T44" fmla="*/ 698563 w 1087200"/>
              <a:gd name="T45" fmla="*/ 380028 h 1087200"/>
              <a:gd name="T46" fmla="*/ 707172 w 1087200"/>
              <a:gd name="T47" fmla="*/ 349281 h 1087200"/>
              <a:gd name="T48" fmla="*/ 544829 w 1087200"/>
              <a:gd name="T49" fmla="*/ 346821 h 1087200"/>
              <a:gd name="T50" fmla="*/ 582955 w 1087200"/>
              <a:gd name="T51" fmla="*/ 316075 h 1087200"/>
              <a:gd name="T52" fmla="*/ 661666 w 1087200"/>
              <a:gd name="T53" fmla="*/ 355430 h 1087200"/>
              <a:gd name="T54" fmla="*/ 683804 w 1087200"/>
              <a:gd name="T55" fmla="*/ 407085 h 1087200"/>
              <a:gd name="T56" fmla="*/ 654287 w 1087200"/>
              <a:gd name="T57" fmla="*/ 447670 h 1087200"/>
              <a:gd name="T58" fmla="*/ 692413 w 1087200"/>
              <a:gd name="T59" fmla="*/ 511623 h 1087200"/>
              <a:gd name="T60" fmla="*/ 779733 w 1087200"/>
              <a:gd name="T61" fmla="*/ 489486 h 1087200"/>
              <a:gd name="T62" fmla="*/ 782193 w 1087200"/>
              <a:gd name="T63" fmla="*/ 426763 h 1087200"/>
              <a:gd name="T64" fmla="*/ 776044 w 1087200"/>
              <a:gd name="T65" fmla="*/ 391097 h 1087200"/>
              <a:gd name="T66" fmla="*/ 767435 w 1087200"/>
              <a:gd name="T67" fmla="*/ 329603 h 1087200"/>
              <a:gd name="T68" fmla="*/ 333293 w 1087200"/>
              <a:gd name="T69" fmla="*/ 242283 h 1087200"/>
              <a:gd name="T70" fmla="*/ 285328 w 1087200"/>
              <a:gd name="T71" fmla="*/ 271800 h 1087200"/>
              <a:gd name="T72" fmla="*/ 266880 w 1087200"/>
              <a:gd name="T73" fmla="*/ 324684 h 1087200"/>
              <a:gd name="T74" fmla="*/ 285328 w 1087200"/>
              <a:gd name="T75" fmla="*/ 377568 h 1087200"/>
              <a:gd name="T76" fmla="*/ 333293 w 1087200"/>
              <a:gd name="T77" fmla="*/ 407085 h 1087200"/>
              <a:gd name="T78" fmla="*/ 389867 w 1087200"/>
              <a:gd name="T79" fmla="*/ 398476 h 1087200"/>
              <a:gd name="T80" fmla="*/ 427993 w 1087200"/>
              <a:gd name="T81" fmla="*/ 356660 h 1087200"/>
              <a:gd name="T82" fmla="*/ 430452 w 1087200"/>
              <a:gd name="T83" fmla="*/ 300087 h 1087200"/>
              <a:gd name="T84" fmla="*/ 397246 w 1087200"/>
              <a:gd name="T85" fmla="*/ 254581 h 1087200"/>
              <a:gd name="T86" fmla="*/ 341902 w 1087200"/>
              <a:gd name="T87" fmla="*/ 241053 h 1087200"/>
              <a:gd name="T88" fmla="*/ 680115 w 1087200"/>
              <a:gd name="T89" fmla="*/ 17218 h 1087200"/>
              <a:gd name="T90" fmla="*/ 847377 w 1087200"/>
              <a:gd name="T91" fmla="*/ 92240 h 1087200"/>
              <a:gd name="T92" fmla="*/ 978972 w 1087200"/>
              <a:gd name="T93" fmla="*/ 217686 h 1087200"/>
              <a:gd name="T94" fmla="*/ 1062603 w 1087200"/>
              <a:gd name="T95" fmla="*/ 382488 h 1087200"/>
              <a:gd name="T96" fmla="*/ 1087200 w 1087200"/>
              <a:gd name="T97" fmla="*/ 571887 h 1087200"/>
              <a:gd name="T98" fmla="*/ 1044155 w 1087200"/>
              <a:gd name="T99" fmla="*/ 755137 h 1087200"/>
              <a:gd name="T100" fmla="*/ 945766 w 1087200"/>
              <a:gd name="T101" fmla="*/ 908870 h 1087200"/>
              <a:gd name="T102" fmla="*/ 803102 w 1087200"/>
              <a:gd name="T103" fmla="*/ 1022017 h 1087200"/>
              <a:gd name="T104" fmla="*/ 626001 w 1087200"/>
              <a:gd name="T105" fmla="*/ 1081051 h 1087200"/>
              <a:gd name="T106" fmla="*/ 434142 w 1087200"/>
              <a:gd name="T107" fmla="*/ 1076131 h 1087200"/>
              <a:gd name="T108" fmla="*/ 261961 w 1087200"/>
              <a:gd name="T109" fmla="*/ 1008489 h 1087200"/>
              <a:gd name="T110" fmla="*/ 124216 w 1087200"/>
              <a:gd name="T111" fmla="*/ 889192 h 1087200"/>
              <a:gd name="T112" fmla="*/ 33206 w 1087200"/>
              <a:gd name="T113" fmla="*/ 730540 h 1087200"/>
              <a:gd name="T114" fmla="*/ 0 w 1087200"/>
              <a:gd name="T115" fmla="*/ 543600 h 1087200"/>
              <a:gd name="T116" fmla="*/ 33206 w 1087200"/>
              <a:gd name="T117" fmla="*/ 356661 h 1087200"/>
              <a:gd name="T118" fmla="*/ 124216 w 1087200"/>
              <a:gd name="T119" fmla="*/ 198008 h 1087200"/>
              <a:gd name="T120" fmla="*/ 261961 w 1087200"/>
              <a:gd name="T121" fmla="*/ 78711 h 1087200"/>
              <a:gd name="T122" fmla="*/ 434142 w 1087200"/>
              <a:gd name="T123"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7200" h="1087200">
                <a:moveTo>
                  <a:pt x="737918" y="576806"/>
                </a:moveTo>
                <a:lnTo>
                  <a:pt x="739148" y="576806"/>
                </a:lnTo>
                <a:lnTo>
                  <a:pt x="736688" y="670276"/>
                </a:lnTo>
                <a:lnTo>
                  <a:pt x="702252" y="670276"/>
                </a:lnTo>
                <a:lnTo>
                  <a:pt x="737918" y="576806"/>
                </a:lnTo>
                <a:close/>
                <a:moveTo>
                  <a:pt x="610013" y="575576"/>
                </a:moveTo>
                <a:lnTo>
                  <a:pt x="607553" y="669046"/>
                </a:lnTo>
                <a:lnTo>
                  <a:pt x="574347" y="669046"/>
                </a:lnTo>
                <a:lnTo>
                  <a:pt x="610013" y="575576"/>
                </a:lnTo>
                <a:close/>
                <a:moveTo>
                  <a:pt x="719470" y="549749"/>
                </a:moveTo>
                <a:lnTo>
                  <a:pt x="672735" y="661667"/>
                </a:lnTo>
                <a:lnTo>
                  <a:pt x="672735" y="701022"/>
                </a:lnTo>
                <a:lnTo>
                  <a:pt x="732998" y="701022"/>
                </a:lnTo>
                <a:lnTo>
                  <a:pt x="732998" y="745297"/>
                </a:lnTo>
                <a:lnTo>
                  <a:pt x="771124" y="745297"/>
                </a:lnTo>
                <a:lnTo>
                  <a:pt x="771124" y="701022"/>
                </a:lnTo>
                <a:lnTo>
                  <a:pt x="787112" y="701022"/>
                </a:lnTo>
                <a:lnTo>
                  <a:pt x="787112" y="670276"/>
                </a:lnTo>
                <a:lnTo>
                  <a:pt x="771124" y="670276"/>
                </a:lnTo>
                <a:lnTo>
                  <a:pt x="771124" y="549749"/>
                </a:lnTo>
                <a:lnTo>
                  <a:pt x="719470" y="549749"/>
                </a:lnTo>
                <a:close/>
                <a:moveTo>
                  <a:pt x="591563" y="548519"/>
                </a:moveTo>
                <a:lnTo>
                  <a:pt x="543599" y="659207"/>
                </a:lnTo>
                <a:lnTo>
                  <a:pt x="543599" y="699792"/>
                </a:lnTo>
                <a:lnTo>
                  <a:pt x="603862" y="699792"/>
                </a:lnTo>
                <a:lnTo>
                  <a:pt x="603862" y="744067"/>
                </a:lnTo>
                <a:lnTo>
                  <a:pt x="643218" y="744067"/>
                </a:lnTo>
                <a:lnTo>
                  <a:pt x="643218" y="699792"/>
                </a:lnTo>
                <a:lnTo>
                  <a:pt x="657976" y="699792"/>
                </a:lnTo>
                <a:lnTo>
                  <a:pt x="657976" y="669046"/>
                </a:lnTo>
                <a:lnTo>
                  <a:pt x="643218" y="669046"/>
                </a:lnTo>
                <a:lnTo>
                  <a:pt x="643218" y="548519"/>
                </a:lnTo>
                <a:lnTo>
                  <a:pt x="591563" y="548519"/>
                </a:lnTo>
                <a:close/>
                <a:moveTo>
                  <a:pt x="350511" y="431682"/>
                </a:moveTo>
                <a:lnTo>
                  <a:pt x="344361" y="432912"/>
                </a:lnTo>
                <a:lnTo>
                  <a:pt x="339442" y="435371"/>
                </a:lnTo>
                <a:lnTo>
                  <a:pt x="334523" y="439061"/>
                </a:lnTo>
                <a:lnTo>
                  <a:pt x="330833" y="443981"/>
                </a:lnTo>
                <a:lnTo>
                  <a:pt x="223835" y="659207"/>
                </a:lnTo>
                <a:lnTo>
                  <a:pt x="222605" y="664126"/>
                </a:lnTo>
                <a:lnTo>
                  <a:pt x="221375" y="670276"/>
                </a:lnTo>
                <a:lnTo>
                  <a:pt x="222605" y="675195"/>
                </a:lnTo>
                <a:lnTo>
                  <a:pt x="225064" y="680115"/>
                </a:lnTo>
                <a:lnTo>
                  <a:pt x="228754" y="683804"/>
                </a:lnTo>
                <a:lnTo>
                  <a:pt x="232444" y="687494"/>
                </a:lnTo>
                <a:lnTo>
                  <a:pt x="237363" y="689953"/>
                </a:lnTo>
                <a:lnTo>
                  <a:pt x="243512" y="689953"/>
                </a:lnTo>
                <a:lnTo>
                  <a:pt x="295167" y="689953"/>
                </a:lnTo>
                <a:lnTo>
                  <a:pt x="295167" y="825238"/>
                </a:lnTo>
                <a:lnTo>
                  <a:pt x="296397" y="828928"/>
                </a:lnTo>
                <a:lnTo>
                  <a:pt x="297627" y="832618"/>
                </a:lnTo>
                <a:lnTo>
                  <a:pt x="298856" y="836307"/>
                </a:lnTo>
                <a:lnTo>
                  <a:pt x="301316" y="839997"/>
                </a:lnTo>
                <a:lnTo>
                  <a:pt x="305006" y="842457"/>
                </a:lnTo>
                <a:lnTo>
                  <a:pt x="308695" y="844916"/>
                </a:lnTo>
                <a:lnTo>
                  <a:pt x="312385" y="846146"/>
                </a:lnTo>
                <a:lnTo>
                  <a:pt x="317304" y="846146"/>
                </a:lnTo>
                <a:lnTo>
                  <a:pt x="320994" y="846146"/>
                </a:lnTo>
                <a:lnTo>
                  <a:pt x="324684" y="844916"/>
                </a:lnTo>
                <a:lnTo>
                  <a:pt x="328373" y="842457"/>
                </a:lnTo>
                <a:lnTo>
                  <a:pt x="332063" y="839997"/>
                </a:lnTo>
                <a:lnTo>
                  <a:pt x="334523" y="836307"/>
                </a:lnTo>
                <a:lnTo>
                  <a:pt x="336982" y="832618"/>
                </a:lnTo>
                <a:lnTo>
                  <a:pt x="338212" y="828928"/>
                </a:lnTo>
                <a:lnTo>
                  <a:pt x="338212" y="825238"/>
                </a:lnTo>
                <a:lnTo>
                  <a:pt x="338212" y="689953"/>
                </a:lnTo>
                <a:lnTo>
                  <a:pt x="365269" y="689953"/>
                </a:lnTo>
                <a:lnTo>
                  <a:pt x="365269" y="825238"/>
                </a:lnTo>
                <a:lnTo>
                  <a:pt x="366499" y="828928"/>
                </a:lnTo>
                <a:lnTo>
                  <a:pt x="367729" y="832618"/>
                </a:lnTo>
                <a:lnTo>
                  <a:pt x="368959" y="836307"/>
                </a:lnTo>
                <a:lnTo>
                  <a:pt x="372648" y="839997"/>
                </a:lnTo>
                <a:lnTo>
                  <a:pt x="375108" y="842457"/>
                </a:lnTo>
                <a:lnTo>
                  <a:pt x="378798" y="844916"/>
                </a:lnTo>
                <a:lnTo>
                  <a:pt x="382487" y="846146"/>
                </a:lnTo>
                <a:lnTo>
                  <a:pt x="387407" y="846146"/>
                </a:lnTo>
                <a:lnTo>
                  <a:pt x="391096" y="846146"/>
                </a:lnTo>
                <a:lnTo>
                  <a:pt x="396016" y="844916"/>
                </a:lnTo>
                <a:lnTo>
                  <a:pt x="399705" y="842457"/>
                </a:lnTo>
                <a:lnTo>
                  <a:pt x="402165" y="839997"/>
                </a:lnTo>
                <a:lnTo>
                  <a:pt x="404625" y="836307"/>
                </a:lnTo>
                <a:lnTo>
                  <a:pt x="407085" y="832618"/>
                </a:lnTo>
                <a:lnTo>
                  <a:pt x="408315" y="828928"/>
                </a:lnTo>
                <a:lnTo>
                  <a:pt x="408315" y="825238"/>
                </a:lnTo>
                <a:lnTo>
                  <a:pt x="408315" y="689953"/>
                </a:lnTo>
                <a:lnTo>
                  <a:pt x="457509" y="689953"/>
                </a:lnTo>
                <a:lnTo>
                  <a:pt x="462429" y="689953"/>
                </a:lnTo>
                <a:lnTo>
                  <a:pt x="468578" y="687494"/>
                </a:lnTo>
                <a:lnTo>
                  <a:pt x="472268" y="683804"/>
                </a:lnTo>
                <a:lnTo>
                  <a:pt x="475957" y="680115"/>
                </a:lnTo>
                <a:lnTo>
                  <a:pt x="478417" y="675195"/>
                </a:lnTo>
                <a:lnTo>
                  <a:pt x="478417" y="670276"/>
                </a:lnTo>
                <a:lnTo>
                  <a:pt x="478417" y="664126"/>
                </a:lnTo>
                <a:lnTo>
                  <a:pt x="477187" y="659207"/>
                </a:lnTo>
                <a:lnTo>
                  <a:pt x="368959" y="443981"/>
                </a:lnTo>
                <a:lnTo>
                  <a:pt x="366499" y="439061"/>
                </a:lnTo>
                <a:lnTo>
                  <a:pt x="361580" y="435371"/>
                </a:lnTo>
                <a:lnTo>
                  <a:pt x="356660" y="432912"/>
                </a:lnTo>
                <a:lnTo>
                  <a:pt x="350511" y="431682"/>
                </a:lnTo>
                <a:close/>
                <a:moveTo>
                  <a:pt x="721930" y="423073"/>
                </a:moveTo>
                <a:lnTo>
                  <a:pt x="728079" y="424303"/>
                </a:lnTo>
                <a:lnTo>
                  <a:pt x="734229" y="425533"/>
                </a:lnTo>
                <a:lnTo>
                  <a:pt x="737918" y="427992"/>
                </a:lnTo>
                <a:lnTo>
                  <a:pt x="742838" y="430452"/>
                </a:lnTo>
                <a:lnTo>
                  <a:pt x="746528" y="435371"/>
                </a:lnTo>
                <a:lnTo>
                  <a:pt x="747757" y="440291"/>
                </a:lnTo>
                <a:lnTo>
                  <a:pt x="750217" y="446440"/>
                </a:lnTo>
                <a:lnTo>
                  <a:pt x="750217" y="453819"/>
                </a:lnTo>
                <a:lnTo>
                  <a:pt x="750217" y="459969"/>
                </a:lnTo>
                <a:lnTo>
                  <a:pt x="747757" y="466118"/>
                </a:lnTo>
                <a:lnTo>
                  <a:pt x="746528" y="472267"/>
                </a:lnTo>
                <a:lnTo>
                  <a:pt x="742838" y="475957"/>
                </a:lnTo>
                <a:lnTo>
                  <a:pt x="739148" y="479646"/>
                </a:lnTo>
                <a:lnTo>
                  <a:pt x="734229" y="482106"/>
                </a:lnTo>
                <a:lnTo>
                  <a:pt x="728079" y="483336"/>
                </a:lnTo>
                <a:lnTo>
                  <a:pt x="721930" y="484566"/>
                </a:lnTo>
                <a:lnTo>
                  <a:pt x="715781" y="483336"/>
                </a:lnTo>
                <a:lnTo>
                  <a:pt x="710861" y="482106"/>
                </a:lnTo>
                <a:lnTo>
                  <a:pt x="705942" y="479646"/>
                </a:lnTo>
                <a:lnTo>
                  <a:pt x="701022" y="475957"/>
                </a:lnTo>
                <a:lnTo>
                  <a:pt x="698562" y="472267"/>
                </a:lnTo>
                <a:lnTo>
                  <a:pt x="696103" y="466118"/>
                </a:lnTo>
                <a:lnTo>
                  <a:pt x="694873" y="459969"/>
                </a:lnTo>
                <a:lnTo>
                  <a:pt x="693643" y="453819"/>
                </a:lnTo>
                <a:lnTo>
                  <a:pt x="694873" y="446440"/>
                </a:lnTo>
                <a:lnTo>
                  <a:pt x="696103" y="440291"/>
                </a:lnTo>
                <a:lnTo>
                  <a:pt x="698562" y="435371"/>
                </a:lnTo>
                <a:lnTo>
                  <a:pt x="701022" y="430452"/>
                </a:lnTo>
                <a:lnTo>
                  <a:pt x="705942" y="427992"/>
                </a:lnTo>
                <a:lnTo>
                  <a:pt x="710861" y="425533"/>
                </a:lnTo>
                <a:lnTo>
                  <a:pt x="715781" y="424303"/>
                </a:lnTo>
                <a:lnTo>
                  <a:pt x="721930" y="423073"/>
                </a:lnTo>
                <a:close/>
                <a:moveTo>
                  <a:pt x="817859" y="412005"/>
                </a:moveTo>
                <a:lnTo>
                  <a:pt x="817859" y="440292"/>
                </a:lnTo>
                <a:lnTo>
                  <a:pt x="886731" y="440292"/>
                </a:lnTo>
                <a:lnTo>
                  <a:pt x="886731" y="412005"/>
                </a:lnTo>
                <a:lnTo>
                  <a:pt x="817859" y="412005"/>
                </a:lnTo>
                <a:close/>
                <a:moveTo>
                  <a:pt x="717011" y="345592"/>
                </a:moveTo>
                <a:lnTo>
                  <a:pt x="721931" y="345592"/>
                </a:lnTo>
                <a:lnTo>
                  <a:pt x="728080" y="345592"/>
                </a:lnTo>
                <a:lnTo>
                  <a:pt x="733000" y="346822"/>
                </a:lnTo>
                <a:lnTo>
                  <a:pt x="736689" y="349281"/>
                </a:lnTo>
                <a:lnTo>
                  <a:pt x="740379" y="351741"/>
                </a:lnTo>
                <a:lnTo>
                  <a:pt x="742839" y="355431"/>
                </a:lnTo>
                <a:lnTo>
                  <a:pt x="745298" y="359120"/>
                </a:lnTo>
                <a:lnTo>
                  <a:pt x="746528" y="364040"/>
                </a:lnTo>
                <a:lnTo>
                  <a:pt x="746528" y="370189"/>
                </a:lnTo>
                <a:lnTo>
                  <a:pt x="746528" y="375109"/>
                </a:lnTo>
                <a:lnTo>
                  <a:pt x="745298" y="380028"/>
                </a:lnTo>
                <a:lnTo>
                  <a:pt x="742839" y="383718"/>
                </a:lnTo>
                <a:lnTo>
                  <a:pt x="740379" y="387408"/>
                </a:lnTo>
                <a:lnTo>
                  <a:pt x="736689" y="389867"/>
                </a:lnTo>
                <a:lnTo>
                  <a:pt x="733000" y="392327"/>
                </a:lnTo>
                <a:lnTo>
                  <a:pt x="728080" y="393557"/>
                </a:lnTo>
                <a:lnTo>
                  <a:pt x="721931" y="393557"/>
                </a:lnTo>
                <a:lnTo>
                  <a:pt x="717011" y="393557"/>
                </a:lnTo>
                <a:lnTo>
                  <a:pt x="712092" y="392327"/>
                </a:lnTo>
                <a:lnTo>
                  <a:pt x="707172" y="389867"/>
                </a:lnTo>
                <a:lnTo>
                  <a:pt x="703483" y="387408"/>
                </a:lnTo>
                <a:lnTo>
                  <a:pt x="701022" y="383718"/>
                </a:lnTo>
                <a:lnTo>
                  <a:pt x="698563" y="380028"/>
                </a:lnTo>
                <a:lnTo>
                  <a:pt x="697333" y="375109"/>
                </a:lnTo>
                <a:lnTo>
                  <a:pt x="697333" y="370189"/>
                </a:lnTo>
                <a:lnTo>
                  <a:pt x="697333" y="364040"/>
                </a:lnTo>
                <a:lnTo>
                  <a:pt x="698563" y="359120"/>
                </a:lnTo>
                <a:lnTo>
                  <a:pt x="701022" y="355431"/>
                </a:lnTo>
                <a:lnTo>
                  <a:pt x="703483" y="351741"/>
                </a:lnTo>
                <a:lnTo>
                  <a:pt x="707172" y="349281"/>
                </a:lnTo>
                <a:lnTo>
                  <a:pt x="712092" y="346822"/>
                </a:lnTo>
                <a:lnTo>
                  <a:pt x="717011" y="345592"/>
                </a:lnTo>
                <a:close/>
                <a:moveTo>
                  <a:pt x="582955" y="316075"/>
                </a:moveTo>
                <a:lnTo>
                  <a:pt x="574346" y="325914"/>
                </a:lnTo>
                <a:lnTo>
                  <a:pt x="565737" y="333293"/>
                </a:lnTo>
                <a:lnTo>
                  <a:pt x="555898" y="340672"/>
                </a:lnTo>
                <a:lnTo>
                  <a:pt x="544829" y="346821"/>
                </a:lnTo>
                <a:lnTo>
                  <a:pt x="544829" y="383717"/>
                </a:lnTo>
                <a:lnTo>
                  <a:pt x="562047" y="372649"/>
                </a:lnTo>
                <a:lnTo>
                  <a:pt x="578035" y="361580"/>
                </a:lnTo>
                <a:lnTo>
                  <a:pt x="578035" y="511623"/>
                </a:lnTo>
                <a:lnTo>
                  <a:pt x="619851" y="511623"/>
                </a:lnTo>
                <a:lnTo>
                  <a:pt x="619851" y="316075"/>
                </a:lnTo>
                <a:lnTo>
                  <a:pt x="582955" y="316075"/>
                </a:lnTo>
                <a:close/>
                <a:moveTo>
                  <a:pt x="708401" y="314845"/>
                </a:moveTo>
                <a:lnTo>
                  <a:pt x="696102" y="318534"/>
                </a:lnTo>
                <a:lnTo>
                  <a:pt x="685034" y="322224"/>
                </a:lnTo>
                <a:lnTo>
                  <a:pt x="676425" y="329603"/>
                </a:lnTo>
                <a:lnTo>
                  <a:pt x="669045" y="336982"/>
                </a:lnTo>
                <a:lnTo>
                  <a:pt x="664126" y="345591"/>
                </a:lnTo>
                <a:lnTo>
                  <a:pt x="661666" y="355430"/>
                </a:lnTo>
                <a:lnTo>
                  <a:pt x="660436" y="365269"/>
                </a:lnTo>
                <a:lnTo>
                  <a:pt x="661666" y="375108"/>
                </a:lnTo>
                <a:lnTo>
                  <a:pt x="665356" y="386177"/>
                </a:lnTo>
                <a:lnTo>
                  <a:pt x="667815" y="391097"/>
                </a:lnTo>
                <a:lnTo>
                  <a:pt x="671505" y="397246"/>
                </a:lnTo>
                <a:lnTo>
                  <a:pt x="676425" y="402165"/>
                </a:lnTo>
                <a:lnTo>
                  <a:pt x="683804" y="407085"/>
                </a:lnTo>
                <a:lnTo>
                  <a:pt x="676425" y="410774"/>
                </a:lnTo>
                <a:lnTo>
                  <a:pt x="670275" y="414464"/>
                </a:lnTo>
                <a:lnTo>
                  <a:pt x="665356" y="420613"/>
                </a:lnTo>
                <a:lnTo>
                  <a:pt x="661666" y="426763"/>
                </a:lnTo>
                <a:lnTo>
                  <a:pt x="657976" y="432912"/>
                </a:lnTo>
                <a:lnTo>
                  <a:pt x="655517" y="440291"/>
                </a:lnTo>
                <a:lnTo>
                  <a:pt x="654287" y="447670"/>
                </a:lnTo>
                <a:lnTo>
                  <a:pt x="654287" y="456279"/>
                </a:lnTo>
                <a:lnTo>
                  <a:pt x="655517" y="468578"/>
                </a:lnTo>
                <a:lnTo>
                  <a:pt x="657976" y="479647"/>
                </a:lnTo>
                <a:lnTo>
                  <a:pt x="664126" y="489486"/>
                </a:lnTo>
                <a:lnTo>
                  <a:pt x="671505" y="498095"/>
                </a:lnTo>
                <a:lnTo>
                  <a:pt x="680114" y="505474"/>
                </a:lnTo>
                <a:lnTo>
                  <a:pt x="692413" y="511623"/>
                </a:lnTo>
                <a:lnTo>
                  <a:pt x="704712" y="514083"/>
                </a:lnTo>
                <a:lnTo>
                  <a:pt x="720700" y="515313"/>
                </a:lnTo>
                <a:lnTo>
                  <a:pt x="735458" y="514083"/>
                </a:lnTo>
                <a:lnTo>
                  <a:pt x="750216" y="511623"/>
                </a:lnTo>
                <a:lnTo>
                  <a:pt x="761285" y="505474"/>
                </a:lnTo>
                <a:lnTo>
                  <a:pt x="771124" y="498095"/>
                </a:lnTo>
                <a:lnTo>
                  <a:pt x="779733" y="489486"/>
                </a:lnTo>
                <a:lnTo>
                  <a:pt x="784653" y="479647"/>
                </a:lnTo>
                <a:lnTo>
                  <a:pt x="788342" y="468578"/>
                </a:lnTo>
                <a:lnTo>
                  <a:pt x="789572" y="456279"/>
                </a:lnTo>
                <a:lnTo>
                  <a:pt x="789572" y="447670"/>
                </a:lnTo>
                <a:lnTo>
                  <a:pt x="788342" y="440291"/>
                </a:lnTo>
                <a:lnTo>
                  <a:pt x="785883" y="432912"/>
                </a:lnTo>
                <a:lnTo>
                  <a:pt x="782193" y="426763"/>
                </a:lnTo>
                <a:lnTo>
                  <a:pt x="778503" y="420613"/>
                </a:lnTo>
                <a:lnTo>
                  <a:pt x="773584" y="414464"/>
                </a:lnTo>
                <a:lnTo>
                  <a:pt x="767435" y="409544"/>
                </a:lnTo>
                <a:lnTo>
                  <a:pt x="761285" y="404625"/>
                </a:lnTo>
                <a:lnTo>
                  <a:pt x="767435" y="400935"/>
                </a:lnTo>
                <a:lnTo>
                  <a:pt x="772354" y="396016"/>
                </a:lnTo>
                <a:lnTo>
                  <a:pt x="776044" y="391097"/>
                </a:lnTo>
                <a:lnTo>
                  <a:pt x="778503" y="386177"/>
                </a:lnTo>
                <a:lnTo>
                  <a:pt x="782193" y="375108"/>
                </a:lnTo>
                <a:lnTo>
                  <a:pt x="783423" y="365269"/>
                </a:lnTo>
                <a:lnTo>
                  <a:pt x="782193" y="355430"/>
                </a:lnTo>
                <a:lnTo>
                  <a:pt x="779733" y="345591"/>
                </a:lnTo>
                <a:lnTo>
                  <a:pt x="774814" y="336982"/>
                </a:lnTo>
                <a:lnTo>
                  <a:pt x="767435" y="329603"/>
                </a:lnTo>
                <a:lnTo>
                  <a:pt x="758826" y="322224"/>
                </a:lnTo>
                <a:lnTo>
                  <a:pt x="747757" y="318534"/>
                </a:lnTo>
                <a:lnTo>
                  <a:pt x="735458" y="314845"/>
                </a:lnTo>
                <a:lnTo>
                  <a:pt x="721930" y="314845"/>
                </a:lnTo>
                <a:lnTo>
                  <a:pt x="708401" y="314845"/>
                </a:lnTo>
                <a:close/>
                <a:moveTo>
                  <a:pt x="341902" y="241053"/>
                </a:moveTo>
                <a:lnTo>
                  <a:pt x="333293" y="242283"/>
                </a:lnTo>
                <a:lnTo>
                  <a:pt x="325914" y="244742"/>
                </a:lnTo>
                <a:lnTo>
                  <a:pt x="317304" y="247202"/>
                </a:lnTo>
                <a:lnTo>
                  <a:pt x="309925" y="250892"/>
                </a:lnTo>
                <a:lnTo>
                  <a:pt x="303776" y="254581"/>
                </a:lnTo>
                <a:lnTo>
                  <a:pt x="297627" y="259501"/>
                </a:lnTo>
                <a:lnTo>
                  <a:pt x="291477" y="265650"/>
                </a:lnTo>
                <a:lnTo>
                  <a:pt x="285328" y="271800"/>
                </a:lnTo>
                <a:lnTo>
                  <a:pt x="280408" y="277949"/>
                </a:lnTo>
                <a:lnTo>
                  <a:pt x="276719" y="284098"/>
                </a:lnTo>
                <a:lnTo>
                  <a:pt x="273029" y="291477"/>
                </a:lnTo>
                <a:lnTo>
                  <a:pt x="270569" y="300087"/>
                </a:lnTo>
                <a:lnTo>
                  <a:pt x="268110" y="307466"/>
                </a:lnTo>
                <a:lnTo>
                  <a:pt x="266880" y="316075"/>
                </a:lnTo>
                <a:lnTo>
                  <a:pt x="266880" y="324684"/>
                </a:lnTo>
                <a:lnTo>
                  <a:pt x="266880" y="333293"/>
                </a:lnTo>
                <a:lnTo>
                  <a:pt x="268110" y="341902"/>
                </a:lnTo>
                <a:lnTo>
                  <a:pt x="270569" y="349281"/>
                </a:lnTo>
                <a:lnTo>
                  <a:pt x="273029" y="356660"/>
                </a:lnTo>
                <a:lnTo>
                  <a:pt x="276719" y="364040"/>
                </a:lnTo>
                <a:lnTo>
                  <a:pt x="280408" y="371419"/>
                </a:lnTo>
                <a:lnTo>
                  <a:pt x="285328" y="377568"/>
                </a:lnTo>
                <a:lnTo>
                  <a:pt x="291477" y="383718"/>
                </a:lnTo>
                <a:lnTo>
                  <a:pt x="297627" y="388637"/>
                </a:lnTo>
                <a:lnTo>
                  <a:pt x="303776" y="393556"/>
                </a:lnTo>
                <a:lnTo>
                  <a:pt x="309925" y="398476"/>
                </a:lnTo>
                <a:lnTo>
                  <a:pt x="317304" y="402166"/>
                </a:lnTo>
                <a:lnTo>
                  <a:pt x="325914" y="404625"/>
                </a:lnTo>
                <a:lnTo>
                  <a:pt x="333293" y="407085"/>
                </a:lnTo>
                <a:lnTo>
                  <a:pt x="341902" y="408315"/>
                </a:lnTo>
                <a:lnTo>
                  <a:pt x="350511" y="408315"/>
                </a:lnTo>
                <a:lnTo>
                  <a:pt x="359120" y="408315"/>
                </a:lnTo>
                <a:lnTo>
                  <a:pt x="367729" y="407085"/>
                </a:lnTo>
                <a:lnTo>
                  <a:pt x="375108" y="404625"/>
                </a:lnTo>
                <a:lnTo>
                  <a:pt x="382487" y="402166"/>
                </a:lnTo>
                <a:lnTo>
                  <a:pt x="389867" y="398476"/>
                </a:lnTo>
                <a:lnTo>
                  <a:pt x="397246" y="393556"/>
                </a:lnTo>
                <a:lnTo>
                  <a:pt x="403395" y="388637"/>
                </a:lnTo>
                <a:lnTo>
                  <a:pt x="409545" y="383718"/>
                </a:lnTo>
                <a:lnTo>
                  <a:pt x="414464" y="377568"/>
                </a:lnTo>
                <a:lnTo>
                  <a:pt x="419383" y="371419"/>
                </a:lnTo>
                <a:lnTo>
                  <a:pt x="424303" y="364040"/>
                </a:lnTo>
                <a:lnTo>
                  <a:pt x="427993" y="356660"/>
                </a:lnTo>
                <a:lnTo>
                  <a:pt x="430452" y="349281"/>
                </a:lnTo>
                <a:lnTo>
                  <a:pt x="432912" y="341902"/>
                </a:lnTo>
                <a:lnTo>
                  <a:pt x="434142" y="333293"/>
                </a:lnTo>
                <a:lnTo>
                  <a:pt x="434142" y="324684"/>
                </a:lnTo>
                <a:lnTo>
                  <a:pt x="434142" y="316075"/>
                </a:lnTo>
                <a:lnTo>
                  <a:pt x="432912" y="307466"/>
                </a:lnTo>
                <a:lnTo>
                  <a:pt x="430452" y="300087"/>
                </a:lnTo>
                <a:lnTo>
                  <a:pt x="427993" y="291477"/>
                </a:lnTo>
                <a:lnTo>
                  <a:pt x="424303" y="284098"/>
                </a:lnTo>
                <a:lnTo>
                  <a:pt x="419383" y="277949"/>
                </a:lnTo>
                <a:lnTo>
                  <a:pt x="414464" y="271800"/>
                </a:lnTo>
                <a:lnTo>
                  <a:pt x="409545" y="265650"/>
                </a:lnTo>
                <a:lnTo>
                  <a:pt x="403395" y="259501"/>
                </a:lnTo>
                <a:lnTo>
                  <a:pt x="397246" y="254581"/>
                </a:lnTo>
                <a:lnTo>
                  <a:pt x="389867" y="250892"/>
                </a:lnTo>
                <a:lnTo>
                  <a:pt x="382487" y="247202"/>
                </a:lnTo>
                <a:lnTo>
                  <a:pt x="375108" y="244742"/>
                </a:lnTo>
                <a:lnTo>
                  <a:pt x="367729" y="242283"/>
                </a:lnTo>
                <a:lnTo>
                  <a:pt x="359120" y="241053"/>
                </a:lnTo>
                <a:lnTo>
                  <a:pt x="350511" y="241053"/>
                </a:lnTo>
                <a:lnTo>
                  <a:pt x="341902"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41" name="TextBox 37"/>
          <p:cNvSpPr txBox="1">
            <a:spLocks noChangeArrowheads="1"/>
          </p:cNvSpPr>
          <p:nvPr userDrawn="1"/>
        </p:nvSpPr>
        <p:spPr bwMode="auto">
          <a:xfrm>
            <a:off x="1801840" y="6133127"/>
            <a:ext cx="109401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18-44 Male</a:t>
            </a:r>
          </a:p>
        </p:txBody>
      </p:sp>
      <p:sp>
        <p:nvSpPr>
          <p:cNvPr id="42" name="Freeform 41"/>
          <p:cNvSpPr>
            <a:spLocks noChangeAspect="1"/>
          </p:cNvSpPr>
          <p:nvPr userDrawn="1"/>
        </p:nvSpPr>
        <p:spPr bwMode="auto">
          <a:xfrm>
            <a:off x="1720399" y="4864973"/>
            <a:ext cx="1260000" cy="1260000"/>
          </a:xfrm>
          <a:custGeom>
            <a:avLst/>
            <a:gdLst>
              <a:gd name="T0" fmla="*/ 1568450 w 2806700"/>
              <a:gd name="T1" fmla="*/ 1727200 h 2806700"/>
              <a:gd name="T2" fmla="*/ 1892300 w 2806700"/>
              <a:gd name="T3" fmla="*/ 1924050 h 2806700"/>
              <a:gd name="T4" fmla="*/ 1857375 w 2806700"/>
              <a:gd name="T5" fmla="*/ 1419225 h 2806700"/>
              <a:gd name="T6" fmla="*/ 1660525 w 2806700"/>
              <a:gd name="T7" fmla="*/ 1806575 h 2806700"/>
              <a:gd name="T8" fmla="*/ 666750 w 2806700"/>
              <a:gd name="T9" fmla="*/ 1133475 h 2806700"/>
              <a:gd name="T10" fmla="*/ 631825 w 2806700"/>
              <a:gd name="T11" fmla="*/ 1616075 h 2806700"/>
              <a:gd name="T12" fmla="*/ 676275 w 2806700"/>
              <a:gd name="T13" fmla="*/ 1673225 h 2806700"/>
              <a:gd name="T14" fmla="*/ 777875 w 2806700"/>
              <a:gd name="T15" fmla="*/ 2168525 h 2806700"/>
              <a:gd name="T16" fmla="*/ 847725 w 2806700"/>
              <a:gd name="T17" fmla="*/ 2174875 h 2806700"/>
              <a:gd name="T18" fmla="*/ 942975 w 2806700"/>
              <a:gd name="T19" fmla="*/ 1673225 h 2806700"/>
              <a:gd name="T20" fmla="*/ 977900 w 2806700"/>
              <a:gd name="T21" fmla="*/ 2181225 h 2806700"/>
              <a:gd name="T22" fmla="*/ 1044575 w 2806700"/>
              <a:gd name="T23" fmla="*/ 2159000 h 2806700"/>
              <a:gd name="T24" fmla="*/ 1139825 w 2806700"/>
              <a:gd name="T25" fmla="*/ 1670050 h 2806700"/>
              <a:gd name="T26" fmla="*/ 1174750 w 2806700"/>
              <a:gd name="T27" fmla="*/ 1184275 h 2806700"/>
              <a:gd name="T28" fmla="*/ 1130300 w 2806700"/>
              <a:gd name="T29" fmla="*/ 1130300 h 2806700"/>
              <a:gd name="T30" fmla="*/ 1905000 w 2806700"/>
              <a:gd name="T31" fmla="*/ 1104900 h 2806700"/>
              <a:gd name="T32" fmla="*/ 1930400 w 2806700"/>
              <a:gd name="T33" fmla="*/ 1203325 h 2806700"/>
              <a:gd name="T34" fmla="*/ 1847850 w 2806700"/>
              <a:gd name="T35" fmla="*/ 1247775 h 2806700"/>
              <a:gd name="T36" fmla="*/ 1790700 w 2806700"/>
              <a:gd name="T37" fmla="*/ 1171575 h 2806700"/>
              <a:gd name="T38" fmla="*/ 1847850 w 2806700"/>
              <a:gd name="T39" fmla="*/ 1095375 h 2806700"/>
              <a:gd name="T40" fmla="*/ 1851025 w 2806700"/>
              <a:gd name="T41" fmla="*/ 892175 h 2806700"/>
              <a:gd name="T42" fmla="*/ 1924050 w 2806700"/>
              <a:gd name="T43" fmla="*/ 927100 h 2806700"/>
              <a:gd name="T44" fmla="*/ 1901825 w 2806700"/>
              <a:gd name="T45" fmla="*/ 1006475 h 2806700"/>
              <a:gd name="T46" fmla="*/ 1816100 w 2806700"/>
              <a:gd name="T47" fmla="*/ 1000125 h 2806700"/>
              <a:gd name="T48" fmla="*/ 1809750 w 2806700"/>
              <a:gd name="T49" fmla="*/ 917575 h 2806700"/>
              <a:gd name="T50" fmla="*/ 1460500 w 2806700"/>
              <a:gd name="T51" fmla="*/ 860425 h 2806700"/>
              <a:gd name="T52" fmla="*/ 1600200 w 2806700"/>
              <a:gd name="T53" fmla="*/ 1320800 h 2806700"/>
              <a:gd name="T54" fmla="*/ 1727200 w 2806700"/>
              <a:gd name="T55" fmla="*/ 869950 h 2806700"/>
              <a:gd name="T56" fmla="*/ 1733550 w 2806700"/>
              <a:gd name="T57" fmla="*/ 1025525 h 2806700"/>
              <a:gd name="T58" fmla="*/ 1698625 w 2806700"/>
              <a:gd name="T59" fmla="*/ 1117600 h 2806700"/>
              <a:gd name="T60" fmla="*/ 1733550 w 2806700"/>
              <a:gd name="T61" fmla="*/ 1285875 h 2806700"/>
              <a:gd name="T62" fmla="*/ 1965325 w 2806700"/>
              <a:gd name="T63" fmla="*/ 1304925 h 2806700"/>
              <a:gd name="T64" fmla="*/ 2035175 w 2806700"/>
              <a:gd name="T65" fmla="*/ 1136650 h 2806700"/>
              <a:gd name="T66" fmla="*/ 1981200 w 2806700"/>
              <a:gd name="T67" fmla="*/ 1035050 h 2806700"/>
              <a:gd name="T68" fmla="*/ 2012950 w 2806700"/>
              <a:gd name="T69" fmla="*/ 892175 h 2806700"/>
              <a:gd name="T70" fmla="*/ 1828800 w 2806700"/>
              <a:gd name="T71" fmla="*/ 812800 h 2806700"/>
              <a:gd name="T72" fmla="*/ 765175 w 2806700"/>
              <a:gd name="T73" fmla="*/ 669925 h 2806700"/>
              <a:gd name="T74" fmla="*/ 692150 w 2806700"/>
              <a:gd name="T75" fmla="*/ 793750 h 2806700"/>
              <a:gd name="T76" fmla="*/ 714375 w 2806700"/>
              <a:gd name="T77" fmla="*/ 939800 h 2806700"/>
              <a:gd name="T78" fmla="*/ 819150 w 2806700"/>
              <a:gd name="T79" fmla="*/ 1038225 h 2806700"/>
              <a:gd name="T80" fmla="*/ 968375 w 2806700"/>
              <a:gd name="T81" fmla="*/ 1044575 h 2806700"/>
              <a:gd name="T82" fmla="*/ 1082675 w 2806700"/>
              <a:gd name="T83" fmla="*/ 958850 h 2806700"/>
              <a:gd name="T84" fmla="*/ 1117600 w 2806700"/>
              <a:gd name="T85" fmla="*/ 815975 h 2806700"/>
              <a:gd name="T86" fmla="*/ 1057275 w 2806700"/>
              <a:gd name="T87" fmla="*/ 685800 h 2806700"/>
              <a:gd name="T88" fmla="*/ 927100 w 2806700"/>
              <a:gd name="T89" fmla="*/ 622300 h 2806700"/>
              <a:gd name="T90" fmla="*/ 1616075 w 2806700"/>
              <a:gd name="T91" fmla="*/ 15875 h 2806700"/>
              <a:gd name="T92" fmla="*/ 2073275 w 2806700"/>
              <a:gd name="T93" fmla="*/ 168275 h 2806700"/>
              <a:gd name="T94" fmla="*/ 2441575 w 2806700"/>
              <a:gd name="T95" fmla="*/ 460375 h 2806700"/>
              <a:gd name="T96" fmla="*/ 2695575 w 2806700"/>
              <a:gd name="T97" fmla="*/ 857250 h 2806700"/>
              <a:gd name="T98" fmla="*/ 2806700 w 2806700"/>
              <a:gd name="T99" fmla="*/ 1330325 h 2806700"/>
              <a:gd name="T100" fmla="*/ 2743200 w 2806700"/>
              <a:gd name="T101" fmla="*/ 1819275 h 2806700"/>
              <a:gd name="T102" fmla="*/ 2527300 w 2806700"/>
              <a:gd name="T103" fmla="*/ 2241550 h 2806700"/>
              <a:gd name="T104" fmla="*/ 2187575 w 2806700"/>
              <a:gd name="T105" fmla="*/ 2568575 h 2806700"/>
              <a:gd name="T106" fmla="*/ 1755775 w 2806700"/>
              <a:gd name="T107" fmla="*/ 2762250 h 2806700"/>
              <a:gd name="T108" fmla="*/ 1260475 w 2806700"/>
              <a:gd name="T109" fmla="*/ 2800350 h 2806700"/>
              <a:gd name="T110" fmla="*/ 796925 w 2806700"/>
              <a:gd name="T111" fmla="*/ 2667000 h 2806700"/>
              <a:gd name="T112" fmla="*/ 412750 w 2806700"/>
              <a:gd name="T113" fmla="*/ 2397125 h 2806700"/>
              <a:gd name="T114" fmla="*/ 139700 w 2806700"/>
              <a:gd name="T115" fmla="*/ 2012950 h 2806700"/>
              <a:gd name="T116" fmla="*/ 6350 w 2806700"/>
              <a:gd name="T117" fmla="*/ 1546225 h 2806700"/>
              <a:gd name="T118" fmla="*/ 44450 w 2806700"/>
              <a:gd name="T119" fmla="*/ 1050925 h 2806700"/>
              <a:gd name="T120" fmla="*/ 241300 w 2806700"/>
              <a:gd name="T121" fmla="*/ 619125 h 2806700"/>
              <a:gd name="T122" fmla="*/ 565150 w 2806700"/>
              <a:gd name="T123" fmla="*/ 279400 h 2806700"/>
              <a:gd name="T124" fmla="*/ 987425 w 2806700"/>
              <a:gd name="T125" fmla="*/ 63500 h 2806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06700" h="2806700">
                <a:moveTo>
                  <a:pt x="1905000" y="1489075"/>
                </a:moveTo>
                <a:lnTo>
                  <a:pt x="1908175" y="1489075"/>
                </a:lnTo>
                <a:lnTo>
                  <a:pt x="1901825" y="1730375"/>
                </a:lnTo>
                <a:lnTo>
                  <a:pt x="1812925" y="1730375"/>
                </a:lnTo>
                <a:lnTo>
                  <a:pt x="1905000" y="1489075"/>
                </a:lnTo>
                <a:close/>
                <a:moveTo>
                  <a:pt x="1574800" y="1485900"/>
                </a:moveTo>
                <a:lnTo>
                  <a:pt x="1568450" y="1727200"/>
                </a:lnTo>
                <a:lnTo>
                  <a:pt x="1482725" y="1727200"/>
                </a:lnTo>
                <a:lnTo>
                  <a:pt x="1574800" y="1485900"/>
                </a:lnTo>
                <a:close/>
                <a:moveTo>
                  <a:pt x="1857375" y="1419225"/>
                </a:moveTo>
                <a:lnTo>
                  <a:pt x="1736725" y="1708150"/>
                </a:lnTo>
                <a:lnTo>
                  <a:pt x="1736725" y="1809750"/>
                </a:lnTo>
                <a:lnTo>
                  <a:pt x="1892300" y="1809750"/>
                </a:lnTo>
                <a:lnTo>
                  <a:pt x="1892300" y="1924050"/>
                </a:lnTo>
                <a:lnTo>
                  <a:pt x="1990725" y="1924050"/>
                </a:lnTo>
                <a:lnTo>
                  <a:pt x="1990725" y="1809750"/>
                </a:lnTo>
                <a:lnTo>
                  <a:pt x="2032000" y="1809750"/>
                </a:lnTo>
                <a:lnTo>
                  <a:pt x="2032000" y="1730375"/>
                </a:lnTo>
                <a:lnTo>
                  <a:pt x="1990725" y="1730375"/>
                </a:lnTo>
                <a:lnTo>
                  <a:pt x="1990725" y="1419225"/>
                </a:lnTo>
                <a:lnTo>
                  <a:pt x="1857375" y="1419225"/>
                </a:lnTo>
                <a:close/>
                <a:moveTo>
                  <a:pt x="1527175" y="1416050"/>
                </a:moveTo>
                <a:lnTo>
                  <a:pt x="1403350" y="1701800"/>
                </a:lnTo>
                <a:lnTo>
                  <a:pt x="1403350" y="1806575"/>
                </a:lnTo>
                <a:lnTo>
                  <a:pt x="1558925" y="1806575"/>
                </a:lnTo>
                <a:lnTo>
                  <a:pt x="1558925" y="1920875"/>
                </a:lnTo>
                <a:lnTo>
                  <a:pt x="1660525" y="1920875"/>
                </a:lnTo>
                <a:lnTo>
                  <a:pt x="1660525" y="1806575"/>
                </a:lnTo>
                <a:lnTo>
                  <a:pt x="1698625" y="1806575"/>
                </a:lnTo>
                <a:lnTo>
                  <a:pt x="1698625" y="1727200"/>
                </a:lnTo>
                <a:lnTo>
                  <a:pt x="1660525" y="1727200"/>
                </a:lnTo>
                <a:lnTo>
                  <a:pt x="1660525" y="1416050"/>
                </a:lnTo>
                <a:lnTo>
                  <a:pt x="1527175" y="1416050"/>
                </a:lnTo>
                <a:close/>
                <a:moveTo>
                  <a:pt x="676275" y="1130300"/>
                </a:moveTo>
                <a:lnTo>
                  <a:pt x="666750" y="1133475"/>
                </a:lnTo>
                <a:lnTo>
                  <a:pt x="657225" y="1139825"/>
                </a:lnTo>
                <a:lnTo>
                  <a:pt x="647700" y="1146175"/>
                </a:lnTo>
                <a:lnTo>
                  <a:pt x="641350" y="1155700"/>
                </a:lnTo>
                <a:lnTo>
                  <a:pt x="638175" y="1165225"/>
                </a:lnTo>
                <a:lnTo>
                  <a:pt x="635000" y="1174750"/>
                </a:lnTo>
                <a:lnTo>
                  <a:pt x="631825" y="1184275"/>
                </a:lnTo>
                <a:lnTo>
                  <a:pt x="631825" y="1616075"/>
                </a:lnTo>
                <a:lnTo>
                  <a:pt x="635000" y="1628775"/>
                </a:lnTo>
                <a:lnTo>
                  <a:pt x="638175" y="1638300"/>
                </a:lnTo>
                <a:lnTo>
                  <a:pt x="641350" y="1647825"/>
                </a:lnTo>
                <a:lnTo>
                  <a:pt x="647700" y="1657350"/>
                </a:lnTo>
                <a:lnTo>
                  <a:pt x="657225" y="1663700"/>
                </a:lnTo>
                <a:lnTo>
                  <a:pt x="666750" y="1670050"/>
                </a:lnTo>
                <a:lnTo>
                  <a:pt x="676275" y="1673225"/>
                </a:lnTo>
                <a:lnTo>
                  <a:pt x="688975" y="1673225"/>
                </a:lnTo>
                <a:lnTo>
                  <a:pt x="762000" y="1673225"/>
                </a:lnTo>
                <a:lnTo>
                  <a:pt x="762000" y="2130425"/>
                </a:lnTo>
                <a:lnTo>
                  <a:pt x="765175" y="2139950"/>
                </a:lnTo>
                <a:lnTo>
                  <a:pt x="768350" y="2149475"/>
                </a:lnTo>
                <a:lnTo>
                  <a:pt x="771525" y="2159000"/>
                </a:lnTo>
                <a:lnTo>
                  <a:pt x="777875" y="2168525"/>
                </a:lnTo>
                <a:lnTo>
                  <a:pt x="787400" y="2174875"/>
                </a:lnTo>
                <a:lnTo>
                  <a:pt x="796925" y="2181225"/>
                </a:lnTo>
                <a:lnTo>
                  <a:pt x="806450" y="2184400"/>
                </a:lnTo>
                <a:lnTo>
                  <a:pt x="819150" y="2184400"/>
                </a:lnTo>
                <a:lnTo>
                  <a:pt x="828675" y="2184400"/>
                </a:lnTo>
                <a:lnTo>
                  <a:pt x="838200" y="2181225"/>
                </a:lnTo>
                <a:lnTo>
                  <a:pt x="847725" y="2174875"/>
                </a:lnTo>
                <a:lnTo>
                  <a:pt x="857250" y="2168525"/>
                </a:lnTo>
                <a:lnTo>
                  <a:pt x="863600" y="2159000"/>
                </a:lnTo>
                <a:lnTo>
                  <a:pt x="869950" y="2149475"/>
                </a:lnTo>
                <a:lnTo>
                  <a:pt x="873125" y="2139950"/>
                </a:lnTo>
                <a:lnTo>
                  <a:pt x="873125" y="2130425"/>
                </a:lnTo>
                <a:lnTo>
                  <a:pt x="873125" y="1673225"/>
                </a:lnTo>
                <a:lnTo>
                  <a:pt x="942975" y="1673225"/>
                </a:lnTo>
                <a:lnTo>
                  <a:pt x="942975" y="2130425"/>
                </a:lnTo>
                <a:lnTo>
                  <a:pt x="946150" y="2139950"/>
                </a:lnTo>
                <a:lnTo>
                  <a:pt x="949325" y="2149475"/>
                </a:lnTo>
                <a:lnTo>
                  <a:pt x="952500" y="2159000"/>
                </a:lnTo>
                <a:lnTo>
                  <a:pt x="958850" y="2168525"/>
                </a:lnTo>
                <a:lnTo>
                  <a:pt x="968375" y="2174875"/>
                </a:lnTo>
                <a:lnTo>
                  <a:pt x="977900" y="2181225"/>
                </a:lnTo>
                <a:lnTo>
                  <a:pt x="987425" y="2184400"/>
                </a:lnTo>
                <a:lnTo>
                  <a:pt x="1000125" y="2184400"/>
                </a:lnTo>
                <a:lnTo>
                  <a:pt x="1009650" y="2184400"/>
                </a:lnTo>
                <a:lnTo>
                  <a:pt x="1022350" y="2181225"/>
                </a:lnTo>
                <a:lnTo>
                  <a:pt x="1028700" y="2174875"/>
                </a:lnTo>
                <a:lnTo>
                  <a:pt x="1038225" y="2168525"/>
                </a:lnTo>
                <a:lnTo>
                  <a:pt x="1044575" y="2159000"/>
                </a:lnTo>
                <a:lnTo>
                  <a:pt x="1050925" y="2149475"/>
                </a:lnTo>
                <a:lnTo>
                  <a:pt x="1054100" y="2139950"/>
                </a:lnTo>
                <a:lnTo>
                  <a:pt x="1054100" y="2130425"/>
                </a:lnTo>
                <a:lnTo>
                  <a:pt x="1054100" y="1673225"/>
                </a:lnTo>
                <a:lnTo>
                  <a:pt x="1120775" y="1673225"/>
                </a:lnTo>
                <a:lnTo>
                  <a:pt x="1130300" y="1673225"/>
                </a:lnTo>
                <a:lnTo>
                  <a:pt x="1139825" y="1670050"/>
                </a:lnTo>
                <a:lnTo>
                  <a:pt x="1149350" y="1663700"/>
                </a:lnTo>
                <a:lnTo>
                  <a:pt x="1158875" y="1657350"/>
                </a:lnTo>
                <a:lnTo>
                  <a:pt x="1165225" y="1647825"/>
                </a:lnTo>
                <a:lnTo>
                  <a:pt x="1171575" y="1638300"/>
                </a:lnTo>
                <a:lnTo>
                  <a:pt x="1174750" y="1628775"/>
                </a:lnTo>
                <a:lnTo>
                  <a:pt x="1174750" y="1616075"/>
                </a:lnTo>
                <a:lnTo>
                  <a:pt x="1174750" y="1184275"/>
                </a:lnTo>
                <a:lnTo>
                  <a:pt x="1174750" y="1174750"/>
                </a:lnTo>
                <a:lnTo>
                  <a:pt x="1171575" y="1165225"/>
                </a:lnTo>
                <a:lnTo>
                  <a:pt x="1165225" y="1155700"/>
                </a:lnTo>
                <a:lnTo>
                  <a:pt x="1158875" y="1146175"/>
                </a:lnTo>
                <a:lnTo>
                  <a:pt x="1149350" y="1139825"/>
                </a:lnTo>
                <a:lnTo>
                  <a:pt x="1139825" y="1133475"/>
                </a:lnTo>
                <a:lnTo>
                  <a:pt x="1130300" y="1130300"/>
                </a:lnTo>
                <a:lnTo>
                  <a:pt x="1120775" y="1130300"/>
                </a:lnTo>
                <a:lnTo>
                  <a:pt x="688975" y="1130300"/>
                </a:lnTo>
                <a:lnTo>
                  <a:pt x="676275" y="1130300"/>
                </a:lnTo>
                <a:close/>
                <a:moveTo>
                  <a:pt x="1863725" y="1092200"/>
                </a:moveTo>
                <a:lnTo>
                  <a:pt x="1879600" y="1095375"/>
                </a:lnTo>
                <a:lnTo>
                  <a:pt x="1895475" y="1098550"/>
                </a:lnTo>
                <a:lnTo>
                  <a:pt x="1905000" y="1104900"/>
                </a:lnTo>
                <a:lnTo>
                  <a:pt x="1917700" y="1111250"/>
                </a:lnTo>
                <a:lnTo>
                  <a:pt x="1927225" y="1123950"/>
                </a:lnTo>
                <a:lnTo>
                  <a:pt x="1930400" y="1136650"/>
                </a:lnTo>
                <a:lnTo>
                  <a:pt x="1936750" y="1152525"/>
                </a:lnTo>
                <a:lnTo>
                  <a:pt x="1936750" y="1171575"/>
                </a:lnTo>
                <a:lnTo>
                  <a:pt x="1936750" y="1187450"/>
                </a:lnTo>
                <a:lnTo>
                  <a:pt x="1930400" y="1203325"/>
                </a:lnTo>
                <a:lnTo>
                  <a:pt x="1927225" y="1219200"/>
                </a:lnTo>
                <a:lnTo>
                  <a:pt x="1917700" y="1228725"/>
                </a:lnTo>
                <a:lnTo>
                  <a:pt x="1908175" y="1238250"/>
                </a:lnTo>
                <a:lnTo>
                  <a:pt x="1895475" y="1244600"/>
                </a:lnTo>
                <a:lnTo>
                  <a:pt x="1879600" y="1247775"/>
                </a:lnTo>
                <a:lnTo>
                  <a:pt x="1863725" y="1250950"/>
                </a:lnTo>
                <a:lnTo>
                  <a:pt x="1847850" y="1247775"/>
                </a:lnTo>
                <a:lnTo>
                  <a:pt x="1835150" y="1244600"/>
                </a:lnTo>
                <a:lnTo>
                  <a:pt x="1822450" y="1238250"/>
                </a:lnTo>
                <a:lnTo>
                  <a:pt x="1809750" y="1228725"/>
                </a:lnTo>
                <a:lnTo>
                  <a:pt x="1803400" y="1219200"/>
                </a:lnTo>
                <a:lnTo>
                  <a:pt x="1797050" y="1203325"/>
                </a:lnTo>
                <a:lnTo>
                  <a:pt x="1793875" y="1187450"/>
                </a:lnTo>
                <a:lnTo>
                  <a:pt x="1790700" y="1171575"/>
                </a:lnTo>
                <a:lnTo>
                  <a:pt x="1793875" y="1152525"/>
                </a:lnTo>
                <a:lnTo>
                  <a:pt x="1797050" y="1136650"/>
                </a:lnTo>
                <a:lnTo>
                  <a:pt x="1803400" y="1123950"/>
                </a:lnTo>
                <a:lnTo>
                  <a:pt x="1809750" y="1111250"/>
                </a:lnTo>
                <a:lnTo>
                  <a:pt x="1822450" y="1104900"/>
                </a:lnTo>
                <a:lnTo>
                  <a:pt x="1835150" y="1098550"/>
                </a:lnTo>
                <a:lnTo>
                  <a:pt x="1847850" y="1095375"/>
                </a:lnTo>
                <a:lnTo>
                  <a:pt x="1863725" y="1092200"/>
                </a:lnTo>
                <a:close/>
                <a:moveTo>
                  <a:pt x="2111375" y="1063625"/>
                </a:moveTo>
                <a:lnTo>
                  <a:pt x="2111375" y="1136650"/>
                </a:lnTo>
                <a:lnTo>
                  <a:pt x="2289175" y="1136650"/>
                </a:lnTo>
                <a:lnTo>
                  <a:pt x="2289175" y="1063625"/>
                </a:lnTo>
                <a:lnTo>
                  <a:pt x="2111375" y="1063625"/>
                </a:lnTo>
                <a:close/>
                <a:moveTo>
                  <a:pt x="1851025" y="892175"/>
                </a:moveTo>
                <a:lnTo>
                  <a:pt x="1863725" y="892175"/>
                </a:lnTo>
                <a:lnTo>
                  <a:pt x="1879600" y="892175"/>
                </a:lnTo>
                <a:lnTo>
                  <a:pt x="1892300" y="895350"/>
                </a:lnTo>
                <a:lnTo>
                  <a:pt x="1901825" y="901700"/>
                </a:lnTo>
                <a:lnTo>
                  <a:pt x="1911350" y="908050"/>
                </a:lnTo>
                <a:lnTo>
                  <a:pt x="1917700" y="917575"/>
                </a:lnTo>
                <a:lnTo>
                  <a:pt x="1924050" y="927100"/>
                </a:lnTo>
                <a:lnTo>
                  <a:pt x="1927225" y="939800"/>
                </a:lnTo>
                <a:lnTo>
                  <a:pt x="1927225" y="955675"/>
                </a:lnTo>
                <a:lnTo>
                  <a:pt x="1927225" y="968375"/>
                </a:lnTo>
                <a:lnTo>
                  <a:pt x="1924050" y="981075"/>
                </a:lnTo>
                <a:lnTo>
                  <a:pt x="1917700" y="990600"/>
                </a:lnTo>
                <a:lnTo>
                  <a:pt x="1911350" y="1000125"/>
                </a:lnTo>
                <a:lnTo>
                  <a:pt x="1901825" y="1006475"/>
                </a:lnTo>
                <a:lnTo>
                  <a:pt x="1892300" y="1012825"/>
                </a:lnTo>
                <a:lnTo>
                  <a:pt x="1879600" y="1016000"/>
                </a:lnTo>
                <a:lnTo>
                  <a:pt x="1863725" y="1016000"/>
                </a:lnTo>
                <a:lnTo>
                  <a:pt x="1851025" y="1016000"/>
                </a:lnTo>
                <a:lnTo>
                  <a:pt x="1838325" y="1012825"/>
                </a:lnTo>
                <a:lnTo>
                  <a:pt x="1825625" y="1006475"/>
                </a:lnTo>
                <a:lnTo>
                  <a:pt x="1816100" y="1000125"/>
                </a:lnTo>
                <a:lnTo>
                  <a:pt x="1809750" y="990600"/>
                </a:lnTo>
                <a:lnTo>
                  <a:pt x="1803400" y="981075"/>
                </a:lnTo>
                <a:lnTo>
                  <a:pt x="1800225" y="968375"/>
                </a:lnTo>
                <a:lnTo>
                  <a:pt x="1800225" y="955675"/>
                </a:lnTo>
                <a:lnTo>
                  <a:pt x="1800225" y="939800"/>
                </a:lnTo>
                <a:lnTo>
                  <a:pt x="1803400" y="927100"/>
                </a:lnTo>
                <a:lnTo>
                  <a:pt x="1809750" y="917575"/>
                </a:lnTo>
                <a:lnTo>
                  <a:pt x="1816100" y="908050"/>
                </a:lnTo>
                <a:lnTo>
                  <a:pt x="1825625" y="901700"/>
                </a:lnTo>
                <a:lnTo>
                  <a:pt x="1838325" y="895350"/>
                </a:lnTo>
                <a:lnTo>
                  <a:pt x="1851025" y="892175"/>
                </a:lnTo>
                <a:close/>
                <a:moveTo>
                  <a:pt x="1504950" y="815975"/>
                </a:moveTo>
                <a:lnTo>
                  <a:pt x="1482725" y="841375"/>
                </a:lnTo>
                <a:lnTo>
                  <a:pt x="1460500" y="860425"/>
                </a:lnTo>
                <a:lnTo>
                  <a:pt x="1435100" y="879475"/>
                </a:lnTo>
                <a:lnTo>
                  <a:pt x="1406525" y="895350"/>
                </a:lnTo>
                <a:lnTo>
                  <a:pt x="1406525" y="990600"/>
                </a:lnTo>
                <a:lnTo>
                  <a:pt x="1450975" y="962025"/>
                </a:lnTo>
                <a:lnTo>
                  <a:pt x="1492250" y="933450"/>
                </a:lnTo>
                <a:lnTo>
                  <a:pt x="1492250" y="1320800"/>
                </a:lnTo>
                <a:lnTo>
                  <a:pt x="1600200" y="1320800"/>
                </a:lnTo>
                <a:lnTo>
                  <a:pt x="1600200" y="815975"/>
                </a:lnTo>
                <a:lnTo>
                  <a:pt x="1504950" y="815975"/>
                </a:lnTo>
                <a:close/>
                <a:moveTo>
                  <a:pt x="1828800" y="812800"/>
                </a:moveTo>
                <a:lnTo>
                  <a:pt x="1797050" y="822325"/>
                </a:lnTo>
                <a:lnTo>
                  <a:pt x="1768475" y="831850"/>
                </a:lnTo>
                <a:lnTo>
                  <a:pt x="1746250" y="850900"/>
                </a:lnTo>
                <a:lnTo>
                  <a:pt x="1727200" y="869950"/>
                </a:lnTo>
                <a:lnTo>
                  <a:pt x="1714500" y="892175"/>
                </a:lnTo>
                <a:lnTo>
                  <a:pt x="1708150" y="917575"/>
                </a:lnTo>
                <a:lnTo>
                  <a:pt x="1704975" y="942975"/>
                </a:lnTo>
                <a:lnTo>
                  <a:pt x="1708150" y="968375"/>
                </a:lnTo>
                <a:lnTo>
                  <a:pt x="1717675" y="996950"/>
                </a:lnTo>
                <a:lnTo>
                  <a:pt x="1724025" y="1009650"/>
                </a:lnTo>
                <a:lnTo>
                  <a:pt x="1733550" y="1025525"/>
                </a:lnTo>
                <a:lnTo>
                  <a:pt x="1746250" y="1038225"/>
                </a:lnTo>
                <a:lnTo>
                  <a:pt x="1765300" y="1050925"/>
                </a:lnTo>
                <a:lnTo>
                  <a:pt x="1746250" y="1060450"/>
                </a:lnTo>
                <a:lnTo>
                  <a:pt x="1730375" y="1069975"/>
                </a:lnTo>
                <a:lnTo>
                  <a:pt x="1717675" y="1085850"/>
                </a:lnTo>
                <a:lnTo>
                  <a:pt x="1708150" y="1101725"/>
                </a:lnTo>
                <a:lnTo>
                  <a:pt x="1698625" y="1117600"/>
                </a:lnTo>
                <a:lnTo>
                  <a:pt x="1692275" y="1136650"/>
                </a:lnTo>
                <a:lnTo>
                  <a:pt x="1689100" y="1155700"/>
                </a:lnTo>
                <a:lnTo>
                  <a:pt x="1689100" y="1177925"/>
                </a:lnTo>
                <a:lnTo>
                  <a:pt x="1692275" y="1209675"/>
                </a:lnTo>
                <a:lnTo>
                  <a:pt x="1698625" y="1238250"/>
                </a:lnTo>
                <a:lnTo>
                  <a:pt x="1714500" y="1263650"/>
                </a:lnTo>
                <a:lnTo>
                  <a:pt x="1733550" y="1285875"/>
                </a:lnTo>
                <a:lnTo>
                  <a:pt x="1755775" y="1304925"/>
                </a:lnTo>
                <a:lnTo>
                  <a:pt x="1787525" y="1320800"/>
                </a:lnTo>
                <a:lnTo>
                  <a:pt x="1819275" y="1327150"/>
                </a:lnTo>
                <a:lnTo>
                  <a:pt x="1860550" y="1330325"/>
                </a:lnTo>
                <a:lnTo>
                  <a:pt x="1898650" y="1327150"/>
                </a:lnTo>
                <a:lnTo>
                  <a:pt x="1936750" y="1320800"/>
                </a:lnTo>
                <a:lnTo>
                  <a:pt x="1965325" y="1304925"/>
                </a:lnTo>
                <a:lnTo>
                  <a:pt x="1990725" y="1285875"/>
                </a:lnTo>
                <a:lnTo>
                  <a:pt x="2012950" y="1263650"/>
                </a:lnTo>
                <a:lnTo>
                  <a:pt x="2025650" y="1238250"/>
                </a:lnTo>
                <a:lnTo>
                  <a:pt x="2035175" y="1209675"/>
                </a:lnTo>
                <a:lnTo>
                  <a:pt x="2038350" y="1177925"/>
                </a:lnTo>
                <a:lnTo>
                  <a:pt x="2038350" y="1155700"/>
                </a:lnTo>
                <a:lnTo>
                  <a:pt x="2035175" y="1136650"/>
                </a:lnTo>
                <a:lnTo>
                  <a:pt x="2028825" y="1117600"/>
                </a:lnTo>
                <a:lnTo>
                  <a:pt x="2019300" y="1101725"/>
                </a:lnTo>
                <a:lnTo>
                  <a:pt x="2009775" y="1085850"/>
                </a:lnTo>
                <a:lnTo>
                  <a:pt x="1997075" y="1069975"/>
                </a:lnTo>
                <a:lnTo>
                  <a:pt x="1981200" y="1057275"/>
                </a:lnTo>
                <a:lnTo>
                  <a:pt x="1965325" y="1044575"/>
                </a:lnTo>
                <a:lnTo>
                  <a:pt x="1981200" y="1035050"/>
                </a:lnTo>
                <a:lnTo>
                  <a:pt x="1993900" y="1022350"/>
                </a:lnTo>
                <a:lnTo>
                  <a:pt x="2003425" y="1009650"/>
                </a:lnTo>
                <a:lnTo>
                  <a:pt x="2009775" y="996950"/>
                </a:lnTo>
                <a:lnTo>
                  <a:pt x="2019300" y="968375"/>
                </a:lnTo>
                <a:lnTo>
                  <a:pt x="2022475" y="942975"/>
                </a:lnTo>
                <a:lnTo>
                  <a:pt x="2019300" y="917575"/>
                </a:lnTo>
                <a:lnTo>
                  <a:pt x="2012950" y="892175"/>
                </a:lnTo>
                <a:lnTo>
                  <a:pt x="2000250" y="869950"/>
                </a:lnTo>
                <a:lnTo>
                  <a:pt x="1981200" y="850900"/>
                </a:lnTo>
                <a:lnTo>
                  <a:pt x="1958975" y="831850"/>
                </a:lnTo>
                <a:lnTo>
                  <a:pt x="1930400" y="822325"/>
                </a:lnTo>
                <a:lnTo>
                  <a:pt x="1898650" y="812800"/>
                </a:lnTo>
                <a:lnTo>
                  <a:pt x="1863725" y="812800"/>
                </a:lnTo>
                <a:lnTo>
                  <a:pt x="1828800" y="812800"/>
                </a:lnTo>
                <a:close/>
                <a:moveTo>
                  <a:pt x="882650" y="622300"/>
                </a:moveTo>
                <a:lnTo>
                  <a:pt x="860425" y="625475"/>
                </a:lnTo>
                <a:lnTo>
                  <a:pt x="841375" y="631825"/>
                </a:lnTo>
                <a:lnTo>
                  <a:pt x="819150" y="638175"/>
                </a:lnTo>
                <a:lnTo>
                  <a:pt x="800100" y="647700"/>
                </a:lnTo>
                <a:lnTo>
                  <a:pt x="784225" y="657225"/>
                </a:lnTo>
                <a:lnTo>
                  <a:pt x="765175" y="669925"/>
                </a:lnTo>
                <a:lnTo>
                  <a:pt x="752475" y="685800"/>
                </a:lnTo>
                <a:lnTo>
                  <a:pt x="736600" y="701675"/>
                </a:lnTo>
                <a:lnTo>
                  <a:pt x="723900" y="717550"/>
                </a:lnTo>
                <a:lnTo>
                  <a:pt x="714375" y="733425"/>
                </a:lnTo>
                <a:lnTo>
                  <a:pt x="704850" y="752475"/>
                </a:lnTo>
                <a:lnTo>
                  <a:pt x="698500" y="774700"/>
                </a:lnTo>
                <a:lnTo>
                  <a:pt x="692150" y="793750"/>
                </a:lnTo>
                <a:lnTo>
                  <a:pt x="688975" y="815975"/>
                </a:lnTo>
                <a:lnTo>
                  <a:pt x="688975" y="838200"/>
                </a:lnTo>
                <a:lnTo>
                  <a:pt x="688975" y="860425"/>
                </a:lnTo>
                <a:lnTo>
                  <a:pt x="692150" y="882650"/>
                </a:lnTo>
                <a:lnTo>
                  <a:pt x="698500" y="901700"/>
                </a:lnTo>
                <a:lnTo>
                  <a:pt x="704850" y="920750"/>
                </a:lnTo>
                <a:lnTo>
                  <a:pt x="714375" y="939800"/>
                </a:lnTo>
                <a:lnTo>
                  <a:pt x="723900" y="958850"/>
                </a:lnTo>
                <a:lnTo>
                  <a:pt x="736600" y="974725"/>
                </a:lnTo>
                <a:lnTo>
                  <a:pt x="752475" y="990600"/>
                </a:lnTo>
                <a:lnTo>
                  <a:pt x="765175" y="1003300"/>
                </a:lnTo>
                <a:lnTo>
                  <a:pt x="784225" y="1016000"/>
                </a:lnTo>
                <a:lnTo>
                  <a:pt x="800100" y="1028700"/>
                </a:lnTo>
                <a:lnTo>
                  <a:pt x="819150" y="1038225"/>
                </a:lnTo>
                <a:lnTo>
                  <a:pt x="841375" y="1044575"/>
                </a:lnTo>
                <a:lnTo>
                  <a:pt x="860425" y="1050925"/>
                </a:lnTo>
                <a:lnTo>
                  <a:pt x="882650" y="1054100"/>
                </a:lnTo>
                <a:lnTo>
                  <a:pt x="904875" y="1054100"/>
                </a:lnTo>
                <a:lnTo>
                  <a:pt x="927100" y="1054100"/>
                </a:lnTo>
                <a:lnTo>
                  <a:pt x="946150" y="1050925"/>
                </a:lnTo>
                <a:lnTo>
                  <a:pt x="968375" y="1044575"/>
                </a:lnTo>
                <a:lnTo>
                  <a:pt x="987425" y="1038225"/>
                </a:lnTo>
                <a:lnTo>
                  <a:pt x="1006475" y="1028700"/>
                </a:lnTo>
                <a:lnTo>
                  <a:pt x="1025525" y="1016000"/>
                </a:lnTo>
                <a:lnTo>
                  <a:pt x="1041400" y="1003300"/>
                </a:lnTo>
                <a:lnTo>
                  <a:pt x="1057275" y="990600"/>
                </a:lnTo>
                <a:lnTo>
                  <a:pt x="1069975" y="974725"/>
                </a:lnTo>
                <a:lnTo>
                  <a:pt x="1082675" y="958850"/>
                </a:lnTo>
                <a:lnTo>
                  <a:pt x="1095375" y="939800"/>
                </a:lnTo>
                <a:lnTo>
                  <a:pt x="1101725" y="920750"/>
                </a:lnTo>
                <a:lnTo>
                  <a:pt x="1111250" y="901700"/>
                </a:lnTo>
                <a:lnTo>
                  <a:pt x="1114425" y="882650"/>
                </a:lnTo>
                <a:lnTo>
                  <a:pt x="1117600" y="860425"/>
                </a:lnTo>
                <a:lnTo>
                  <a:pt x="1120775" y="838200"/>
                </a:lnTo>
                <a:lnTo>
                  <a:pt x="1117600" y="815975"/>
                </a:lnTo>
                <a:lnTo>
                  <a:pt x="1114425" y="793750"/>
                </a:lnTo>
                <a:lnTo>
                  <a:pt x="1111250" y="774700"/>
                </a:lnTo>
                <a:lnTo>
                  <a:pt x="1101725" y="752475"/>
                </a:lnTo>
                <a:lnTo>
                  <a:pt x="1095375" y="733425"/>
                </a:lnTo>
                <a:lnTo>
                  <a:pt x="1082675" y="717550"/>
                </a:lnTo>
                <a:lnTo>
                  <a:pt x="1069975" y="701675"/>
                </a:lnTo>
                <a:lnTo>
                  <a:pt x="1057275" y="685800"/>
                </a:lnTo>
                <a:lnTo>
                  <a:pt x="1041400" y="669925"/>
                </a:lnTo>
                <a:lnTo>
                  <a:pt x="1025525" y="657225"/>
                </a:lnTo>
                <a:lnTo>
                  <a:pt x="1006475" y="647700"/>
                </a:lnTo>
                <a:lnTo>
                  <a:pt x="987425" y="638175"/>
                </a:lnTo>
                <a:lnTo>
                  <a:pt x="968375" y="631825"/>
                </a:lnTo>
                <a:lnTo>
                  <a:pt x="946150" y="625475"/>
                </a:lnTo>
                <a:lnTo>
                  <a:pt x="927100" y="622300"/>
                </a:lnTo>
                <a:lnTo>
                  <a:pt x="904875" y="622300"/>
                </a:lnTo>
                <a:lnTo>
                  <a:pt x="882650" y="622300"/>
                </a:lnTo>
                <a:close/>
                <a:moveTo>
                  <a:pt x="1330325" y="0"/>
                </a:moveTo>
                <a:lnTo>
                  <a:pt x="1403350" y="0"/>
                </a:lnTo>
                <a:lnTo>
                  <a:pt x="1476375" y="0"/>
                </a:lnTo>
                <a:lnTo>
                  <a:pt x="1546225" y="6350"/>
                </a:lnTo>
                <a:lnTo>
                  <a:pt x="1616075" y="15875"/>
                </a:lnTo>
                <a:lnTo>
                  <a:pt x="1685925" y="28575"/>
                </a:lnTo>
                <a:lnTo>
                  <a:pt x="1755775" y="44450"/>
                </a:lnTo>
                <a:lnTo>
                  <a:pt x="1822450" y="63500"/>
                </a:lnTo>
                <a:lnTo>
                  <a:pt x="1885950" y="85725"/>
                </a:lnTo>
                <a:lnTo>
                  <a:pt x="1949450" y="111125"/>
                </a:lnTo>
                <a:lnTo>
                  <a:pt x="2012950" y="139700"/>
                </a:lnTo>
                <a:lnTo>
                  <a:pt x="2073275" y="168275"/>
                </a:lnTo>
                <a:lnTo>
                  <a:pt x="2130425" y="203200"/>
                </a:lnTo>
                <a:lnTo>
                  <a:pt x="2187575" y="238125"/>
                </a:lnTo>
                <a:lnTo>
                  <a:pt x="2244725" y="279400"/>
                </a:lnTo>
                <a:lnTo>
                  <a:pt x="2295525" y="320675"/>
                </a:lnTo>
                <a:lnTo>
                  <a:pt x="2346325" y="365125"/>
                </a:lnTo>
                <a:lnTo>
                  <a:pt x="2397125" y="409575"/>
                </a:lnTo>
                <a:lnTo>
                  <a:pt x="2441575" y="460375"/>
                </a:lnTo>
                <a:lnTo>
                  <a:pt x="2486025" y="511175"/>
                </a:lnTo>
                <a:lnTo>
                  <a:pt x="2527300" y="561975"/>
                </a:lnTo>
                <a:lnTo>
                  <a:pt x="2568575" y="619125"/>
                </a:lnTo>
                <a:lnTo>
                  <a:pt x="2603500" y="676275"/>
                </a:lnTo>
                <a:lnTo>
                  <a:pt x="2638425" y="733425"/>
                </a:lnTo>
                <a:lnTo>
                  <a:pt x="2670175" y="793750"/>
                </a:lnTo>
                <a:lnTo>
                  <a:pt x="2695575" y="857250"/>
                </a:lnTo>
                <a:lnTo>
                  <a:pt x="2720975" y="920750"/>
                </a:lnTo>
                <a:lnTo>
                  <a:pt x="2743200" y="987425"/>
                </a:lnTo>
                <a:lnTo>
                  <a:pt x="2762250" y="1050925"/>
                </a:lnTo>
                <a:lnTo>
                  <a:pt x="2778125" y="1120775"/>
                </a:lnTo>
                <a:lnTo>
                  <a:pt x="2790825" y="1190625"/>
                </a:lnTo>
                <a:lnTo>
                  <a:pt x="2800350" y="1260475"/>
                </a:lnTo>
                <a:lnTo>
                  <a:pt x="2806700" y="1330325"/>
                </a:lnTo>
                <a:lnTo>
                  <a:pt x="2806700" y="1403350"/>
                </a:lnTo>
                <a:lnTo>
                  <a:pt x="2806700" y="1476375"/>
                </a:lnTo>
                <a:lnTo>
                  <a:pt x="2800350" y="1546225"/>
                </a:lnTo>
                <a:lnTo>
                  <a:pt x="2790825" y="1616075"/>
                </a:lnTo>
                <a:lnTo>
                  <a:pt x="2778125" y="1685925"/>
                </a:lnTo>
                <a:lnTo>
                  <a:pt x="2762250" y="1752600"/>
                </a:lnTo>
                <a:lnTo>
                  <a:pt x="2743200" y="1819275"/>
                </a:lnTo>
                <a:lnTo>
                  <a:pt x="2720975" y="1885950"/>
                </a:lnTo>
                <a:lnTo>
                  <a:pt x="2695575" y="1949450"/>
                </a:lnTo>
                <a:lnTo>
                  <a:pt x="2670175" y="2012950"/>
                </a:lnTo>
                <a:lnTo>
                  <a:pt x="2638425" y="2073275"/>
                </a:lnTo>
                <a:lnTo>
                  <a:pt x="2603500" y="2130425"/>
                </a:lnTo>
                <a:lnTo>
                  <a:pt x="2568575" y="2187575"/>
                </a:lnTo>
                <a:lnTo>
                  <a:pt x="2527300" y="2241550"/>
                </a:lnTo>
                <a:lnTo>
                  <a:pt x="2486025" y="2295525"/>
                </a:lnTo>
                <a:lnTo>
                  <a:pt x="2441575" y="2346325"/>
                </a:lnTo>
                <a:lnTo>
                  <a:pt x="2397125" y="2397125"/>
                </a:lnTo>
                <a:lnTo>
                  <a:pt x="2346325" y="2441575"/>
                </a:lnTo>
                <a:lnTo>
                  <a:pt x="2295525" y="2486025"/>
                </a:lnTo>
                <a:lnTo>
                  <a:pt x="2244725" y="2527300"/>
                </a:lnTo>
                <a:lnTo>
                  <a:pt x="2187575" y="2568575"/>
                </a:lnTo>
                <a:lnTo>
                  <a:pt x="2130425" y="2603500"/>
                </a:lnTo>
                <a:lnTo>
                  <a:pt x="2073275" y="2638425"/>
                </a:lnTo>
                <a:lnTo>
                  <a:pt x="2012950" y="2667000"/>
                </a:lnTo>
                <a:lnTo>
                  <a:pt x="1949450" y="2695575"/>
                </a:lnTo>
                <a:lnTo>
                  <a:pt x="1885950" y="2720975"/>
                </a:lnTo>
                <a:lnTo>
                  <a:pt x="1822450" y="2743200"/>
                </a:lnTo>
                <a:lnTo>
                  <a:pt x="1755775" y="2762250"/>
                </a:lnTo>
                <a:lnTo>
                  <a:pt x="1685925" y="2778125"/>
                </a:lnTo>
                <a:lnTo>
                  <a:pt x="1616075" y="2790825"/>
                </a:lnTo>
                <a:lnTo>
                  <a:pt x="1546225" y="2800350"/>
                </a:lnTo>
                <a:lnTo>
                  <a:pt x="1476375" y="2803525"/>
                </a:lnTo>
                <a:lnTo>
                  <a:pt x="1403350" y="2806700"/>
                </a:lnTo>
                <a:lnTo>
                  <a:pt x="1330325" y="2803525"/>
                </a:lnTo>
                <a:lnTo>
                  <a:pt x="1260475" y="2800350"/>
                </a:lnTo>
                <a:lnTo>
                  <a:pt x="1190625" y="2790825"/>
                </a:lnTo>
                <a:lnTo>
                  <a:pt x="1120775" y="2778125"/>
                </a:lnTo>
                <a:lnTo>
                  <a:pt x="1054100" y="2762250"/>
                </a:lnTo>
                <a:lnTo>
                  <a:pt x="987425" y="2743200"/>
                </a:lnTo>
                <a:lnTo>
                  <a:pt x="920750" y="2720975"/>
                </a:lnTo>
                <a:lnTo>
                  <a:pt x="857250" y="2695575"/>
                </a:lnTo>
                <a:lnTo>
                  <a:pt x="796925" y="2667000"/>
                </a:lnTo>
                <a:lnTo>
                  <a:pt x="733425" y="2638425"/>
                </a:lnTo>
                <a:lnTo>
                  <a:pt x="676275" y="2603500"/>
                </a:lnTo>
                <a:lnTo>
                  <a:pt x="619125" y="2568575"/>
                </a:lnTo>
                <a:lnTo>
                  <a:pt x="565150" y="2527300"/>
                </a:lnTo>
                <a:lnTo>
                  <a:pt x="511175" y="2486025"/>
                </a:lnTo>
                <a:lnTo>
                  <a:pt x="460375" y="2441575"/>
                </a:lnTo>
                <a:lnTo>
                  <a:pt x="412750" y="2397125"/>
                </a:lnTo>
                <a:lnTo>
                  <a:pt x="365125" y="2346325"/>
                </a:lnTo>
                <a:lnTo>
                  <a:pt x="320675" y="2295525"/>
                </a:lnTo>
                <a:lnTo>
                  <a:pt x="279400" y="2241550"/>
                </a:lnTo>
                <a:lnTo>
                  <a:pt x="241300" y="2187575"/>
                </a:lnTo>
                <a:lnTo>
                  <a:pt x="203200" y="2130425"/>
                </a:lnTo>
                <a:lnTo>
                  <a:pt x="168275" y="2073275"/>
                </a:lnTo>
                <a:lnTo>
                  <a:pt x="139700" y="2012950"/>
                </a:lnTo>
                <a:lnTo>
                  <a:pt x="111125" y="1949450"/>
                </a:lnTo>
                <a:lnTo>
                  <a:pt x="85725" y="1885950"/>
                </a:lnTo>
                <a:lnTo>
                  <a:pt x="63500" y="1819275"/>
                </a:lnTo>
                <a:lnTo>
                  <a:pt x="44450" y="1752600"/>
                </a:lnTo>
                <a:lnTo>
                  <a:pt x="28575" y="1685925"/>
                </a:lnTo>
                <a:lnTo>
                  <a:pt x="15875" y="1616075"/>
                </a:lnTo>
                <a:lnTo>
                  <a:pt x="6350" y="1546225"/>
                </a:lnTo>
                <a:lnTo>
                  <a:pt x="3175" y="1476375"/>
                </a:lnTo>
                <a:lnTo>
                  <a:pt x="0" y="1403350"/>
                </a:lnTo>
                <a:lnTo>
                  <a:pt x="3175" y="1330325"/>
                </a:lnTo>
                <a:lnTo>
                  <a:pt x="6350" y="1260475"/>
                </a:lnTo>
                <a:lnTo>
                  <a:pt x="15875" y="1190625"/>
                </a:lnTo>
                <a:lnTo>
                  <a:pt x="28575" y="1120775"/>
                </a:lnTo>
                <a:lnTo>
                  <a:pt x="44450" y="1050925"/>
                </a:lnTo>
                <a:lnTo>
                  <a:pt x="63500" y="987425"/>
                </a:lnTo>
                <a:lnTo>
                  <a:pt x="85725" y="920750"/>
                </a:lnTo>
                <a:lnTo>
                  <a:pt x="111125" y="857250"/>
                </a:lnTo>
                <a:lnTo>
                  <a:pt x="139700" y="793750"/>
                </a:lnTo>
                <a:lnTo>
                  <a:pt x="168275" y="733425"/>
                </a:lnTo>
                <a:lnTo>
                  <a:pt x="203200" y="676275"/>
                </a:lnTo>
                <a:lnTo>
                  <a:pt x="241300" y="619125"/>
                </a:lnTo>
                <a:lnTo>
                  <a:pt x="279400" y="561975"/>
                </a:lnTo>
                <a:lnTo>
                  <a:pt x="320675" y="511175"/>
                </a:lnTo>
                <a:lnTo>
                  <a:pt x="365125" y="460375"/>
                </a:lnTo>
                <a:lnTo>
                  <a:pt x="412750" y="409575"/>
                </a:lnTo>
                <a:lnTo>
                  <a:pt x="460375" y="365125"/>
                </a:lnTo>
                <a:lnTo>
                  <a:pt x="511175" y="320675"/>
                </a:lnTo>
                <a:lnTo>
                  <a:pt x="565150" y="279400"/>
                </a:lnTo>
                <a:lnTo>
                  <a:pt x="619125" y="238125"/>
                </a:lnTo>
                <a:lnTo>
                  <a:pt x="676275" y="203200"/>
                </a:lnTo>
                <a:lnTo>
                  <a:pt x="733425" y="168275"/>
                </a:lnTo>
                <a:lnTo>
                  <a:pt x="796925" y="139700"/>
                </a:lnTo>
                <a:lnTo>
                  <a:pt x="857250" y="111125"/>
                </a:lnTo>
                <a:lnTo>
                  <a:pt x="920750" y="85725"/>
                </a:lnTo>
                <a:lnTo>
                  <a:pt x="987425" y="63500"/>
                </a:lnTo>
                <a:lnTo>
                  <a:pt x="1054100" y="44450"/>
                </a:lnTo>
                <a:lnTo>
                  <a:pt x="1120775" y="28575"/>
                </a:lnTo>
                <a:lnTo>
                  <a:pt x="1190625" y="15875"/>
                </a:lnTo>
                <a:lnTo>
                  <a:pt x="1260475" y="6350"/>
                </a:lnTo>
                <a:lnTo>
                  <a:pt x="1330325"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43" name="TextBox 42"/>
          <p:cNvSpPr txBox="1">
            <a:spLocks noChangeArrowheads="1"/>
          </p:cNvSpPr>
          <p:nvPr userDrawn="1"/>
        </p:nvSpPr>
        <p:spPr bwMode="auto">
          <a:xfrm>
            <a:off x="6174423" y="6132060"/>
            <a:ext cx="109050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55+</a:t>
            </a:r>
          </a:p>
        </p:txBody>
      </p:sp>
      <p:sp>
        <p:nvSpPr>
          <p:cNvPr id="44" name="Freeform 55"/>
          <p:cNvSpPr>
            <a:spLocks noEditPoints="1"/>
          </p:cNvSpPr>
          <p:nvPr userDrawn="1"/>
        </p:nvSpPr>
        <p:spPr bwMode="auto">
          <a:xfrm>
            <a:off x="6086497" y="4864973"/>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30 w 726"/>
              <a:gd name="T23" fmla="*/ 208 h 726"/>
              <a:gd name="T24" fmla="*/ 364 w 726"/>
              <a:gd name="T25" fmla="*/ 242 h 726"/>
              <a:gd name="T26" fmla="*/ 352 w 726"/>
              <a:gd name="T27" fmla="*/ 282 h 726"/>
              <a:gd name="T28" fmla="*/ 312 w 726"/>
              <a:gd name="T29" fmla="*/ 292 h 726"/>
              <a:gd name="T30" fmla="*/ 280 w 726"/>
              <a:gd name="T31" fmla="*/ 260 h 726"/>
              <a:gd name="T32" fmla="*/ 292 w 726"/>
              <a:gd name="T33" fmla="*/ 220 h 726"/>
              <a:gd name="T34" fmla="*/ 176 w 726"/>
              <a:gd name="T35" fmla="*/ 208 h 726"/>
              <a:gd name="T36" fmla="*/ 216 w 726"/>
              <a:gd name="T37" fmla="*/ 234 h 726"/>
              <a:gd name="T38" fmla="*/ 212 w 726"/>
              <a:gd name="T39" fmla="*/ 274 h 726"/>
              <a:gd name="T40" fmla="*/ 176 w 726"/>
              <a:gd name="T41" fmla="*/ 294 h 726"/>
              <a:gd name="T42" fmla="*/ 138 w 726"/>
              <a:gd name="T43" fmla="*/ 268 h 726"/>
              <a:gd name="T44" fmla="*/ 142 w 726"/>
              <a:gd name="T45" fmla="*/ 226 h 726"/>
              <a:gd name="T46" fmla="*/ 230 w 726"/>
              <a:gd name="T47" fmla="*/ 406 h 726"/>
              <a:gd name="T48" fmla="*/ 220 w 726"/>
              <a:gd name="T49" fmla="*/ 416 h 726"/>
              <a:gd name="T50" fmla="*/ 200 w 726"/>
              <a:gd name="T51" fmla="*/ 516 h 726"/>
              <a:gd name="T52" fmla="*/ 184 w 726"/>
              <a:gd name="T53" fmla="*/ 506 h 726"/>
              <a:gd name="T54" fmla="*/ 168 w 726"/>
              <a:gd name="T55" fmla="*/ 514 h 726"/>
              <a:gd name="T56" fmla="*/ 150 w 726"/>
              <a:gd name="T57" fmla="*/ 512 h 726"/>
              <a:gd name="T58" fmla="*/ 126 w 726"/>
              <a:gd name="T59" fmla="*/ 414 h 726"/>
              <a:gd name="T60" fmla="*/ 124 w 726"/>
              <a:gd name="T61" fmla="*/ 316 h 726"/>
              <a:gd name="T62" fmla="*/ 220 w 726"/>
              <a:gd name="T63" fmla="*/ 308 h 726"/>
              <a:gd name="T64" fmla="*/ 230 w 726"/>
              <a:gd name="T65" fmla="*/ 406 h 726"/>
              <a:gd name="T66" fmla="*/ 352 w 726"/>
              <a:gd name="T67" fmla="*/ 506 h 726"/>
              <a:gd name="T68" fmla="*/ 340 w 726"/>
              <a:gd name="T69" fmla="*/ 518 h 726"/>
              <a:gd name="T70" fmla="*/ 316 w 726"/>
              <a:gd name="T71" fmla="*/ 438 h 726"/>
              <a:gd name="T72" fmla="*/ 304 w 726"/>
              <a:gd name="T73" fmla="*/ 518 h 726"/>
              <a:gd name="T74" fmla="*/ 294 w 726"/>
              <a:gd name="T75" fmla="*/ 438 h 726"/>
              <a:gd name="T76" fmla="*/ 256 w 726"/>
              <a:gd name="T77" fmla="*/ 428 h 726"/>
              <a:gd name="T78" fmla="*/ 322 w 726"/>
              <a:gd name="T79" fmla="*/ 306 h 726"/>
              <a:gd name="T80" fmla="*/ 386 w 726"/>
              <a:gd name="T81" fmla="*/ 432 h 726"/>
              <a:gd name="T82" fmla="*/ 414 w 726"/>
              <a:gd name="T83" fmla="*/ 412 h 726"/>
              <a:gd name="T84" fmla="*/ 436 w 726"/>
              <a:gd name="T85" fmla="*/ 396 h 726"/>
              <a:gd name="T86" fmla="*/ 450 w 726"/>
              <a:gd name="T87" fmla="*/ 404 h 726"/>
              <a:gd name="T88" fmla="*/ 456 w 726"/>
              <a:gd name="T89" fmla="*/ 364 h 726"/>
              <a:gd name="T90" fmla="*/ 438 w 726"/>
              <a:gd name="T91" fmla="*/ 358 h 726"/>
              <a:gd name="T92" fmla="*/ 478 w 726"/>
              <a:gd name="T93" fmla="*/ 312 h 726"/>
              <a:gd name="T94" fmla="*/ 444 w 726"/>
              <a:gd name="T95" fmla="*/ 338 h 726"/>
              <a:gd name="T96" fmla="*/ 476 w 726"/>
              <a:gd name="T97" fmla="*/ 348 h 726"/>
              <a:gd name="T98" fmla="*/ 480 w 726"/>
              <a:gd name="T99" fmla="*/ 402 h 726"/>
              <a:gd name="T100" fmla="*/ 444 w 726"/>
              <a:gd name="T101" fmla="*/ 424 h 726"/>
              <a:gd name="T102" fmla="*/ 496 w 726"/>
              <a:gd name="T103" fmla="*/ 412 h 726"/>
              <a:gd name="T104" fmla="*/ 518 w 726"/>
              <a:gd name="T105" fmla="*/ 396 h 726"/>
              <a:gd name="T106" fmla="*/ 534 w 726"/>
              <a:gd name="T107" fmla="*/ 404 h 726"/>
              <a:gd name="T108" fmla="*/ 538 w 726"/>
              <a:gd name="T109" fmla="*/ 364 h 726"/>
              <a:gd name="T110" fmla="*/ 520 w 726"/>
              <a:gd name="T111" fmla="*/ 358 h 726"/>
              <a:gd name="T112" fmla="*/ 560 w 726"/>
              <a:gd name="T113" fmla="*/ 312 h 726"/>
              <a:gd name="T114" fmla="*/ 526 w 726"/>
              <a:gd name="T115" fmla="*/ 338 h 726"/>
              <a:gd name="T116" fmla="*/ 560 w 726"/>
              <a:gd name="T117" fmla="*/ 348 h 726"/>
              <a:gd name="T118" fmla="*/ 562 w 726"/>
              <a:gd name="T119" fmla="*/ 402 h 726"/>
              <a:gd name="T120" fmla="*/ 526 w 726"/>
              <a:gd name="T121" fmla="*/ 424 h 726"/>
              <a:gd name="T122" fmla="*/ 576 w 726"/>
              <a:gd name="T123" fmla="*/ 352 h 726"/>
              <a:gd name="T124" fmla="*/ 632 w 726"/>
              <a:gd name="T125" fmla="*/ 366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22" y="208"/>
                </a:moveTo>
                <a:lnTo>
                  <a:pt x="322" y="208"/>
                </a:lnTo>
                <a:lnTo>
                  <a:pt x="330" y="208"/>
                </a:lnTo>
                <a:lnTo>
                  <a:pt x="338" y="212"/>
                </a:lnTo>
                <a:lnTo>
                  <a:pt x="346" y="216"/>
                </a:lnTo>
                <a:lnTo>
                  <a:pt x="352" y="220"/>
                </a:lnTo>
                <a:lnTo>
                  <a:pt x="358" y="226"/>
                </a:lnTo>
                <a:lnTo>
                  <a:pt x="360" y="234"/>
                </a:lnTo>
                <a:lnTo>
                  <a:pt x="364" y="242"/>
                </a:lnTo>
                <a:lnTo>
                  <a:pt x="364" y="250"/>
                </a:lnTo>
                <a:lnTo>
                  <a:pt x="364" y="260"/>
                </a:lnTo>
                <a:lnTo>
                  <a:pt x="360" y="268"/>
                </a:lnTo>
                <a:lnTo>
                  <a:pt x="358" y="274"/>
                </a:lnTo>
                <a:lnTo>
                  <a:pt x="352" y="282"/>
                </a:lnTo>
                <a:lnTo>
                  <a:pt x="346" y="286"/>
                </a:lnTo>
                <a:lnTo>
                  <a:pt x="338" y="290"/>
                </a:lnTo>
                <a:lnTo>
                  <a:pt x="330" y="292"/>
                </a:lnTo>
                <a:lnTo>
                  <a:pt x="322" y="294"/>
                </a:lnTo>
                <a:lnTo>
                  <a:pt x="312" y="292"/>
                </a:lnTo>
                <a:lnTo>
                  <a:pt x="304" y="290"/>
                </a:lnTo>
                <a:lnTo>
                  <a:pt x="298" y="286"/>
                </a:lnTo>
                <a:lnTo>
                  <a:pt x="292" y="282"/>
                </a:lnTo>
                <a:lnTo>
                  <a:pt x="286" y="274"/>
                </a:lnTo>
                <a:lnTo>
                  <a:pt x="282" y="268"/>
                </a:lnTo>
                <a:lnTo>
                  <a:pt x="280" y="260"/>
                </a:lnTo>
                <a:lnTo>
                  <a:pt x="278" y="250"/>
                </a:lnTo>
                <a:lnTo>
                  <a:pt x="280" y="242"/>
                </a:lnTo>
                <a:lnTo>
                  <a:pt x="282" y="234"/>
                </a:lnTo>
                <a:lnTo>
                  <a:pt x="286" y="226"/>
                </a:lnTo>
                <a:lnTo>
                  <a:pt x="292" y="220"/>
                </a:lnTo>
                <a:lnTo>
                  <a:pt x="298" y="216"/>
                </a:lnTo>
                <a:lnTo>
                  <a:pt x="304" y="212"/>
                </a:lnTo>
                <a:lnTo>
                  <a:pt x="312" y="208"/>
                </a:lnTo>
                <a:lnTo>
                  <a:pt x="322" y="208"/>
                </a:lnTo>
                <a:close/>
                <a:moveTo>
                  <a:pt x="176" y="208"/>
                </a:moveTo>
                <a:lnTo>
                  <a:pt x="176" y="208"/>
                </a:lnTo>
                <a:lnTo>
                  <a:pt x="186" y="208"/>
                </a:lnTo>
                <a:lnTo>
                  <a:pt x="194" y="212"/>
                </a:lnTo>
                <a:lnTo>
                  <a:pt x="200" y="216"/>
                </a:lnTo>
                <a:lnTo>
                  <a:pt x="208" y="220"/>
                </a:lnTo>
                <a:lnTo>
                  <a:pt x="212" y="226"/>
                </a:lnTo>
                <a:lnTo>
                  <a:pt x="216" y="234"/>
                </a:lnTo>
                <a:lnTo>
                  <a:pt x="218" y="242"/>
                </a:lnTo>
                <a:lnTo>
                  <a:pt x="220" y="250"/>
                </a:lnTo>
                <a:lnTo>
                  <a:pt x="218" y="260"/>
                </a:lnTo>
                <a:lnTo>
                  <a:pt x="216" y="268"/>
                </a:lnTo>
                <a:lnTo>
                  <a:pt x="212" y="274"/>
                </a:lnTo>
                <a:lnTo>
                  <a:pt x="208" y="282"/>
                </a:lnTo>
                <a:lnTo>
                  <a:pt x="200" y="286"/>
                </a:lnTo>
                <a:lnTo>
                  <a:pt x="194" y="290"/>
                </a:lnTo>
                <a:lnTo>
                  <a:pt x="186" y="292"/>
                </a:lnTo>
                <a:lnTo>
                  <a:pt x="176" y="294"/>
                </a:lnTo>
                <a:lnTo>
                  <a:pt x="168" y="292"/>
                </a:lnTo>
                <a:lnTo>
                  <a:pt x="160" y="290"/>
                </a:lnTo>
                <a:lnTo>
                  <a:pt x="152" y="286"/>
                </a:lnTo>
                <a:lnTo>
                  <a:pt x="146" y="282"/>
                </a:lnTo>
                <a:lnTo>
                  <a:pt x="142" y="274"/>
                </a:lnTo>
                <a:lnTo>
                  <a:pt x="138" y="268"/>
                </a:lnTo>
                <a:lnTo>
                  <a:pt x="134" y="260"/>
                </a:lnTo>
                <a:lnTo>
                  <a:pt x="134" y="250"/>
                </a:lnTo>
                <a:lnTo>
                  <a:pt x="134" y="242"/>
                </a:lnTo>
                <a:lnTo>
                  <a:pt x="138" y="234"/>
                </a:lnTo>
                <a:lnTo>
                  <a:pt x="142" y="226"/>
                </a:lnTo>
                <a:lnTo>
                  <a:pt x="146" y="220"/>
                </a:lnTo>
                <a:lnTo>
                  <a:pt x="152" y="216"/>
                </a:lnTo>
                <a:lnTo>
                  <a:pt x="160" y="212"/>
                </a:lnTo>
                <a:lnTo>
                  <a:pt x="168" y="208"/>
                </a:lnTo>
                <a:lnTo>
                  <a:pt x="176" y="208"/>
                </a:lnTo>
                <a:close/>
                <a:moveTo>
                  <a:pt x="230" y="406"/>
                </a:moveTo>
                <a:lnTo>
                  <a:pt x="230" y="406"/>
                </a:lnTo>
                <a:lnTo>
                  <a:pt x="230" y="410"/>
                </a:lnTo>
                <a:lnTo>
                  <a:pt x="228" y="414"/>
                </a:lnTo>
                <a:lnTo>
                  <a:pt x="224" y="416"/>
                </a:lnTo>
                <a:lnTo>
                  <a:pt x="220" y="416"/>
                </a:lnTo>
                <a:lnTo>
                  <a:pt x="206" y="416"/>
                </a:lnTo>
                <a:lnTo>
                  <a:pt x="206" y="506"/>
                </a:lnTo>
                <a:lnTo>
                  <a:pt x="206" y="512"/>
                </a:lnTo>
                <a:lnTo>
                  <a:pt x="204" y="514"/>
                </a:lnTo>
                <a:lnTo>
                  <a:pt x="200" y="516"/>
                </a:lnTo>
                <a:lnTo>
                  <a:pt x="196" y="518"/>
                </a:lnTo>
                <a:lnTo>
                  <a:pt x="192" y="516"/>
                </a:lnTo>
                <a:lnTo>
                  <a:pt x="188" y="514"/>
                </a:lnTo>
                <a:lnTo>
                  <a:pt x="186" y="512"/>
                </a:lnTo>
                <a:lnTo>
                  <a:pt x="184" y="506"/>
                </a:lnTo>
                <a:lnTo>
                  <a:pt x="184" y="416"/>
                </a:lnTo>
                <a:lnTo>
                  <a:pt x="170" y="416"/>
                </a:lnTo>
                <a:lnTo>
                  <a:pt x="170" y="506"/>
                </a:lnTo>
                <a:lnTo>
                  <a:pt x="170" y="512"/>
                </a:lnTo>
                <a:lnTo>
                  <a:pt x="168" y="514"/>
                </a:lnTo>
                <a:lnTo>
                  <a:pt x="164" y="516"/>
                </a:lnTo>
                <a:lnTo>
                  <a:pt x="160" y="518"/>
                </a:lnTo>
                <a:lnTo>
                  <a:pt x="156" y="516"/>
                </a:lnTo>
                <a:lnTo>
                  <a:pt x="152" y="514"/>
                </a:lnTo>
                <a:lnTo>
                  <a:pt x="150" y="512"/>
                </a:lnTo>
                <a:lnTo>
                  <a:pt x="148" y="506"/>
                </a:lnTo>
                <a:lnTo>
                  <a:pt x="148" y="416"/>
                </a:lnTo>
                <a:lnTo>
                  <a:pt x="134" y="416"/>
                </a:lnTo>
                <a:lnTo>
                  <a:pt x="130" y="416"/>
                </a:lnTo>
                <a:lnTo>
                  <a:pt x="126" y="414"/>
                </a:lnTo>
                <a:lnTo>
                  <a:pt x="124" y="410"/>
                </a:lnTo>
                <a:lnTo>
                  <a:pt x="124" y="406"/>
                </a:lnTo>
                <a:lnTo>
                  <a:pt x="124" y="320"/>
                </a:lnTo>
                <a:lnTo>
                  <a:pt x="124" y="316"/>
                </a:lnTo>
                <a:lnTo>
                  <a:pt x="126" y="312"/>
                </a:lnTo>
                <a:lnTo>
                  <a:pt x="130" y="310"/>
                </a:lnTo>
                <a:lnTo>
                  <a:pt x="134" y="308"/>
                </a:lnTo>
                <a:lnTo>
                  <a:pt x="220" y="308"/>
                </a:lnTo>
                <a:lnTo>
                  <a:pt x="224" y="310"/>
                </a:lnTo>
                <a:lnTo>
                  <a:pt x="228" y="312"/>
                </a:lnTo>
                <a:lnTo>
                  <a:pt x="230" y="316"/>
                </a:lnTo>
                <a:lnTo>
                  <a:pt x="230" y="320"/>
                </a:lnTo>
                <a:lnTo>
                  <a:pt x="230" y="406"/>
                </a:lnTo>
                <a:close/>
                <a:moveTo>
                  <a:pt x="386" y="432"/>
                </a:moveTo>
                <a:lnTo>
                  <a:pt x="386" y="432"/>
                </a:lnTo>
                <a:lnTo>
                  <a:pt x="382" y="436"/>
                </a:lnTo>
                <a:lnTo>
                  <a:pt x="376" y="438"/>
                </a:lnTo>
                <a:lnTo>
                  <a:pt x="352" y="438"/>
                </a:lnTo>
                <a:lnTo>
                  <a:pt x="352" y="506"/>
                </a:lnTo>
                <a:lnTo>
                  <a:pt x="350" y="512"/>
                </a:lnTo>
                <a:lnTo>
                  <a:pt x="348" y="514"/>
                </a:lnTo>
                <a:lnTo>
                  <a:pt x="344" y="516"/>
                </a:lnTo>
                <a:lnTo>
                  <a:pt x="340" y="518"/>
                </a:lnTo>
                <a:lnTo>
                  <a:pt x="336" y="516"/>
                </a:lnTo>
                <a:lnTo>
                  <a:pt x="332" y="514"/>
                </a:lnTo>
                <a:lnTo>
                  <a:pt x="330" y="512"/>
                </a:lnTo>
                <a:lnTo>
                  <a:pt x="330" y="506"/>
                </a:lnTo>
                <a:lnTo>
                  <a:pt x="330" y="438"/>
                </a:lnTo>
                <a:lnTo>
                  <a:pt x="316" y="438"/>
                </a:lnTo>
                <a:lnTo>
                  <a:pt x="316" y="506"/>
                </a:lnTo>
                <a:lnTo>
                  <a:pt x="314" y="512"/>
                </a:lnTo>
                <a:lnTo>
                  <a:pt x="312" y="514"/>
                </a:lnTo>
                <a:lnTo>
                  <a:pt x="308" y="516"/>
                </a:lnTo>
                <a:lnTo>
                  <a:pt x="304" y="518"/>
                </a:lnTo>
                <a:lnTo>
                  <a:pt x="300" y="516"/>
                </a:lnTo>
                <a:lnTo>
                  <a:pt x="296" y="514"/>
                </a:lnTo>
                <a:lnTo>
                  <a:pt x="294" y="512"/>
                </a:lnTo>
                <a:lnTo>
                  <a:pt x="294" y="506"/>
                </a:lnTo>
                <a:lnTo>
                  <a:pt x="294" y="438"/>
                </a:lnTo>
                <a:lnTo>
                  <a:pt x="266" y="438"/>
                </a:lnTo>
                <a:lnTo>
                  <a:pt x="262" y="436"/>
                </a:lnTo>
                <a:lnTo>
                  <a:pt x="258" y="432"/>
                </a:lnTo>
                <a:lnTo>
                  <a:pt x="256" y="428"/>
                </a:lnTo>
                <a:lnTo>
                  <a:pt x="256" y="422"/>
                </a:lnTo>
                <a:lnTo>
                  <a:pt x="312" y="312"/>
                </a:lnTo>
                <a:lnTo>
                  <a:pt x="316" y="308"/>
                </a:lnTo>
                <a:lnTo>
                  <a:pt x="322" y="306"/>
                </a:lnTo>
                <a:lnTo>
                  <a:pt x="328" y="308"/>
                </a:lnTo>
                <a:lnTo>
                  <a:pt x="332" y="312"/>
                </a:lnTo>
                <a:lnTo>
                  <a:pt x="386" y="422"/>
                </a:lnTo>
                <a:lnTo>
                  <a:pt x="388" y="428"/>
                </a:lnTo>
                <a:lnTo>
                  <a:pt x="386" y="432"/>
                </a:lnTo>
                <a:close/>
                <a:moveTo>
                  <a:pt x="444" y="424"/>
                </a:moveTo>
                <a:lnTo>
                  <a:pt x="444" y="424"/>
                </a:lnTo>
                <a:lnTo>
                  <a:pt x="428" y="422"/>
                </a:lnTo>
                <a:lnTo>
                  <a:pt x="422" y="420"/>
                </a:lnTo>
                <a:lnTo>
                  <a:pt x="418" y="416"/>
                </a:lnTo>
                <a:lnTo>
                  <a:pt x="414" y="412"/>
                </a:lnTo>
                <a:lnTo>
                  <a:pt x="410" y="406"/>
                </a:lnTo>
                <a:lnTo>
                  <a:pt x="408" y="400"/>
                </a:lnTo>
                <a:lnTo>
                  <a:pt x="408" y="392"/>
                </a:lnTo>
                <a:lnTo>
                  <a:pt x="434" y="392"/>
                </a:lnTo>
                <a:lnTo>
                  <a:pt x="436" y="396"/>
                </a:lnTo>
                <a:lnTo>
                  <a:pt x="436" y="402"/>
                </a:lnTo>
                <a:lnTo>
                  <a:pt x="440" y="404"/>
                </a:lnTo>
                <a:lnTo>
                  <a:pt x="444" y="406"/>
                </a:lnTo>
                <a:lnTo>
                  <a:pt x="450" y="404"/>
                </a:lnTo>
                <a:lnTo>
                  <a:pt x="454" y="398"/>
                </a:lnTo>
                <a:lnTo>
                  <a:pt x="456" y="390"/>
                </a:lnTo>
                <a:lnTo>
                  <a:pt x="456" y="380"/>
                </a:lnTo>
                <a:lnTo>
                  <a:pt x="456" y="372"/>
                </a:lnTo>
                <a:lnTo>
                  <a:pt x="456" y="364"/>
                </a:lnTo>
                <a:lnTo>
                  <a:pt x="452" y="356"/>
                </a:lnTo>
                <a:lnTo>
                  <a:pt x="450" y="354"/>
                </a:lnTo>
                <a:lnTo>
                  <a:pt x="446" y="354"/>
                </a:lnTo>
                <a:lnTo>
                  <a:pt x="440" y="354"/>
                </a:lnTo>
                <a:lnTo>
                  <a:pt x="438" y="358"/>
                </a:lnTo>
                <a:lnTo>
                  <a:pt x="436" y="364"/>
                </a:lnTo>
                <a:lnTo>
                  <a:pt x="436" y="368"/>
                </a:lnTo>
                <a:lnTo>
                  <a:pt x="410" y="368"/>
                </a:lnTo>
                <a:lnTo>
                  <a:pt x="410" y="292"/>
                </a:lnTo>
                <a:lnTo>
                  <a:pt x="478" y="292"/>
                </a:lnTo>
                <a:lnTo>
                  <a:pt x="478" y="312"/>
                </a:lnTo>
                <a:lnTo>
                  <a:pt x="436" y="312"/>
                </a:lnTo>
                <a:lnTo>
                  <a:pt x="436" y="346"/>
                </a:lnTo>
                <a:lnTo>
                  <a:pt x="440" y="342"/>
                </a:lnTo>
                <a:lnTo>
                  <a:pt x="444" y="338"/>
                </a:lnTo>
                <a:lnTo>
                  <a:pt x="454" y="336"/>
                </a:lnTo>
                <a:lnTo>
                  <a:pt x="462" y="338"/>
                </a:lnTo>
                <a:lnTo>
                  <a:pt x="468" y="340"/>
                </a:lnTo>
                <a:lnTo>
                  <a:pt x="474" y="342"/>
                </a:lnTo>
                <a:lnTo>
                  <a:pt x="476" y="348"/>
                </a:lnTo>
                <a:lnTo>
                  <a:pt x="480" y="354"/>
                </a:lnTo>
                <a:lnTo>
                  <a:pt x="482" y="360"/>
                </a:lnTo>
                <a:lnTo>
                  <a:pt x="482" y="380"/>
                </a:lnTo>
                <a:lnTo>
                  <a:pt x="482" y="392"/>
                </a:lnTo>
                <a:lnTo>
                  <a:pt x="480" y="402"/>
                </a:lnTo>
                <a:lnTo>
                  <a:pt x="478" y="408"/>
                </a:lnTo>
                <a:lnTo>
                  <a:pt x="472" y="414"/>
                </a:lnTo>
                <a:lnTo>
                  <a:pt x="468" y="420"/>
                </a:lnTo>
                <a:lnTo>
                  <a:pt x="460" y="422"/>
                </a:lnTo>
                <a:lnTo>
                  <a:pt x="452" y="424"/>
                </a:lnTo>
                <a:lnTo>
                  <a:pt x="444" y="424"/>
                </a:lnTo>
                <a:close/>
                <a:moveTo>
                  <a:pt x="526" y="424"/>
                </a:moveTo>
                <a:lnTo>
                  <a:pt x="526" y="424"/>
                </a:lnTo>
                <a:lnTo>
                  <a:pt x="512" y="422"/>
                </a:lnTo>
                <a:lnTo>
                  <a:pt x="506" y="420"/>
                </a:lnTo>
                <a:lnTo>
                  <a:pt x="500" y="416"/>
                </a:lnTo>
                <a:lnTo>
                  <a:pt x="496" y="412"/>
                </a:lnTo>
                <a:lnTo>
                  <a:pt x="494" y="406"/>
                </a:lnTo>
                <a:lnTo>
                  <a:pt x="492" y="400"/>
                </a:lnTo>
                <a:lnTo>
                  <a:pt x="492" y="392"/>
                </a:lnTo>
                <a:lnTo>
                  <a:pt x="518" y="392"/>
                </a:lnTo>
                <a:lnTo>
                  <a:pt x="518" y="396"/>
                </a:lnTo>
                <a:lnTo>
                  <a:pt x="520" y="402"/>
                </a:lnTo>
                <a:lnTo>
                  <a:pt x="522" y="404"/>
                </a:lnTo>
                <a:lnTo>
                  <a:pt x="528" y="406"/>
                </a:lnTo>
                <a:lnTo>
                  <a:pt x="534" y="404"/>
                </a:lnTo>
                <a:lnTo>
                  <a:pt x="538" y="398"/>
                </a:lnTo>
                <a:lnTo>
                  <a:pt x="538" y="390"/>
                </a:lnTo>
                <a:lnTo>
                  <a:pt x="540" y="380"/>
                </a:lnTo>
                <a:lnTo>
                  <a:pt x="538" y="372"/>
                </a:lnTo>
                <a:lnTo>
                  <a:pt x="538" y="364"/>
                </a:lnTo>
                <a:lnTo>
                  <a:pt x="534" y="356"/>
                </a:lnTo>
                <a:lnTo>
                  <a:pt x="532" y="354"/>
                </a:lnTo>
                <a:lnTo>
                  <a:pt x="528" y="354"/>
                </a:lnTo>
                <a:lnTo>
                  <a:pt x="524" y="354"/>
                </a:lnTo>
                <a:lnTo>
                  <a:pt x="520" y="358"/>
                </a:lnTo>
                <a:lnTo>
                  <a:pt x="518" y="364"/>
                </a:lnTo>
                <a:lnTo>
                  <a:pt x="518" y="368"/>
                </a:lnTo>
                <a:lnTo>
                  <a:pt x="492" y="368"/>
                </a:lnTo>
                <a:lnTo>
                  <a:pt x="492" y="292"/>
                </a:lnTo>
                <a:lnTo>
                  <a:pt x="560" y="292"/>
                </a:lnTo>
                <a:lnTo>
                  <a:pt x="560" y="312"/>
                </a:lnTo>
                <a:lnTo>
                  <a:pt x="518" y="312"/>
                </a:lnTo>
                <a:lnTo>
                  <a:pt x="518" y="346"/>
                </a:lnTo>
                <a:lnTo>
                  <a:pt x="522" y="342"/>
                </a:lnTo>
                <a:lnTo>
                  <a:pt x="526" y="338"/>
                </a:lnTo>
                <a:lnTo>
                  <a:pt x="538" y="336"/>
                </a:lnTo>
                <a:lnTo>
                  <a:pt x="544" y="338"/>
                </a:lnTo>
                <a:lnTo>
                  <a:pt x="550" y="340"/>
                </a:lnTo>
                <a:lnTo>
                  <a:pt x="556" y="342"/>
                </a:lnTo>
                <a:lnTo>
                  <a:pt x="560" y="348"/>
                </a:lnTo>
                <a:lnTo>
                  <a:pt x="562" y="354"/>
                </a:lnTo>
                <a:lnTo>
                  <a:pt x="564" y="360"/>
                </a:lnTo>
                <a:lnTo>
                  <a:pt x="566" y="380"/>
                </a:lnTo>
                <a:lnTo>
                  <a:pt x="564" y="392"/>
                </a:lnTo>
                <a:lnTo>
                  <a:pt x="562" y="402"/>
                </a:lnTo>
                <a:lnTo>
                  <a:pt x="560" y="408"/>
                </a:lnTo>
                <a:lnTo>
                  <a:pt x="556" y="414"/>
                </a:lnTo>
                <a:lnTo>
                  <a:pt x="550" y="420"/>
                </a:lnTo>
                <a:lnTo>
                  <a:pt x="544" y="422"/>
                </a:lnTo>
                <a:lnTo>
                  <a:pt x="536" y="424"/>
                </a:lnTo>
                <a:lnTo>
                  <a:pt x="526" y="424"/>
                </a:lnTo>
                <a:close/>
                <a:moveTo>
                  <a:pt x="612" y="366"/>
                </a:moveTo>
                <a:lnTo>
                  <a:pt x="612" y="390"/>
                </a:lnTo>
                <a:lnTo>
                  <a:pt x="598" y="390"/>
                </a:lnTo>
                <a:lnTo>
                  <a:pt x="598" y="366"/>
                </a:lnTo>
                <a:lnTo>
                  <a:pt x="576" y="366"/>
                </a:lnTo>
                <a:lnTo>
                  <a:pt x="576" y="352"/>
                </a:lnTo>
                <a:lnTo>
                  <a:pt x="598" y="352"/>
                </a:lnTo>
                <a:lnTo>
                  <a:pt x="598" y="326"/>
                </a:lnTo>
                <a:lnTo>
                  <a:pt x="612" y="326"/>
                </a:lnTo>
                <a:lnTo>
                  <a:pt x="612" y="352"/>
                </a:lnTo>
                <a:lnTo>
                  <a:pt x="632" y="352"/>
                </a:lnTo>
                <a:lnTo>
                  <a:pt x="632" y="366"/>
                </a:lnTo>
                <a:lnTo>
                  <a:pt x="612" y="36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5" name="TextBox 33"/>
          <p:cNvSpPr txBox="1">
            <a:spLocks noChangeArrowheads="1"/>
          </p:cNvSpPr>
          <p:nvPr userDrawn="1"/>
        </p:nvSpPr>
        <p:spPr bwMode="auto">
          <a:xfrm>
            <a:off x="4720410" y="4337498"/>
            <a:ext cx="1081442"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Female</a:t>
            </a:r>
          </a:p>
        </p:txBody>
      </p:sp>
      <p:grpSp>
        <p:nvGrpSpPr>
          <p:cNvPr id="46" name="Group 45"/>
          <p:cNvGrpSpPr>
            <a:grpSpLocks noChangeAspect="1"/>
          </p:cNvGrpSpPr>
          <p:nvPr userDrawn="1"/>
        </p:nvGrpSpPr>
        <p:grpSpPr>
          <a:xfrm>
            <a:off x="4631389" y="3057528"/>
            <a:ext cx="1260000" cy="1260000"/>
            <a:chOff x="2497427" y="3554702"/>
            <a:chExt cx="2545773" cy="2545773"/>
          </a:xfrm>
          <a:solidFill>
            <a:srgbClr val="000000"/>
          </a:solidFill>
        </p:grpSpPr>
        <p:sp>
          <p:nvSpPr>
            <p:cNvPr id="47" name="Freeform 21"/>
            <p:cNvSpPr>
              <a:spLocks/>
            </p:cNvSpPr>
            <p:nvPr/>
          </p:nvSpPr>
          <p:spPr bwMode="auto">
            <a:xfrm>
              <a:off x="4154200" y="4905520"/>
              <a:ext cx="86591" cy="219364"/>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22"/>
            <p:cNvSpPr>
              <a:spLocks/>
            </p:cNvSpPr>
            <p:nvPr/>
          </p:nvSpPr>
          <p:spPr bwMode="auto">
            <a:xfrm>
              <a:off x="4154200" y="4518748"/>
              <a:ext cx="80818" cy="173182"/>
            </a:xfrm>
            <a:custGeom>
              <a:avLst/>
              <a:gdLst>
                <a:gd name="T0" fmla="*/ 28 w 56"/>
                <a:gd name="T1" fmla="*/ 120 h 120"/>
                <a:gd name="T2" fmla="*/ 28 w 56"/>
                <a:gd name="T3" fmla="*/ 120 h 120"/>
                <a:gd name="T4" fmla="*/ 34 w 56"/>
                <a:gd name="T5" fmla="*/ 118 h 120"/>
                <a:gd name="T6" fmla="*/ 42 w 56"/>
                <a:gd name="T7" fmla="*/ 116 h 120"/>
                <a:gd name="T8" fmla="*/ 46 w 56"/>
                <a:gd name="T9" fmla="*/ 114 h 120"/>
                <a:gd name="T10" fmla="*/ 50 w 56"/>
                <a:gd name="T11" fmla="*/ 108 h 120"/>
                <a:gd name="T12" fmla="*/ 54 w 56"/>
                <a:gd name="T13" fmla="*/ 100 h 120"/>
                <a:gd name="T14" fmla="*/ 56 w 56"/>
                <a:gd name="T15" fmla="*/ 88 h 120"/>
                <a:gd name="T16" fmla="*/ 56 w 56"/>
                <a:gd name="T17" fmla="*/ 58 h 120"/>
                <a:gd name="T18" fmla="*/ 56 w 56"/>
                <a:gd name="T19" fmla="*/ 58 h 120"/>
                <a:gd name="T20" fmla="*/ 56 w 56"/>
                <a:gd name="T21" fmla="*/ 32 h 120"/>
                <a:gd name="T22" fmla="*/ 54 w 56"/>
                <a:gd name="T23" fmla="*/ 22 h 120"/>
                <a:gd name="T24" fmla="*/ 52 w 56"/>
                <a:gd name="T25" fmla="*/ 14 h 120"/>
                <a:gd name="T26" fmla="*/ 48 w 56"/>
                <a:gd name="T27" fmla="*/ 8 h 120"/>
                <a:gd name="T28" fmla="*/ 42 w 56"/>
                <a:gd name="T29" fmla="*/ 4 h 120"/>
                <a:gd name="T30" fmla="*/ 36 w 56"/>
                <a:gd name="T31" fmla="*/ 0 h 120"/>
                <a:gd name="T32" fmla="*/ 28 w 56"/>
                <a:gd name="T33" fmla="*/ 0 h 120"/>
                <a:gd name="T34" fmla="*/ 28 w 56"/>
                <a:gd name="T35" fmla="*/ 0 h 120"/>
                <a:gd name="T36" fmla="*/ 20 w 56"/>
                <a:gd name="T37" fmla="*/ 2 h 120"/>
                <a:gd name="T38" fmla="*/ 12 w 56"/>
                <a:gd name="T39" fmla="*/ 4 h 120"/>
                <a:gd name="T40" fmla="*/ 8 w 56"/>
                <a:gd name="T41" fmla="*/ 10 h 120"/>
                <a:gd name="T42" fmla="*/ 4 w 56"/>
                <a:gd name="T43" fmla="*/ 16 h 120"/>
                <a:gd name="T44" fmla="*/ 2 w 56"/>
                <a:gd name="T45" fmla="*/ 26 h 120"/>
                <a:gd name="T46" fmla="*/ 2 w 56"/>
                <a:gd name="T47" fmla="*/ 36 h 120"/>
                <a:gd name="T48" fmla="*/ 0 w 56"/>
                <a:gd name="T49" fmla="*/ 64 h 120"/>
                <a:gd name="T50" fmla="*/ 0 w 56"/>
                <a:gd name="T51" fmla="*/ 64 h 120"/>
                <a:gd name="T52" fmla="*/ 2 w 56"/>
                <a:gd name="T53" fmla="*/ 80 h 120"/>
                <a:gd name="T54" fmla="*/ 4 w 56"/>
                <a:gd name="T55" fmla="*/ 98 h 120"/>
                <a:gd name="T56" fmla="*/ 8 w 56"/>
                <a:gd name="T57" fmla="*/ 106 h 120"/>
                <a:gd name="T58" fmla="*/ 12 w 56"/>
                <a:gd name="T59" fmla="*/ 114 h 120"/>
                <a:gd name="T60" fmla="*/ 18 w 56"/>
                <a:gd name="T61" fmla="*/ 118 h 120"/>
                <a:gd name="T62" fmla="*/ 28 w 56"/>
                <a:gd name="T63" fmla="*/ 120 h 120"/>
                <a:gd name="T64" fmla="*/ 28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8" y="120"/>
                  </a:moveTo>
                  <a:lnTo>
                    <a:pt x="28" y="120"/>
                  </a:lnTo>
                  <a:lnTo>
                    <a:pt x="34" y="118"/>
                  </a:lnTo>
                  <a:lnTo>
                    <a:pt x="42" y="116"/>
                  </a:lnTo>
                  <a:lnTo>
                    <a:pt x="46" y="114"/>
                  </a:lnTo>
                  <a:lnTo>
                    <a:pt x="50" y="108"/>
                  </a:lnTo>
                  <a:lnTo>
                    <a:pt x="54" y="100"/>
                  </a:lnTo>
                  <a:lnTo>
                    <a:pt x="56" y="88"/>
                  </a:lnTo>
                  <a:lnTo>
                    <a:pt x="56" y="58"/>
                  </a:lnTo>
                  <a:lnTo>
                    <a:pt x="56" y="58"/>
                  </a:lnTo>
                  <a:lnTo>
                    <a:pt x="56" y="32"/>
                  </a:lnTo>
                  <a:lnTo>
                    <a:pt x="54" y="22"/>
                  </a:lnTo>
                  <a:lnTo>
                    <a:pt x="52" y="14"/>
                  </a:lnTo>
                  <a:lnTo>
                    <a:pt x="48" y="8"/>
                  </a:lnTo>
                  <a:lnTo>
                    <a:pt x="42" y="4"/>
                  </a:lnTo>
                  <a:lnTo>
                    <a:pt x="36" y="0"/>
                  </a:lnTo>
                  <a:lnTo>
                    <a:pt x="28" y="0"/>
                  </a:lnTo>
                  <a:lnTo>
                    <a:pt x="28" y="0"/>
                  </a:lnTo>
                  <a:lnTo>
                    <a:pt x="20" y="2"/>
                  </a:lnTo>
                  <a:lnTo>
                    <a:pt x="12" y="4"/>
                  </a:lnTo>
                  <a:lnTo>
                    <a:pt x="8" y="10"/>
                  </a:lnTo>
                  <a:lnTo>
                    <a:pt x="4" y="16"/>
                  </a:lnTo>
                  <a:lnTo>
                    <a:pt x="2" y="26"/>
                  </a:lnTo>
                  <a:lnTo>
                    <a:pt x="2" y="36"/>
                  </a:lnTo>
                  <a:lnTo>
                    <a:pt x="0" y="64"/>
                  </a:lnTo>
                  <a:lnTo>
                    <a:pt x="0" y="64"/>
                  </a:lnTo>
                  <a:lnTo>
                    <a:pt x="2" y="80"/>
                  </a:lnTo>
                  <a:lnTo>
                    <a:pt x="4" y="98"/>
                  </a:lnTo>
                  <a:lnTo>
                    <a:pt x="8" y="106"/>
                  </a:lnTo>
                  <a:lnTo>
                    <a:pt x="12" y="114"/>
                  </a:lnTo>
                  <a:lnTo>
                    <a:pt x="18" y="118"/>
                  </a:lnTo>
                  <a:lnTo>
                    <a:pt x="28" y="120"/>
                  </a:lnTo>
                  <a:lnTo>
                    <a:pt x="28"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23"/>
            <p:cNvSpPr>
              <a:spLocks noEditPoints="1"/>
            </p:cNvSpPr>
            <p:nvPr/>
          </p:nvSpPr>
          <p:spPr bwMode="auto">
            <a:xfrm>
              <a:off x="2497427" y="3554702"/>
              <a:ext cx="2545773" cy="2545773"/>
            </a:xfrm>
            <a:custGeom>
              <a:avLst/>
              <a:gdLst>
                <a:gd name="T0" fmla="*/ 662 w 1764"/>
                <a:gd name="T1" fmla="*/ 28 h 1764"/>
                <a:gd name="T2" fmla="*/ 388 w 1764"/>
                <a:gd name="T3" fmla="*/ 150 h 1764"/>
                <a:gd name="T4" fmla="*/ 176 w 1764"/>
                <a:gd name="T5" fmla="*/ 354 h 1764"/>
                <a:gd name="T6" fmla="*/ 40 w 1764"/>
                <a:gd name="T7" fmla="*/ 620 h 1764"/>
                <a:gd name="T8" fmla="*/ 0 w 1764"/>
                <a:gd name="T9" fmla="*/ 882 h 1764"/>
                <a:gd name="T10" fmla="*/ 54 w 1764"/>
                <a:gd name="T11" fmla="*/ 1186 h 1764"/>
                <a:gd name="T12" fmla="*/ 202 w 1764"/>
                <a:gd name="T13" fmla="*/ 1444 h 1764"/>
                <a:gd name="T14" fmla="*/ 424 w 1764"/>
                <a:gd name="T15" fmla="*/ 1636 h 1764"/>
                <a:gd name="T16" fmla="*/ 704 w 1764"/>
                <a:gd name="T17" fmla="*/ 1746 h 1764"/>
                <a:gd name="T18" fmla="*/ 972 w 1764"/>
                <a:gd name="T19" fmla="*/ 1760 h 1764"/>
                <a:gd name="T20" fmla="*/ 1264 w 1764"/>
                <a:gd name="T21" fmla="*/ 1678 h 1764"/>
                <a:gd name="T22" fmla="*/ 1506 w 1764"/>
                <a:gd name="T23" fmla="*/ 1506 h 1764"/>
                <a:gd name="T24" fmla="*/ 1678 w 1764"/>
                <a:gd name="T25" fmla="*/ 1264 h 1764"/>
                <a:gd name="T26" fmla="*/ 1760 w 1764"/>
                <a:gd name="T27" fmla="*/ 972 h 1764"/>
                <a:gd name="T28" fmla="*/ 1746 w 1764"/>
                <a:gd name="T29" fmla="*/ 704 h 1764"/>
                <a:gd name="T30" fmla="*/ 1636 w 1764"/>
                <a:gd name="T31" fmla="*/ 424 h 1764"/>
                <a:gd name="T32" fmla="*/ 1444 w 1764"/>
                <a:gd name="T33" fmla="*/ 202 h 1764"/>
                <a:gd name="T34" fmla="*/ 1186 w 1764"/>
                <a:gd name="T35" fmla="*/ 54 h 1764"/>
                <a:gd name="T36" fmla="*/ 882 w 1764"/>
                <a:gd name="T37" fmla="*/ 0 h 1764"/>
                <a:gd name="T38" fmla="*/ 682 w 1764"/>
                <a:gd name="T39" fmla="*/ 398 h 1764"/>
                <a:gd name="T40" fmla="*/ 748 w 1764"/>
                <a:gd name="T41" fmla="*/ 458 h 1764"/>
                <a:gd name="T42" fmla="*/ 764 w 1764"/>
                <a:gd name="T43" fmla="*/ 538 h 1764"/>
                <a:gd name="T44" fmla="*/ 726 w 1764"/>
                <a:gd name="T45" fmla="*/ 618 h 1764"/>
                <a:gd name="T46" fmla="*/ 644 w 1764"/>
                <a:gd name="T47" fmla="*/ 658 h 1764"/>
                <a:gd name="T48" fmla="*/ 566 w 1764"/>
                <a:gd name="T49" fmla="*/ 642 h 1764"/>
                <a:gd name="T50" fmla="*/ 504 w 1764"/>
                <a:gd name="T51" fmla="*/ 576 h 1764"/>
                <a:gd name="T52" fmla="*/ 498 w 1764"/>
                <a:gd name="T53" fmla="*/ 496 h 1764"/>
                <a:gd name="T54" fmla="*/ 544 w 1764"/>
                <a:gd name="T55" fmla="*/ 418 h 1764"/>
                <a:gd name="T56" fmla="*/ 630 w 1764"/>
                <a:gd name="T57" fmla="*/ 388 h 1764"/>
                <a:gd name="T58" fmla="*/ 718 w 1764"/>
                <a:gd name="T59" fmla="*/ 1352 h 1764"/>
                <a:gd name="T60" fmla="*/ 686 w 1764"/>
                <a:gd name="T61" fmla="*/ 1374 h 1764"/>
                <a:gd name="T62" fmla="*/ 652 w 1764"/>
                <a:gd name="T63" fmla="*/ 1346 h 1764"/>
                <a:gd name="T64" fmla="*/ 604 w 1764"/>
                <a:gd name="T65" fmla="*/ 1352 h 1764"/>
                <a:gd name="T66" fmla="*/ 572 w 1764"/>
                <a:gd name="T67" fmla="*/ 1374 h 1764"/>
                <a:gd name="T68" fmla="*/ 538 w 1764"/>
                <a:gd name="T69" fmla="*/ 1346 h 1764"/>
                <a:gd name="T70" fmla="*/ 434 w 1764"/>
                <a:gd name="T71" fmla="*/ 1110 h 1764"/>
                <a:gd name="T72" fmla="*/ 598 w 1764"/>
                <a:gd name="T73" fmla="*/ 724 h 1764"/>
                <a:gd name="T74" fmla="*/ 654 w 1764"/>
                <a:gd name="T75" fmla="*/ 714 h 1764"/>
                <a:gd name="T76" fmla="*/ 832 w 1764"/>
                <a:gd name="T77" fmla="*/ 1102 h 1764"/>
                <a:gd name="T78" fmla="*/ 1182 w 1764"/>
                <a:gd name="T79" fmla="*/ 508 h 1764"/>
                <a:gd name="T80" fmla="*/ 1264 w 1764"/>
                <a:gd name="T81" fmla="*/ 562 h 1764"/>
                <a:gd name="T82" fmla="*/ 1192 w 1764"/>
                <a:gd name="T83" fmla="*/ 556 h 1764"/>
                <a:gd name="T84" fmla="*/ 1154 w 1764"/>
                <a:gd name="T85" fmla="*/ 560 h 1764"/>
                <a:gd name="T86" fmla="*/ 1170 w 1764"/>
                <a:gd name="T87" fmla="*/ 630 h 1764"/>
                <a:gd name="T88" fmla="*/ 1234 w 1764"/>
                <a:gd name="T89" fmla="*/ 634 h 1764"/>
                <a:gd name="T90" fmla="*/ 1270 w 1764"/>
                <a:gd name="T91" fmla="*/ 726 h 1764"/>
                <a:gd name="T92" fmla="*/ 1228 w 1764"/>
                <a:gd name="T93" fmla="*/ 822 h 1764"/>
                <a:gd name="T94" fmla="*/ 1134 w 1764"/>
                <a:gd name="T95" fmla="*/ 828 h 1764"/>
                <a:gd name="T96" fmla="*/ 1086 w 1764"/>
                <a:gd name="T97" fmla="*/ 746 h 1764"/>
                <a:gd name="T98" fmla="*/ 1094 w 1764"/>
                <a:gd name="T99" fmla="*/ 568 h 1764"/>
                <a:gd name="T100" fmla="*/ 1152 w 1764"/>
                <a:gd name="T101" fmla="*/ 510 h 1764"/>
                <a:gd name="T102" fmla="*/ 928 w 1764"/>
                <a:gd name="T103" fmla="*/ 540 h 1764"/>
                <a:gd name="T104" fmla="*/ 950 w 1764"/>
                <a:gd name="T105" fmla="*/ 586 h 1764"/>
                <a:gd name="T106" fmla="*/ 902 w 1764"/>
                <a:gd name="T107" fmla="*/ 1154 h 1764"/>
                <a:gd name="T108" fmla="*/ 1024 w 1764"/>
                <a:gd name="T109" fmla="*/ 966 h 1764"/>
                <a:gd name="T110" fmla="*/ 1000 w 1764"/>
                <a:gd name="T111" fmla="*/ 934 h 1764"/>
                <a:gd name="T112" fmla="*/ 908 w 1764"/>
                <a:gd name="T113" fmla="*/ 980 h 1764"/>
                <a:gd name="T114" fmla="*/ 956 w 1764"/>
                <a:gd name="T115" fmla="*/ 894 h 1764"/>
                <a:gd name="T116" fmla="*/ 1062 w 1764"/>
                <a:gd name="T117" fmla="*/ 906 h 1764"/>
                <a:gd name="T118" fmla="*/ 1084 w 1764"/>
                <a:gd name="T119" fmla="*/ 996 h 1764"/>
                <a:gd name="T120" fmla="*/ 970 w 1764"/>
                <a:gd name="T121" fmla="*/ 1160 h 1764"/>
                <a:gd name="T122" fmla="*/ 1198 w 1764"/>
                <a:gd name="T123" fmla="*/ 1138 h 1764"/>
                <a:gd name="T124" fmla="*/ 1286 w 1764"/>
                <a:gd name="T125" fmla="*/ 1088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0" y="388"/>
                  </a:moveTo>
                  <a:lnTo>
                    <a:pt x="630" y="388"/>
                  </a:lnTo>
                  <a:lnTo>
                    <a:pt x="644" y="388"/>
                  </a:lnTo>
                  <a:lnTo>
                    <a:pt x="656" y="390"/>
                  </a:lnTo>
                  <a:lnTo>
                    <a:pt x="670" y="394"/>
                  </a:lnTo>
                  <a:lnTo>
                    <a:pt x="682" y="398"/>
                  </a:lnTo>
                  <a:lnTo>
                    <a:pt x="694" y="404"/>
                  </a:lnTo>
                  <a:lnTo>
                    <a:pt x="706" y="412"/>
                  </a:lnTo>
                  <a:lnTo>
                    <a:pt x="716" y="418"/>
                  </a:lnTo>
                  <a:lnTo>
                    <a:pt x="726" y="428"/>
                  </a:lnTo>
                  <a:lnTo>
                    <a:pt x="734" y="438"/>
                  </a:lnTo>
                  <a:lnTo>
                    <a:pt x="742" y="448"/>
                  </a:lnTo>
                  <a:lnTo>
                    <a:pt x="748" y="458"/>
                  </a:lnTo>
                  <a:lnTo>
                    <a:pt x="754" y="470"/>
                  </a:lnTo>
                  <a:lnTo>
                    <a:pt x="758" y="484"/>
                  </a:lnTo>
                  <a:lnTo>
                    <a:pt x="762" y="496"/>
                  </a:lnTo>
                  <a:lnTo>
                    <a:pt x="764" y="510"/>
                  </a:lnTo>
                  <a:lnTo>
                    <a:pt x="764" y="524"/>
                  </a:lnTo>
                  <a:lnTo>
                    <a:pt x="764" y="524"/>
                  </a:lnTo>
                  <a:lnTo>
                    <a:pt x="764" y="538"/>
                  </a:lnTo>
                  <a:lnTo>
                    <a:pt x="762" y="550"/>
                  </a:lnTo>
                  <a:lnTo>
                    <a:pt x="758" y="564"/>
                  </a:lnTo>
                  <a:lnTo>
                    <a:pt x="754" y="576"/>
                  </a:lnTo>
                  <a:lnTo>
                    <a:pt x="748" y="588"/>
                  </a:lnTo>
                  <a:lnTo>
                    <a:pt x="742" y="598"/>
                  </a:lnTo>
                  <a:lnTo>
                    <a:pt x="734" y="610"/>
                  </a:lnTo>
                  <a:lnTo>
                    <a:pt x="726" y="618"/>
                  </a:lnTo>
                  <a:lnTo>
                    <a:pt x="716" y="628"/>
                  </a:lnTo>
                  <a:lnTo>
                    <a:pt x="706" y="636"/>
                  </a:lnTo>
                  <a:lnTo>
                    <a:pt x="694" y="642"/>
                  </a:lnTo>
                  <a:lnTo>
                    <a:pt x="682" y="648"/>
                  </a:lnTo>
                  <a:lnTo>
                    <a:pt x="670" y="652"/>
                  </a:lnTo>
                  <a:lnTo>
                    <a:pt x="656" y="656"/>
                  </a:lnTo>
                  <a:lnTo>
                    <a:pt x="644" y="658"/>
                  </a:lnTo>
                  <a:lnTo>
                    <a:pt x="630" y="658"/>
                  </a:lnTo>
                  <a:lnTo>
                    <a:pt x="630" y="658"/>
                  </a:lnTo>
                  <a:lnTo>
                    <a:pt x="616" y="658"/>
                  </a:lnTo>
                  <a:lnTo>
                    <a:pt x="602" y="656"/>
                  </a:lnTo>
                  <a:lnTo>
                    <a:pt x="590" y="652"/>
                  </a:lnTo>
                  <a:lnTo>
                    <a:pt x="576" y="648"/>
                  </a:lnTo>
                  <a:lnTo>
                    <a:pt x="566" y="642"/>
                  </a:lnTo>
                  <a:lnTo>
                    <a:pt x="554" y="636"/>
                  </a:lnTo>
                  <a:lnTo>
                    <a:pt x="544" y="628"/>
                  </a:lnTo>
                  <a:lnTo>
                    <a:pt x="534" y="618"/>
                  </a:lnTo>
                  <a:lnTo>
                    <a:pt x="526" y="610"/>
                  </a:lnTo>
                  <a:lnTo>
                    <a:pt x="518" y="598"/>
                  </a:lnTo>
                  <a:lnTo>
                    <a:pt x="510" y="588"/>
                  </a:lnTo>
                  <a:lnTo>
                    <a:pt x="504" y="576"/>
                  </a:lnTo>
                  <a:lnTo>
                    <a:pt x="500" y="564"/>
                  </a:lnTo>
                  <a:lnTo>
                    <a:pt x="498" y="550"/>
                  </a:lnTo>
                  <a:lnTo>
                    <a:pt x="496" y="538"/>
                  </a:lnTo>
                  <a:lnTo>
                    <a:pt x="494" y="524"/>
                  </a:lnTo>
                  <a:lnTo>
                    <a:pt x="494" y="524"/>
                  </a:lnTo>
                  <a:lnTo>
                    <a:pt x="496" y="510"/>
                  </a:lnTo>
                  <a:lnTo>
                    <a:pt x="498" y="496"/>
                  </a:lnTo>
                  <a:lnTo>
                    <a:pt x="500" y="484"/>
                  </a:lnTo>
                  <a:lnTo>
                    <a:pt x="504" y="470"/>
                  </a:lnTo>
                  <a:lnTo>
                    <a:pt x="510" y="458"/>
                  </a:lnTo>
                  <a:lnTo>
                    <a:pt x="518" y="448"/>
                  </a:lnTo>
                  <a:lnTo>
                    <a:pt x="526" y="438"/>
                  </a:lnTo>
                  <a:lnTo>
                    <a:pt x="534" y="428"/>
                  </a:lnTo>
                  <a:lnTo>
                    <a:pt x="544" y="418"/>
                  </a:lnTo>
                  <a:lnTo>
                    <a:pt x="554" y="412"/>
                  </a:lnTo>
                  <a:lnTo>
                    <a:pt x="566" y="404"/>
                  </a:lnTo>
                  <a:lnTo>
                    <a:pt x="576" y="398"/>
                  </a:lnTo>
                  <a:lnTo>
                    <a:pt x="590" y="394"/>
                  </a:lnTo>
                  <a:lnTo>
                    <a:pt x="602" y="390"/>
                  </a:lnTo>
                  <a:lnTo>
                    <a:pt x="616" y="388"/>
                  </a:lnTo>
                  <a:lnTo>
                    <a:pt x="630" y="388"/>
                  </a:lnTo>
                  <a:lnTo>
                    <a:pt x="630" y="388"/>
                  </a:lnTo>
                  <a:close/>
                  <a:moveTo>
                    <a:pt x="794" y="1120"/>
                  </a:moveTo>
                  <a:lnTo>
                    <a:pt x="722" y="1120"/>
                  </a:lnTo>
                  <a:lnTo>
                    <a:pt x="722" y="1340"/>
                  </a:lnTo>
                  <a:lnTo>
                    <a:pt x="722" y="1340"/>
                  </a:lnTo>
                  <a:lnTo>
                    <a:pt x="720" y="1346"/>
                  </a:lnTo>
                  <a:lnTo>
                    <a:pt x="718" y="1352"/>
                  </a:lnTo>
                  <a:lnTo>
                    <a:pt x="716" y="1358"/>
                  </a:lnTo>
                  <a:lnTo>
                    <a:pt x="710" y="1364"/>
                  </a:lnTo>
                  <a:lnTo>
                    <a:pt x="706" y="1368"/>
                  </a:lnTo>
                  <a:lnTo>
                    <a:pt x="700" y="1372"/>
                  </a:lnTo>
                  <a:lnTo>
                    <a:pt x="694" y="1374"/>
                  </a:lnTo>
                  <a:lnTo>
                    <a:pt x="686" y="1374"/>
                  </a:lnTo>
                  <a:lnTo>
                    <a:pt x="686" y="1374"/>
                  </a:lnTo>
                  <a:lnTo>
                    <a:pt x="680" y="1374"/>
                  </a:lnTo>
                  <a:lnTo>
                    <a:pt x="672" y="1372"/>
                  </a:lnTo>
                  <a:lnTo>
                    <a:pt x="666" y="1368"/>
                  </a:lnTo>
                  <a:lnTo>
                    <a:pt x="662" y="1364"/>
                  </a:lnTo>
                  <a:lnTo>
                    <a:pt x="658" y="1358"/>
                  </a:lnTo>
                  <a:lnTo>
                    <a:pt x="654" y="1352"/>
                  </a:lnTo>
                  <a:lnTo>
                    <a:pt x="652" y="1346"/>
                  </a:lnTo>
                  <a:lnTo>
                    <a:pt x="652" y="1340"/>
                  </a:lnTo>
                  <a:lnTo>
                    <a:pt x="652" y="1120"/>
                  </a:lnTo>
                  <a:lnTo>
                    <a:pt x="608" y="1120"/>
                  </a:lnTo>
                  <a:lnTo>
                    <a:pt x="608" y="1340"/>
                  </a:lnTo>
                  <a:lnTo>
                    <a:pt x="608" y="1340"/>
                  </a:lnTo>
                  <a:lnTo>
                    <a:pt x="606" y="1346"/>
                  </a:lnTo>
                  <a:lnTo>
                    <a:pt x="604" y="1352"/>
                  </a:lnTo>
                  <a:lnTo>
                    <a:pt x="602" y="1358"/>
                  </a:lnTo>
                  <a:lnTo>
                    <a:pt x="598" y="1364"/>
                  </a:lnTo>
                  <a:lnTo>
                    <a:pt x="592" y="1368"/>
                  </a:lnTo>
                  <a:lnTo>
                    <a:pt x="586" y="1372"/>
                  </a:lnTo>
                  <a:lnTo>
                    <a:pt x="580" y="1374"/>
                  </a:lnTo>
                  <a:lnTo>
                    <a:pt x="572" y="1374"/>
                  </a:lnTo>
                  <a:lnTo>
                    <a:pt x="572" y="1374"/>
                  </a:lnTo>
                  <a:lnTo>
                    <a:pt x="566" y="1374"/>
                  </a:lnTo>
                  <a:lnTo>
                    <a:pt x="560" y="1372"/>
                  </a:lnTo>
                  <a:lnTo>
                    <a:pt x="554" y="1368"/>
                  </a:lnTo>
                  <a:lnTo>
                    <a:pt x="548" y="1364"/>
                  </a:lnTo>
                  <a:lnTo>
                    <a:pt x="544" y="1358"/>
                  </a:lnTo>
                  <a:lnTo>
                    <a:pt x="540" y="1352"/>
                  </a:lnTo>
                  <a:lnTo>
                    <a:pt x="538" y="1346"/>
                  </a:lnTo>
                  <a:lnTo>
                    <a:pt x="538" y="1340"/>
                  </a:lnTo>
                  <a:lnTo>
                    <a:pt x="538" y="1120"/>
                  </a:lnTo>
                  <a:lnTo>
                    <a:pt x="466" y="1120"/>
                  </a:lnTo>
                  <a:lnTo>
                    <a:pt x="466" y="1120"/>
                  </a:lnTo>
                  <a:lnTo>
                    <a:pt x="452" y="1120"/>
                  </a:lnTo>
                  <a:lnTo>
                    <a:pt x="442" y="1116"/>
                  </a:lnTo>
                  <a:lnTo>
                    <a:pt x="434" y="1110"/>
                  </a:lnTo>
                  <a:lnTo>
                    <a:pt x="426" y="1102"/>
                  </a:lnTo>
                  <a:lnTo>
                    <a:pt x="424" y="1094"/>
                  </a:lnTo>
                  <a:lnTo>
                    <a:pt x="422" y="1084"/>
                  </a:lnTo>
                  <a:lnTo>
                    <a:pt x="424" y="1072"/>
                  </a:lnTo>
                  <a:lnTo>
                    <a:pt x="428" y="1060"/>
                  </a:lnTo>
                  <a:lnTo>
                    <a:pt x="598" y="724"/>
                  </a:lnTo>
                  <a:lnTo>
                    <a:pt x="598" y="724"/>
                  </a:lnTo>
                  <a:lnTo>
                    <a:pt x="606" y="714"/>
                  </a:lnTo>
                  <a:lnTo>
                    <a:pt x="614" y="706"/>
                  </a:lnTo>
                  <a:lnTo>
                    <a:pt x="622" y="702"/>
                  </a:lnTo>
                  <a:lnTo>
                    <a:pt x="630" y="700"/>
                  </a:lnTo>
                  <a:lnTo>
                    <a:pt x="638" y="702"/>
                  </a:lnTo>
                  <a:lnTo>
                    <a:pt x="646" y="706"/>
                  </a:lnTo>
                  <a:lnTo>
                    <a:pt x="654" y="714"/>
                  </a:lnTo>
                  <a:lnTo>
                    <a:pt x="660" y="724"/>
                  </a:lnTo>
                  <a:lnTo>
                    <a:pt x="830" y="1060"/>
                  </a:lnTo>
                  <a:lnTo>
                    <a:pt x="830" y="1060"/>
                  </a:lnTo>
                  <a:lnTo>
                    <a:pt x="836" y="1072"/>
                  </a:lnTo>
                  <a:lnTo>
                    <a:pt x="838" y="1084"/>
                  </a:lnTo>
                  <a:lnTo>
                    <a:pt x="836" y="1094"/>
                  </a:lnTo>
                  <a:lnTo>
                    <a:pt x="832" y="1102"/>
                  </a:lnTo>
                  <a:lnTo>
                    <a:pt x="826" y="1110"/>
                  </a:lnTo>
                  <a:lnTo>
                    <a:pt x="818" y="1116"/>
                  </a:lnTo>
                  <a:lnTo>
                    <a:pt x="806" y="1120"/>
                  </a:lnTo>
                  <a:lnTo>
                    <a:pt x="794" y="1120"/>
                  </a:lnTo>
                  <a:lnTo>
                    <a:pt x="794" y="1120"/>
                  </a:lnTo>
                  <a:close/>
                  <a:moveTo>
                    <a:pt x="1182" y="508"/>
                  </a:moveTo>
                  <a:lnTo>
                    <a:pt x="1182" y="508"/>
                  </a:lnTo>
                  <a:lnTo>
                    <a:pt x="1200" y="508"/>
                  </a:lnTo>
                  <a:lnTo>
                    <a:pt x="1216" y="512"/>
                  </a:lnTo>
                  <a:lnTo>
                    <a:pt x="1230" y="516"/>
                  </a:lnTo>
                  <a:lnTo>
                    <a:pt x="1242" y="524"/>
                  </a:lnTo>
                  <a:lnTo>
                    <a:pt x="1252" y="534"/>
                  </a:lnTo>
                  <a:lnTo>
                    <a:pt x="1260" y="546"/>
                  </a:lnTo>
                  <a:lnTo>
                    <a:pt x="1264" y="562"/>
                  </a:lnTo>
                  <a:lnTo>
                    <a:pt x="1266" y="580"/>
                  </a:lnTo>
                  <a:lnTo>
                    <a:pt x="1198" y="580"/>
                  </a:lnTo>
                  <a:lnTo>
                    <a:pt x="1198" y="580"/>
                  </a:lnTo>
                  <a:lnTo>
                    <a:pt x="1198" y="570"/>
                  </a:lnTo>
                  <a:lnTo>
                    <a:pt x="1194" y="560"/>
                  </a:lnTo>
                  <a:lnTo>
                    <a:pt x="1194" y="560"/>
                  </a:lnTo>
                  <a:lnTo>
                    <a:pt x="1192" y="556"/>
                  </a:lnTo>
                  <a:lnTo>
                    <a:pt x="1188" y="554"/>
                  </a:lnTo>
                  <a:lnTo>
                    <a:pt x="1182" y="552"/>
                  </a:lnTo>
                  <a:lnTo>
                    <a:pt x="1176" y="552"/>
                  </a:lnTo>
                  <a:lnTo>
                    <a:pt x="1176" y="552"/>
                  </a:lnTo>
                  <a:lnTo>
                    <a:pt x="1168" y="552"/>
                  </a:lnTo>
                  <a:lnTo>
                    <a:pt x="1160" y="554"/>
                  </a:lnTo>
                  <a:lnTo>
                    <a:pt x="1154" y="560"/>
                  </a:lnTo>
                  <a:lnTo>
                    <a:pt x="1152" y="568"/>
                  </a:lnTo>
                  <a:lnTo>
                    <a:pt x="1150" y="580"/>
                  </a:lnTo>
                  <a:lnTo>
                    <a:pt x="1148" y="598"/>
                  </a:lnTo>
                  <a:lnTo>
                    <a:pt x="1148" y="646"/>
                  </a:lnTo>
                  <a:lnTo>
                    <a:pt x="1148" y="646"/>
                  </a:lnTo>
                  <a:lnTo>
                    <a:pt x="1160" y="636"/>
                  </a:lnTo>
                  <a:lnTo>
                    <a:pt x="1170" y="630"/>
                  </a:lnTo>
                  <a:lnTo>
                    <a:pt x="1182" y="626"/>
                  </a:lnTo>
                  <a:lnTo>
                    <a:pt x="1198" y="624"/>
                  </a:lnTo>
                  <a:lnTo>
                    <a:pt x="1198" y="624"/>
                  </a:lnTo>
                  <a:lnTo>
                    <a:pt x="1210" y="624"/>
                  </a:lnTo>
                  <a:lnTo>
                    <a:pt x="1218" y="626"/>
                  </a:lnTo>
                  <a:lnTo>
                    <a:pt x="1228" y="630"/>
                  </a:lnTo>
                  <a:lnTo>
                    <a:pt x="1234" y="634"/>
                  </a:lnTo>
                  <a:lnTo>
                    <a:pt x="1242" y="638"/>
                  </a:lnTo>
                  <a:lnTo>
                    <a:pt x="1246" y="644"/>
                  </a:lnTo>
                  <a:lnTo>
                    <a:pt x="1256" y="656"/>
                  </a:lnTo>
                  <a:lnTo>
                    <a:pt x="1262" y="672"/>
                  </a:lnTo>
                  <a:lnTo>
                    <a:pt x="1266" y="690"/>
                  </a:lnTo>
                  <a:lnTo>
                    <a:pt x="1268" y="708"/>
                  </a:lnTo>
                  <a:lnTo>
                    <a:pt x="1270" y="726"/>
                  </a:lnTo>
                  <a:lnTo>
                    <a:pt x="1270" y="726"/>
                  </a:lnTo>
                  <a:lnTo>
                    <a:pt x="1268" y="750"/>
                  </a:lnTo>
                  <a:lnTo>
                    <a:pt x="1264" y="770"/>
                  </a:lnTo>
                  <a:lnTo>
                    <a:pt x="1258" y="788"/>
                  </a:lnTo>
                  <a:lnTo>
                    <a:pt x="1248" y="804"/>
                  </a:lnTo>
                  <a:lnTo>
                    <a:pt x="1236" y="818"/>
                  </a:lnTo>
                  <a:lnTo>
                    <a:pt x="1228" y="822"/>
                  </a:lnTo>
                  <a:lnTo>
                    <a:pt x="1218" y="826"/>
                  </a:lnTo>
                  <a:lnTo>
                    <a:pt x="1198" y="832"/>
                  </a:lnTo>
                  <a:lnTo>
                    <a:pt x="1174" y="834"/>
                  </a:lnTo>
                  <a:lnTo>
                    <a:pt x="1174" y="834"/>
                  </a:lnTo>
                  <a:lnTo>
                    <a:pt x="1158" y="834"/>
                  </a:lnTo>
                  <a:lnTo>
                    <a:pt x="1146" y="830"/>
                  </a:lnTo>
                  <a:lnTo>
                    <a:pt x="1134" y="828"/>
                  </a:lnTo>
                  <a:lnTo>
                    <a:pt x="1124" y="822"/>
                  </a:lnTo>
                  <a:lnTo>
                    <a:pt x="1116" y="816"/>
                  </a:lnTo>
                  <a:lnTo>
                    <a:pt x="1108" y="808"/>
                  </a:lnTo>
                  <a:lnTo>
                    <a:pt x="1102" y="800"/>
                  </a:lnTo>
                  <a:lnTo>
                    <a:pt x="1098" y="790"/>
                  </a:lnTo>
                  <a:lnTo>
                    <a:pt x="1090" y="770"/>
                  </a:lnTo>
                  <a:lnTo>
                    <a:pt x="1086" y="746"/>
                  </a:lnTo>
                  <a:lnTo>
                    <a:pt x="1084" y="722"/>
                  </a:lnTo>
                  <a:lnTo>
                    <a:pt x="1084" y="698"/>
                  </a:lnTo>
                  <a:lnTo>
                    <a:pt x="1084" y="698"/>
                  </a:lnTo>
                  <a:lnTo>
                    <a:pt x="1084" y="654"/>
                  </a:lnTo>
                  <a:lnTo>
                    <a:pt x="1086" y="614"/>
                  </a:lnTo>
                  <a:lnTo>
                    <a:pt x="1092" y="582"/>
                  </a:lnTo>
                  <a:lnTo>
                    <a:pt x="1094" y="568"/>
                  </a:lnTo>
                  <a:lnTo>
                    <a:pt x="1100" y="556"/>
                  </a:lnTo>
                  <a:lnTo>
                    <a:pt x="1104" y="544"/>
                  </a:lnTo>
                  <a:lnTo>
                    <a:pt x="1112" y="534"/>
                  </a:lnTo>
                  <a:lnTo>
                    <a:pt x="1120" y="526"/>
                  </a:lnTo>
                  <a:lnTo>
                    <a:pt x="1128" y="520"/>
                  </a:lnTo>
                  <a:lnTo>
                    <a:pt x="1140" y="514"/>
                  </a:lnTo>
                  <a:lnTo>
                    <a:pt x="1152" y="510"/>
                  </a:lnTo>
                  <a:lnTo>
                    <a:pt x="1166" y="508"/>
                  </a:lnTo>
                  <a:lnTo>
                    <a:pt x="1182" y="508"/>
                  </a:lnTo>
                  <a:lnTo>
                    <a:pt x="1182" y="508"/>
                  </a:lnTo>
                  <a:close/>
                  <a:moveTo>
                    <a:pt x="896" y="560"/>
                  </a:moveTo>
                  <a:lnTo>
                    <a:pt x="896" y="560"/>
                  </a:lnTo>
                  <a:lnTo>
                    <a:pt x="912" y="550"/>
                  </a:lnTo>
                  <a:lnTo>
                    <a:pt x="928" y="540"/>
                  </a:lnTo>
                  <a:lnTo>
                    <a:pt x="944" y="526"/>
                  </a:lnTo>
                  <a:lnTo>
                    <a:pt x="958" y="512"/>
                  </a:lnTo>
                  <a:lnTo>
                    <a:pt x="1018" y="512"/>
                  </a:lnTo>
                  <a:lnTo>
                    <a:pt x="1018" y="830"/>
                  </a:lnTo>
                  <a:lnTo>
                    <a:pt x="950" y="830"/>
                  </a:lnTo>
                  <a:lnTo>
                    <a:pt x="950" y="586"/>
                  </a:lnTo>
                  <a:lnTo>
                    <a:pt x="950" y="586"/>
                  </a:lnTo>
                  <a:lnTo>
                    <a:pt x="924" y="604"/>
                  </a:lnTo>
                  <a:lnTo>
                    <a:pt x="896" y="620"/>
                  </a:lnTo>
                  <a:lnTo>
                    <a:pt x="896" y="560"/>
                  </a:lnTo>
                  <a:close/>
                  <a:moveTo>
                    <a:pt x="1092" y="1210"/>
                  </a:moveTo>
                  <a:lnTo>
                    <a:pt x="902" y="1210"/>
                  </a:lnTo>
                  <a:lnTo>
                    <a:pt x="902" y="1154"/>
                  </a:lnTo>
                  <a:lnTo>
                    <a:pt x="902" y="1154"/>
                  </a:lnTo>
                  <a:lnTo>
                    <a:pt x="964" y="1074"/>
                  </a:lnTo>
                  <a:lnTo>
                    <a:pt x="1002" y="1024"/>
                  </a:lnTo>
                  <a:lnTo>
                    <a:pt x="1012" y="1006"/>
                  </a:lnTo>
                  <a:lnTo>
                    <a:pt x="1020" y="992"/>
                  </a:lnTo>
                  <a:lnTo>
                    <a:pt x="1024" y="980"/>
                  </a:lnTo>
                  <a:lnTo>
                    <a:pt x="1024" y="966"/>
                  </a:lnTo>
                  <a:lnTo>
                    <a:pt x="1024" y="966"/>
                  </a:lnTo>
                  <a:lnTo>
                    <a:pt x="1022" y="954"/>
                  </a:lnTo>
                  <a:lnTo>
                    <a:pt x="1018" y="944"/>
                  </a:lnTo>
                  <a:lnTo>
                    <a:pt x="1016" y="940"/>
                  </a:lnTo>
                  <a:lnTo>
                    <a:pt x="1012" y="936"/>
                  </a:lnTo>
                  <a:lnTo>
                    <a:pt x="1006" y="934"/>
                  </a:lnTo>
                  <a:lnTo>
                    <a:pt x="1000" y="934"/>
                  </a:lnTo>
                  <a:lnTo>
                    <a:pt x="1000" y="934"/>
                  </a:lnTo>
                  <a:lnTo>
                    <a:pt x="992" y="936"/>
                  </a:lnTo>
                  <a:lnTo>
                    <a:pt x="984" y="938"/>
                  </a:lnTo>
                  <a:lnTo>
                    <a:pt x="980" y="944"/>
                  </a:lnTo>
                  <a:lnTo>
                    <a:pt x="976" y="950"/>
                  </a:lnTo>
                  <a:lnTo>
                    <a:pt x="972" y="964"/>
                  </a:lnTo>
                  <a:lnTo>
                    <a:pt x="972" y="980"/>
                  </a:lnTo>
                  <a:lnTo>
                    <a:pt x="908" y="980"/>
                  </a:lnTo>
                  <a:lnTo>
                    <a:pt x="908" y="980"/>
                  </a:lnTo>
                  <a:lnTo>
                    <a:pt x="908" y="958"/>
                  </a:lnTo>
                  <a:lnTo>
                    <a:pt x="912" y="940"/>
                  </a:lnTo>
                  <a:lnTo>
                    <a:pt x="918" y="924"/>
                  </a:lnTo>
                  <a:lnTo>
                    <a:pt x="928" y="912"/>
                  </a:lnTo>
                  <a:lnTo>
                    <a:pt x="940" y="902"/>
                  </a:lnTo>
                  <a:lnTo>
                    <a:pt x="956" y="894"/>
                  </a:lnTo>
                  <a:lnTo>
                    <a:pt x="974" y="890"/>
                  </a:lnTo>
                  <a:lnTo>
                    <a:pt x="996" y="888"/>
                  </a:lnTo>
                  <a:lnTo>
                    <a:pt x="996" y="888"/>
                  </a:lnTo>
                  <a:lnTo>
                    <a:pt x="1016" y="888"/>
                  </a:lnTo>
                  <a:lnTo>
                    <a:pt x="1034" y="892"/>
                  </a:lnTo>
                  <a:lnTo>
                    <a:pt x="1050" y="898"/>
                  </a:lnTo>
                  <a:lnTo>
                    <a:pt x="1062" y="906"/>
                  </a:lnTo>
                  <a:lnTo>
                    <a:pt x="1074" y="918"/>
                  </a:lnTo>
                  <a:lnTo>
                    <a:pt x="1082" y="932"/>
                  </a:lnTo>
                  <a:lnTo>
                    <a:pt x="1086" y="948"/>
                  </a:lnTo>
                  <a:lnTo>
                    <a:pt x="1088" y="970"/>
                  </a:lnTo>
                  <a:lnTo>
                    <a:pt x="1088" y="970"/>
                  </a:lnTo>
                  <a:lnTo>
                    <a:pt x="1088" y="984"/>
                  </a:lnTo>
                  <a:lnTo>
                    <a:pt x="1084" y="996"/>
                  </a:lnTo>
                  <a:lnTo>
                    <a:pt x="1080" y="1010"/>
                  </a:lnTo>
                  <a:lnTo>
                    <a:pt x="1074" y="1024"/>
                  </a:lnTo>
                  <a:lnTo>
                    <a:pt x="1060" y="1052"/>
                  </a:lnTo>
                  <a:lnTo>
                    <a:pt x="1042" y="1078"/>
                  </a:lnTo>
                  <a:lnTo>
                    <a:pt x="1022" y="1102"/>
                  </a:lnTo>
                  <a:lnTo>
                    <a:pt x="1004" y="1124"/>
                  </a:lnTo>
                  <a:lnTo>
                    <a:pt x="970" y="1160"/>
                  </a:lnTo>
                  <a:lnTo>
                    <a:pt x="1092" y="1160"/>
                  </a:lnTo>
                  <a:lnTo>
                    <a:pt x="1092" y="1210"/>
                  </a:lnTo>
                  <a:close/>
                  <a:moveTo>
                    <a:pt x="1286" y="1138"/>
                  </a:moveTo>
                  <a:lnTo>
                    <a:pt x="1260" y="1138"/>
                  </a:lnTo>
                  <a:lnTo>
                    <a:pt x="1260" y="1210"/>
                  </a:lnTo>
                  <a:lnTo>
                    <a:pt x="1198" y="1210"/>
                  </a:lnTo>
                  <a:lnTo>
                    <a:pt x="1198" y="1138"/>
                  </a:lnTo>
                  <a:lnTo>
                    <a:pt x="1100" y="1138"/>
                  </a:lnTo>
                  <a:lnTo>
                    <a:pt x="1100" y="1074"/>
                  </a:lnTo>
                  <a:lnTo>
                    <a:pt x="1100" y="1074"/>
                  </a:lnTo>
                  <a:lnTo>
                    <a:pt x="1176" y="892"/>
                  </a:lnTo>
                  <a:lnTo>
                    <a:pt x="1260" y="892"/>
                  </a:lnTo>
                  <a:lnTo>
                    <a:pt x="1260" y="1088"/>
                  </a:lnTo>
                  <a:lnTo>
                    <a:pt x="1286" y="1088"/>
                  </a:lnTo>
                  <a:lnTo>
                    <a:pt x="1286" y="1138"/>
                  </a:lnTo>
                  <a:close/>
                  <a:moveTo>
                    <a:pt x="1430" y="730"/>
                  </a:moveTo>
                  <a:lnTo>
                    <a:pt x="1318" y="730"/>
                  </a:lnTo>
                  <a:lnTo>
                    <a:pt x="1318" y="684"/>
                  </a:lnTo>
                  <a:lnTo>
                    <a:pt x="1430" y="684"/>
                  </a:lnTo>
                  <a:lnTo>
                    <a:pt x="1430" y="73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0" name="TextBox 34"/>
          <p:cNvSpPr txBox="1">
            <a:spLocks noChangeArrowheads="1"/>
          </p:cNvSpPr>
          <p:nvPr userDrawn="1"/>
        </p:nvSpPr>
        <p:spPr bwMode="auto">
          <a:xfrm>
            <a:off x="6181522" y="4337497"/>
            <a:ext cx="1078138"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Male</a:t>
            </a:r>
          </a:p>
        </p:txBody>
      </p:sp>
      <p:grpSp>
        <p:nvGrpSpPr>
          <p:cNvPr id="51" name="Group 50"/>
          <p:cNvGrpSpPr>
            <a:grpSpLocks noChangeAspect="1"/>
          </p:cNvGrpSpPr>
          <p:nvPr userDrawn="1"/>
        </p:nvGrpSpPr>
        <p:grpSpPr>
          <a:xfrm>
            <a:off x="6086841" y="3057528"/>
            <a:ext cx="1260000" cy="1260000"/>
            <a:chOff x="3522663" y="2384425"/>
            <a:chExt cx="2806700" cy="2806700"/>
          </a:xfrm>
          <a:solidFill>
            <a:srgbClr val="000000"/>
          </a:solidFill>
        </p:grpSpPr>
        <p:sp>
          <p:nvSpPr>
            <p:cNvPr id="52" name="Freeform 33"/>
            <p:cNvSpPr>
              <a:spLocks/>
            </p:cNvSpPr>
            <p:nvPr/>
          </p:nvSpPr>
          <p:spPr bwMode="auto">
            <a:xfrm>
              <a:off x="5414963" y="387350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34"/>
            <p:cNvSpPr>
              <a:spLocks/>
            </p:cNvSpPr>
            <p:nvPr/>
          </p:nvSpPr>
          <p:spPr bwMode="auto">
            <a:xfrm>
              <a:off x="5360988" y="3448050"/>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35"/>
            <p:cNvSpPr>
              <a:spLocks noEditPoints="1"/>
            </p:cNvSpPr>
            <p:nvPr/>
          </p:nvSpPr>
          <p:spPr bwMode="auto">
            <a:xfrm>
              <a:off x="3522663" y="2384425"/>
              <a:ext cx="2806700" cy="2806700"/>
            </a:xfrm>
            <a:custGeom>
              <a:avLst/>
              <a:gdLst>
                <a:gd name="T0" fmla="*/ 664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676 w 1768"/>
                <a:gd name="T39" fmla="*/ 402 h 1768"/>
                <a:gd name="T40" fmla="*/ 744 w 1768"/>
                <a:gd name="T41" fmla="*/ 462 h 1768"/>
                <a:gd name="T42" fmla="*/ 758 w 1768"/>
                <a:gd name="T43" fmla="*/ 542 h 1768"/>
                <a:gd name="T44" fmla="*/ 720 w 1768"/>
                <a:gd name="T45" fmla="*/ 624 h 1768"/>
                <a:gd name="T46" fmla="*/ 638 w 1768"/>
                <a:gd name="T47" fmla="*/ 664 h 1768"/>
                <a:gd name="T48" fmla="*/ 558 w 1768"/>
                <a:gd name="T49" fmla="*/ 648 h 1768"/>
                <a:gd name="T50" fmla="*/ 498 w 1768"/>
                <a:gd name="T51" fmla="*/ 580 h 1768"/>
                <a:gd name="T52" fmla="*/ 490 w 1768"/>
                <a:gd name="T53" fmla="*/ 500 h 1768"/>
                <a:gd name="T54" fmla="*/ 536 w 1768"/>
                <a:gd name="T55" fmla="*/ 422 h 1768"/>
                <a:gd name="T56" fmla="*/ 624 w 1768"/>
                <a:gd name="T57" fmla="*/ 392 h 1768"/>
                <a:gd name="T58" fmla="*/ 772 w 1768"/>
                <a:gd name="T59" fmla="*/ 1056 h 1768"/>
                <a:gd name="T60" fmla="*/ 706 w 1768"/>
                <a:gd name="T61" fmla="*/ 1366 h 1768"/>
                <a:gd name="T62" fmla="*/ 670 w 1768"/>
                <a:gd name="T63" fmla="*/ 1374 h 1768"/>
                <a:gd name="T64" fmla="*/ 648 w 1768"/>
                <a:gd name="T65" fmla="*/ 1056 h 1768"/>
                <a:gd name="T66" fmla="*/ 594 w 1768"/>
                <a:gd name="T67" fmla="*/ 1366 h 1768"/>
                <a:gd name="T68" fmla="*/ 562 w 1768"/>
                <a:gd name="T69" fmla="*/ 1376 h 1768"/>
                <a:gd name="T70" fmla="*/ 534 w 1768"/>
                <a:gd name="T71" fmla="*/ 1342 h 1768"/>
                <a:gd name="T72" fmla="*/ 452 w 1768"/>
                <a:gd name="T73" fmla="*/ 1034 h 1768"/>
                <a:gd name="T74" fmla="*/ 772 w 1768"/>
                <a:gd name="T75" fmla="*/ 710 h 1768"/>
                <a:gd name="T76" fmla="*/ 1192 w 1768"/>
                <a:gd name="T77" fmla="*/ 510 h 1768"/>
                <a:gd name="T78" fmla="*/ 1270 w 1768"/>
                <a:gd name="T79" fmla="*/ 548 h 1768"/>
                <a:gd name="T80" fmla="*/ 1204 w 1768"/>
                <a:gd name="T81" fmla="*/ 562 h 1768"/>
                <a:gd name="T82" fmla="*/ 1170 w 1768"/>
                <a:gd name="T83" fmla="*/ 556 h 1768"/>
                <a:gd name="T84" fmla="*/ 1168 w 1768"/>
                <a:gd name="T85" fmla="*/ 638 h 1768"/>
                <a:gd name="T86" fmla="*/ 1236 w 1768"/>
                <a:gd name="T87" fmla="*/ 632 h 1768"/>
                <a:gd name="T88" fmla="*/ 1278 w 1768"/>
                <a:gd name="T89" fmla="*/ 710 h 1768"/>
                <a:gd name="T90" fmla="*/ 1244 w 1768"/>
                <a:gd name="T91" fmla="*/ 820 h 1768"/>
                <a:gd name="T92" fmla="*/ 1156 w 1768"/>
                <a:gd name="T93" fmla="*/ 832 h 1768"/>
                <a:gd name="T94" fmla="*/ 1100 w 1768"/>
                <a:gd name="T95" fmla="*/ 772 h 1768"/>
                <a:gd name="T96" fmla="*/ 1100 w 1768"/>
                <a:gd name="T97" fmla="*/ 584 h 1768"/>
                <a:gd name="T98" fmla="*/ 1148 w 1768"/>
                <a:gd name="T99" fmla="*/ 516 h 1768"/>
                <a:gd name="T100" fmla="*/ 958 w 1768"/>
                <a:gd name="T101" fmla="*/ 552 h 1768"/>
                <a:gd name="T102" fmla="*/ 996 w 1768"/>
                <a:gd name="T103" fmla="*/ 588 h 1768"/>
                <a:gd name="T104" fmla="*/ 936 w 1768"/>
                <a:gd name="T105" fmla="*/ 1156 h 1768"/>
                <a:gd name="T106" fmla="*/ 1058 w 1768"/>
                <a:gd name="T107" fmla="*/ 968 h 1768"/>
                <a:gd name="T108" fmla="*/ 1034 w 1768"/>
                <a:gd name="T109" fmla="*/ 936 h 1768"/>
                <a:gd name="T110" fmla="*/ 1006 w 1768"/>
                <a:gd name="T111" fmla="*/ 982 h 1768"/>
                <a:gd name="T112" fmla="*/ 974 w 1768"/>
                <a:gd name="T113" fmla="*/ 904 h 1768"/>
                <a:gd name="T114" fmla="*/ 1082 w 1768"/>
                <a:gd name="T115" fmla="*/ 900 h 1768"/>
                <a:gd name="T116" fmla="*/ 1122 w 1768"/>
                <a:gd name="T117" fmla="*/ 986 h 1768"/>
                <a:gd name="T118" fmla="*/ 1038 w 1768"/>
                <a:gd name="T119" fmla="*/ 1126 h 1768"/>
                <a:gd name="T120" fmla="*/ 1242 w 1768"/>
                <a:gd name="T121" fmla="*/ 1212 h 1768"/>
                <a:gd name="T122" fmla="*/ 1304 w 1768"/>
                <a:gd name="T123" fmla="*/ 1090 h 1768"/>
                <a:gd name="T124" fmla="*/ 1424 w 1768"/>
                <a:gd name="T125" fmla="*/ 73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8"/>
                  </a:lnTo>
                  <a:lnTo>
                    <a:pt x="1228" y="70"/>
                  </a:lnTo>
                  <a:lnTo>
                    <a:pt x="1188" y="54"/>
                  </a:lnTo>
                  <a:lnTo>
                    <a:pt x="1146" y="40"/>
                  </a:lnTo>
                  <a:lnTo>
                    <a:pt x="1104" y="28"/>
                  </a:lnTo>
                  <a:lnTo>
                    <a:pt x="1062" y="18"/>
                  </a:lnTo>
                  <a:lnTo>
                    <a:pt x="1018" y="10"/>
                  </a:lnTo>
                  <a:lnTo>
                    <a:pt x="974" y="4"/>
                  </a:lnTo>
                  <a:lnTo>
                    <a:pt x="930" y="0"/>
                  </a:lnTo>
                  <a:lnTo>
                    <a:pt x="884" y="0"/>
                  </a:lnTo>
                  <a:lnTo>
                    <a:pt x="884" y="0"/>
                  </a:lnTo>
                  <a:close/>
                  <a:moveTo>
                    <a:pt x="624" y="392"/>
                  </a:moveTo>
                  <a:lnTo>
                    <a:pt x="624" y="392"/>
                  </a:lnTo>
                  <a:lnTo>
                    <a:pt x="638" y="392"/>
                  </a:lnTo>
                  <a:lnTo>
                    <a:pt x="650" y="394"/>
                  </a:lnTo>
                  <a:lnTo>
                    <a:pt x="664" y="398"/>
                  </a:lnTo>
                  <a:lnTo>
                    <a:pt x="676" y="402"/>
                  </a:lnTo>
                  <a:lnTo>
                    <a:pt x="688" y="408"/>
                  </a:lnTo>
                  <a:lnTo>
                    <a:pt x="700" y="414"/>
                  </a:lnTo>
                  <a:lnTo>
                    <a:pt x="710" y="422"/>
                  </a:lnTo>
                  <a:lnTo>
                    <a:pt x="720" y="432"/>
                  </a:lnTo>
                  <a:lnTo>
                    <a:pt x="728" y="442"/>
                  </a:lnTo>
                  <a:lnTo>
                    <a:pt x="736" y="452"/>
                  </a:lnTo>
                  <a:lnTo>
                    <a:pt x="744" y="462"/>
                  </a:lnTo>
                  <a:lnTo>
                    <a:pt x="748" y="474"/>
                  </a:lnTo>
                  <a:lnTo>
                    <a:pt x="754" y="488"/>
                  </a:lnTo>
                  <a:lnTo>
                    <a:pt x="756" y="500"/>
                  </a:lnTo>
                  <a:lnTo>
                    <a:pt x="758" y="514"/>
                  </a:lnTo>
                  <a:lnTo>
                    <a:pt x="760" y="528"/>
                  </a:lnTo>
                  <a:lnTo>
                    <a:pt x="760" y="528"/>
                  </a:lnTo>
                  <a:lnTo>
                    <a:pt x="758" y="542"/>
                  </a:lnTo>
                  <a:lnTo>
                    <a:pt x="756" y="556"/>
                  </a:lnTo>
                  <a:lnTo>
                    <a:pt x="754" y="568"/>
                  </a:lnTo>
                  <a:lnTo>
                    <a:pt x="748" y="580"/>
                  </a:lnTo>
                  <a:lnTo>
                    <a:pt x="744" y="592"/>
                  </a:lnTo>
                  <a:lnTo>
                    <a:pt x="736" y="604"/>
                  </a:lnTo>
                  <a:lnTo>
                    <a:pt x="728" y="614"/>
                  </a:lnTo>
                  <a:lnTo>
                    <a:pt x="720" y="624"/>
                  </a:lnTo>
                  <a:lnTo>
                    <a:pt x="710" y="632"/>
                  </a:lnTo>
                  <a:lnTo>
                    <a:pt x="700" y="640"/>
                  </a:lnTo>
                  <a:lnTo>
                    <a:pt x="688" y="648"/>
                  </a:lnTo>
                  <a:lnTo>
                    <a:pt x="676" y="654"/>
                  </a:lnTo>
                  <a:lnTo>
                    <a:pt x="664" y="658"/>
                  </a:lnTo>
                  <a:lnTo>
                    <a:pt x="650" y="662"/>
                  </a:lnTo>
                  <a:lnTo>
                    <a:pt x="638" y="664"/>
                  </a:lnTo>
                  <a:lnTo>
                    <a:pt x="624" y="664"/>
                  </a:lnTo>
                  <a:lnTo>
                    <a:pt x="624" y="664"/>
                  </a:lnTo>
                  <a:lnTo>
                    <a:pt x="610" y="664"/>
                  </a:lnTo>
                  <a:lnTo>
                    <a:pt x="596" y="662"/>
                  </a:lnTo>
                  <a:lnTo>
                    <a:pt x="582" y="658"/>
                  </a:lnTo>
                  <a:lnTo>
                    <a:pt x="570" y="654"/>
                  </a:lnTo>
                  <a:lnTo>
                    <a:pt x="558" y="648"/>
                  </a:lnTo>
                  <a:lnTo>
                    <a:pt x="548" y="640"/>
                  </a:lnTo>
                  <a:lnTo>
                    <a:pt x="536" y="632"/>
                  </a:lnTo>
                  <a:lnTo>
                    <a:pt x="528" y="624"/>
                  </a:lnTo>
                  <a:lnTo>
                    <a:pt x="518" y="614"/>
                  </a:lnTo>
                  <a:lnTo>
                    <a:pt x="510" y="604"/>
                  </a:lnTo>
                  <a:lnTo>
                    <a:pt x="504" y="592"/>
                  </a:lnTo>
                  <a:lnTo>
                    <a:pt x="498" y="580"/>
                  </a:lnTo>
                  <a:lnTo>
                    <a:pt x="494" y="568"/>
                  </a:lnTo>
                  <a:lnTo>
                    <a:pt x="490" y="556"/>
                  </a:lnTo>
                  <a:lnTo>
                    <a:pt x="488" y="542"/>
                  </a:lnTo>
                  <a:lnTo>
                    <a:pt x="488" y="528"/>
                  </a:lnTo>
                  <a:lnTo>
                    <a:pt x="488" y="528"/>
                  </a:lnTo>
                  <a:lnTo>
                    <a:pt x="488" y="514"/>
                  </a:lnTo>
                  <a:lnTo>
                    <a:pt x="490" y="500"/>
                  </a:lnTo>
                  <a:lnTo>
                    <a:pt x="494" y="488"/>
                  </a:lnTo>
                  <a:lnTo>
                    <a:pt x="498" y="474"/>
                  </a:lnTo>
                  <a:lnTo>
                    <a:pt x="504" y="462"/>
                  </a:lnTo>
                  <a:lnTo>
                    <a:pt x="510" y="452"/>
                  </a:lnTo>
                  <a:lnTo>
                    <a:pt x="518" y="442"/>
                  </a:lnTo>
                  <a:lnTo>
                    <a:pt x="528" y="432"/>
                  </a:lnTo>
                  <a:lnTo>
                    <a:pt x="536" y="422"/>
                  </a:lnTo>
                  <a:lnTo>
                    <a:pt x="548" y="414"/>
                  </a:lnTo>
                  <a:lnTo>
                    <a:pt x="558" y="408"/>
                  </a:lnTo>
                  <a:lnTo>
                    <a:pt x="570" y="402"/>
                  </a:lnTo>
                  <a:lnTo>
                    <a:pt x="582" y="398"/>
                  </a:lnTo>
                  <a:lnTo>
                    <a:pt x="596" y="394"/>
                  </a:lnTo>
                  <a:lnTo>
                    <a:pt x="610" y="392"/>
                  </a:lnTo>
                  <a:lnTo>
                    <a:pt x="624" y="392"/>
                  </a:lnTo>
                  <a:lnTo>
                    <a:pt x="624" y="392"/>
                  </a:lnTo>
                  <a:close/>
                  <a:moveTo>
                    <a:pt x="794" y="1034"/>
                  </a:moveTo>
                  <a:lnTo>
                    <a:pt x="794" y="1034"/>
                  </a:lnTo>
                  <a:lnTo>
                    <a:pt x="792" y="1042"/>
                  </a:lnTo>
                  <a:lnTo>
                    <a:pt x="788" y="1050"/>
                  </a:lnTo>
                  <a:lnTo>
                    <a:pt x="780" y="1054"/>
                  </a:lnTo>
                  <a:lnTo>
                    <a:pt x="772" y="1056"/>
                  </a:lnTo>
                  <a:lnTo>
                    <a:pt x="718" y="1056"/>
                  </a:lnTo>
                  <a:lnTo>
                    <a:pt x="718" y="1342"/>
                  </a:lnTo>
                  <a:lnTo>
                    <a:pt x="718" y="1342"/>
                  </a:lnTo>
                  <a:lnTo>
                    <a:pt x="716" y="1348"/>
                  </a:lnTo>
                  <a:lnTo>
                    <a:pt x="714" y="1356"/>
                  </a:lnTo>
                  <a:lnTo>
                    <a:pt x="712" y="1362"/>
                  </a:lnTo>
                  <a:lnTo>
                    <a:pt x="706" y="1366"/>
                  </a:lnTo>
                  <a:lnTo>
                    <a:pt x="702" y="1370"/>
                  </a:lnTo>
                  <a:lnTo>
                    <a:pt x="696" y="1374"/>
                  </a:lnTo>
                  <a:lnTo>
                    <a:pt x="690" y="1376"/>
                  </a:lnTo>
                  <a:lnTo>
                    <a:pt x="682" y="1376"/>
                  </a:lnTo>
                  <a:lnTo>
                    <a:pt x="682" y="1376"/>
                  </a:lnTo>
                  <a:lnTo>
                    <a:pt x="676" y="1376"/>
                  </a:lnTo>
                  <a:lnTo>
                    <a:pt x="670" y="1374"/>
                  </a:lnTo>
                  <a:lnTo>
                    <a:pt x="664" y="1370"/>
                  </a:lnTo>
                  <a:lnTo>
                    <a:pt x="658" y="1366"/>
                  </a:lnTo>
                  <a:lnTo>
                    <a:pt x="654" y="1362"/>
                  </a:lnTo>
                  <a:lnTo>
                    <a:pt x="650" y="1356"/>
                  </a:lnTo>
                  <a:lnTo>
                    <a:pt x="648" y="1348"/>
                  </a:lnTo>
                  <a:lnTo>
                    <a:pt x="648" y="1342"/>
                  </a:lnTo>
                  <a:lnTo>
                    <a:pt x="648" y="1056"/>
                  </a:lnTo>
                  <a:lnTo>
                    <a:pt x="604" y="1056"/>
                  </a:lnTo>
                  <a:lnTo>
                    <a:pt x="604" y="1342"/>
                  </a:lnTo>
                  <a:lnTo>
                    <a:pt x="604" y="1342"/>
                  </a:lnTo>
                  <a:lnTo>
                    <a:pt x="602" y="1348"/>
                  </a:lnTo>
                  <a:lnTo>
                    <a:pt x="600" y="1356"/>
                  </a:lnTo>
                  <a:lnTo>
                    <a:pt x="598" y="1362"/>
                  </a:lnTo>
                  <a:lnTo>
                    <a:pt x="594" y="1366"/>
                  </a:lnTo>
                  <a:lnTo>
                    <a:pt x="588" y="1370"/>
                  </a:lnTo>
                  <a:lnTo>
                    <a:pt x="582" y="1374"/>
                  </a:lnTo>
                  <a:lnTo>
                    <a:pt x="576" y="1376"/>
                  </a:lnTo>
                  <a:lnTo>
                    <a:pt x="568" y="1376"/>
                  </a:lnTo>
                  <a:lnTo>
                    <a:pt x="568" y="1376"/>
                  </a:lnTo>
                  <a:lnTo>
                    <a:pt x="568" y="1376"/>
                  </a:lnTo>
                  <a:lnTo>
                    <a:pt x="562" y="1376"/>
                  </a:lnTo>
                  <a:lnTo>
                    <a:pt x="556" y="1374"/>
                  </a:lnTo>
                  <a:lnTo>
                    <a:pt x="550" y="1370"/>
                  </a:lnTo>
                  <a:lnTo>
                    <a:pt x="544" y="1366"/>
                  </a:lnTo>
                  <a:lnTo>
                    <a:pt x="540" y="1362"/>
                  </a:lnTo>
                  <a:lnTo>
                    <a:pt x="538" y="1356"/>
                  </a:lnTo>
                  <a:lnTo>
                    <a:pt x="536" y="1348"/>
                  </a:lnTo>
                  <a:lnTo>
                    <a:pt x="534" y="1342"/>
                  </a:lnTo>
                  <a:lnTo>
                    <a:pt x="534" y="1056"/>
                  </a:lnTo>
                  <a:lnTo>
                    <a:pt x="476" y="1056"/>
                  </a:lnTo>
                  <a:lnTo>
                    <a:pt x="476" y="1056"/>
                  </a:lnTo>
                  <a:lnTo>
                    <a:pt x="466" y="1054"/>
                  </a:lnTo>
                  <a:lnTo>
                    <a:pt x="460" y="1050"/>
                  </a:lnTo>
                  <a:lnTo>
                    <a:pt x="454" y="1042"/>
                  </a:lnTo>
                  <a:lnTo>
                    <a:pt x="452" y="1034"/>
                  </a:lnTo>
                  <a:lnTo>
                    <a:pt x="452" y="734"/>
                  </a:lnTo>
                  <a:lnTo>
                    <a:pt x="452" y="734"/>
                  </a:lnTo>
                  <a:lnTo>
                    <a:pt x="454" y="724"/>
                  </a:lnTo>
                  <a:lnTo>
                    <a:pt x="460" y="718"/>
                  </a:lnTo>
                  <a:lnTo>
                    <a:pt x="466" y="712"/>
                  </a:lnTo>
                  <a:lnTo>
                    <a:pt x="476" y="710"/>
                  </a:lnTo>
                  <a:lnTo>
                    <a:pt x="772" y="710"/>
                  </a:lnTo>
                  <a:lnTo>
                    <a:pt x="772" y="710"/>
                  </a:lnTo>
                  <a:lnTo>
                    <a:pt x="780" y="712"/>
                  </a:lnTo>
                  <a:lnTo>
                    <a:pt x="788" y="718"/>
                  </a:lnTo>
                  <a:lnTo>
                    <a:pt x="792" y="724"/>
                  </a:lnTo>
                  <a:lnTo>
                    <a:pt x="794" y="734"/>
                  </a:lnTo>
                  <a:lnTo>
                    <a:pt x="794" y="1034"/>
                  </a:lnTo>
                  <a:close/>
                  <a:moveTo>
                    <a:pt x="1192" y="510"/>
                  </a:moveTo>
                  <a:lnTo>
                    <a:pt x="1192" y="510"/>
                  </a:lnTo>
                  <a:lnTo>
                    <a:pt x="1208" y="510"/>
                  </a:lnTo>
                  <a:lnTo>
                    <a:pt x="1226" y="514"/>
                  </a:lnTo>
                  <a:lnTo>
                    <a:pt x="1240" y="518"/>
                  </a:lnTo>
                  <a:lnTo>
                    <a:pt x="1252" y="526"/>
                  </a:lnTo>
                  <a:lnTo>
                    <a:pt x="1262" y="536"/>
                  </a:lnTo>
                  <a:lnTo>
                    <a:pt x="1270" y="548"/>
                  </a:lnTo>
                  <a:lnTo>
                    <a:pt x="1274" y="564"/>
                  </a:lnTo>
                  <a:lnTo>
                    <a:pt x="1276" y="582"/>
                  </a:lnTo>
                  <a:lnTo>
                    <a:pt x="1208" y="582"/>
                  </a:lnTo>
                  <a:lnTo>
                    <a:pt x="1208" y="582"/>
                  </a:lnTo>
                  <a:lnTo>
                    <a:pt x="1208" y="572"/>
                  </a:lnTo>
                  <a:lnTo>
                    <a:pt x="1204" y="562"/>
                  </a:lnTo>
                  <a:lnTo>
                    <a:pt x="1204" y="562"/>
                  </a:lnTo>
                  <a:lnTo>
                    <a:pt x="1202" y="558"/>
                  </a:lnTo>
                  <a:lnTo>
                    <a:pt x="1198" y="556"/>
                  </a:lnTo>
                  <a:lnTo>
                    <a:pt x="1192" y="554"/>
                  </a:lnTo>
                  <a:lnTo>
                    <a:pt x="1186" y="554"/>
                  </a:lnTo>
                  <a:lnTo>
                    <a:pt x="1186" y="554"/>
                  </a:lnTo>
                  <a:lnTo>
                    <a:pt x="1176" y="554"/>
                  </a:lnTo>
                  <a:lnTo>
                    <a:pt x="1170" y="556"/>
                  </a:lnTo>
                  <a:lnTo>
                    <a:pt x="1164" y="562"/>
                  </a:lnTo>
                  <a:lnTo>
                    <a:pt x="1160" y="570"/>
                  </a:lnTo>
                  <a:lnTo>
                    <a:pt x="1158" y="582"/>
                  </a:lnTo>
                  <a:lnTo>
                    <a:pt x="1158" y="600"/>
                  </a:lnTo>
                  <a:lnTo>
                    <a:pt x="1156" y="648"/>
                  </a:lnTo>
                  <a:lnTo>
                    <a:pt x="1156" y="648"/>
                  </a:lnTo>
                  <a:lnTo>
                    <a:pt x="1168" y="638"/>
                  </a:lnTo>
                  <a:lnTo>
                    <a:pt x="1180" y="632"/>
                  </a:lnTo>
                  <a:lnTo>
                    <a:pt x="1192" y="628"/>
                  </a:lnTo>
                  <a:lnTo>
                    <a:pt x="1208" y="626"/>
                  </a:lnTo>
                  <a:lnTo>
                    <a:pt x="1208" y="626"/>
                  </a:lnTo>
                  <a:lnTo>
                    <a:pt x="1218" y="626"/>
                  </a:lnTo>
                  <a:lnTo>
                    <a:pt x="1228" y="628"/>
                  </a:lnTo>
                  <a:lnTo>
                    <a:pt x="1236" y="632"/>
                  </a:lnTo>
                  <a:lnTo>
                    <a:pt x="1244" y="636"/>
                  </a:lnTo>
                  <a:lnTo>
                    <a:pt x="1250" y="640"/>
                  </a:lnTo>
                  <a:lnTo>
                    <a:pt x="1256" y="646"/>
                  </a:lnTo>
                  <a:lnTo>
                    <a:pt x="1266" y="658"/>
                  </a:lnTo>
                  <a:lnTo>
                    <a:pt x="1272" y="674"/>
                  </a:lnTo>
                  <a:lnTo>
                    <a:pt x="1276" y="692"/>
                  </a:lnTo>
                  <a:lnTo>
                    <a:pt x="1278" y="710"/>
                  </a:lnTo>
                  <a:lnTo>
                    <a:pt x="1278" y="728"/>
                  </a:lnTo>
                  <a:lnTo>
                    <a:pt x="1278" y="728"/>
                  </a:lnTo>
                  <a:lnTo>
                    <a:pt x="1278" y="752"/>
                  </a:lnTo>
                  <a:lnTo>
                    <a:pt x="1274" y="772"/>
                  </a:lnTo>
                  <a:lnTo>
                    <a:pt x="1268" y="790"/>
                  </a:lnTo>
                  <a:lnTo>
                    <a:pt x="1258" y="806"/>
                  </a:lnTo>
                  <a:lnTo>
                    <a:pt x="1244" y="820"/>
                  </a:lnTo>
                  <a:lnTo>
                    <a:pt x="1236" y="824"/>
                  </a:lnTo>
                  <a:lnTo>
                    <a:pt x="1228" y="828"/>
                  </a:lnTo>
                  <a:lnTo>
                    <a:pt x="1208" y="834"/>
                  </a:lnTo>
                  <a:lnTo>
                    <a:pt x="1182" y="836"/>
                  </a:lnTo>
                  <a:lnTo>
                    <a:pt x="1182" y="836"/>
                  </a:lnTo>
                  <a:lnTo>
                    <a:pt x="1168" y="836"/>
                  </a:lnTo>
                  <a:lnTo>
                    <a:pt x="1156" y="832"/>
                  </a:lnTo>
                  <a:lnTo>
                    <a:pt x="1144" y="830"/>
                  </a:lnTo>
                  <a:lnTo>
                    <a:pt x="1134" y="824"/>
                  </a:lnTo>
                  <a:lnTo>
                    <a:pt x="1126" y="818"/>
                  </a:lnTo>
                  <a:lnTo>
                    <a:pt x="1118" y="810"/>
                  </a:lnTo>
                  <a:lnTo>
                    <a:pt x="1112" y="802"/>
                  </a:lnTo>
                  <a:lnTo>
                    <a:pt x="1108" y="792"/>
                  </a:lnTo>
                  <a:lnTo>
                    <a:pt x="1100" y="772"/>
                  </a:lnTo>
                  <a:lnTo>
                    <a:pt x="1096" y="748"/>
                  </a:lnTo>
                  <a:lnTo>
                    <a:pt x="1094" y="724"/>
                  </a:lnTo>
                  <a:lnTo>
                    <a:pt x="1094" y="700"/>
                  </a:lnTo>
                  <a:lnTo>
                    <a:pt x="1094" y="700"/>
                  </a:lnTo>
                  <a:lnTo>
                    <a:pt x="1094" y="656"/>
                  </a:lnTo>
                  <a:lnTo>
                    <a:pt x="1096" y="616"/>
                  </a:lnTo>
                  <a:lnTo>
                    <a:pt x="1100" y="584"/>
                  </a:lnTo>
                  <a:lnTo>
                    <a:pt x="1104" y="570"/>
                  </a:lnTo>
                  <a:lnTo>
                    <a:pt x="1108" y="558"/>
                  </a:lnTo>
                  <a:lnTo>
                    <a:pt x="1114" y="546"/>
                  </a:lnTo>
                  <a:lnTo>
                    <a:pt x="1120" y="536"/>
                  </a:lnTo>
                  <a:lnTo>
                    <a:pt x="1128" y="528"/>
                  </a:lnTo>
                  <a:lnTo>
                    <a:pt x="1138" y="522"/>
                  </a:lnTo>
                  <a:lnTo>
                    <a:pt x="1148" y="516"/>
                  </a:lnTo>
                  <a:lnTo>
                    <a:pt x="1162" y="512"/>
                  </a:lnTo>
                  <a:lnTo>
                    <a:pt x="1176" y="510"/>
                  </a:lnTo>
                  <a:lnTo>
                    <a:pt x="1192" y="510"/>
                  </a:lnTo>
                  <a:lnTo>
                    <a:pt x="1192" y="510"/>
                  </a:lnTo>
                  <a:close/>
                  <a:moveTo>
                    <a:pt x="942" y="562"/>
                  </a:moveTo>
                  <a:lnTo>
                    <a:pt x="942" y="562"/>
                  </a:lnTo>
                  <a:lnTo>
                    <a:pt x="958" y="552"/>
                  </a:lnTo>
                  <a:lnTo>
                    <a:pt x="974" y="542"/>
                  </a:lnTo>
                  <a:lnTo>
                    <a:pt x="990" y="528"/>
                  </a:lnTo>
                  <a:lnTo>
                    <a:pt x="1004" y="514"/>
                  </a:lnTo>
                  <a:lnTo>
                    <a:pt x="1064" y="514"/>
                  </a:lnTo>
                  <a:lnTo>
                    <a:pt x="1064" y="832"/>
                  </a:lnTo>
                  <a:lnTo>
                    <a:pt x="996" y="832"/>
                  </a:lnTo>
                  <a:lnTo>
                    <a:pt x="996" y="588"/>
                  </a:lnTo>
                  <a:lnTo>
                    <a:pt x="996" y="588"/>
                  </a:lnTo>
                  <a:lnTo>
                    <a:pt x="970" y="606"/>
                  </a:lnTo>
                  <a:lnTo>
                    <a:pt x="942" y="622"/>
                  </a:lnTo>
                  <a:lnTo>
                    <a:pt x="942" y="562"/>
                  </a:lnTo>
                  <a:close/>
                  <a:moveTo>
                    <a:pt x="1126" y="1212"/>
                  </a:moveTo>
                  <a:lnTo>
                    <a:pt x="936" y="1212"/>
                  </a:lnTo>
                  <a:lnTo>
                    <a:pt x="936" y="1156"/>
                  </a:lnTo>
                  <a:lnTo>
                    <a:pt x="936" y="1156"/>
                  </a:lnTo>
                  <a:lnTo>
                    <a:pt x="998" y="1076"/>
                  </a:lnTo>
                  <a:lnTo>
                    <a:pt x="1036" y="1026"/>
                  </a:lnTo>
                  <a:lnTo>
                    <a:pt x="1046" y="1008"/>
                  </a:lnTo>
                  <a:lnTo>
                    <a:pt x="1054" y="994"/>
                  </a:lnTo>
                  <a:lnTo>
                    <a:pt x="1056" y="982"/>
                  </a:lnTo>
                  <a:lnTo>
                    <a:pt x="1058" y="968"/>
                  </a:lnTo>
                  <a:lnTo>
                    <a:pt x="1058" y="968"/>
                  </a:lnTo>
                  <a:lnTo>
                    <a:pt x="1056" y="956"/>
                  </a:lnTo>
                  <a:lnTo>
                    <a:pt x="1052" y="946"/>
                  </a:lnTo>
                  <a:lnTo>
                    <a:pt x="1050" y="942"/>
                  </a:lnTo>
                  <a:lnTo>
                    <a:pt x="1046" y="938"/>
                  </a:lnTo>
                  <a:lnTo>
                    <a:pt x="1040" y="936"/>
                  </a:lnTo>
                  <a:lnTo>
                    <a:pt x="1034" y="936"/>
                  </a:lnTo>
                  <a:lnTo>
                    <a:pt x="1034" y="936"/>
                  </a:lnTo>
                  <a:lnTo>
                    <a:pt x="1026" y="938"/>
                  </a:lnTo>
                  <a:lnTo>
                    <a:pt x="1018" y="940"/>
                  </a:lnTo>
                  <a:lnTo>
                    <a:pt x="1014" y="946"/>
                  </a:lnTo>
                  <a:lnTo>
                    <a:pt x="1010" y="952"/>
                  </a:lnTo>
                  <a:lnTo>
                    <a:pt x="1006" y="966"/>
                  </a:lnTo>
                  <a:lnTo>
                    <a:pt x="1006" y="982"/>
                  </a:lnTo>
                  <a:lnTo>
                    <a:pt x="942" y="982"/>
                  </a:lnTo>
                  <a:lnTo>
                    <a:pt x="942" y="982"/>
                  </a:lnTo>
                  <a:lnTo>
                    <a:pt x="942" y="960"/>
                  </a:lnTo>
                  <a:lnTo>
                    <a:pt x="946" y="942"/>
                  </a:lnTo>
                  <a:lnTo>
                    <a:pt x="952" y="926"/>
                  </a:lnTo>
                  <a:lnTo>
                    <a:pt x="962" y="914"/>
                  </a:lnTo>
                  <a:lnTo>
                    <a:pt x="974" y="904"/>
                  </a:lnTo>
                  <a:lnTo>
                    <a:pt x="990" y="896"/>
                  </a:lnTo>
                  <a:lnTo>
                    <a:pt x="1008" y="892"/>
                  </a:lnTo>
                  <a:lnTo>
                    <a:pt x="1030" y="890"/>
                  </a:lnTo>
                  <a:lnTo>
                    <a:pt x="1030" y="890"/>
                  </a:lnTo>
                  <a:lnTo>
                    <a:pt x="1050" y="890"/>
                  </a:lnTo>
                  <a:lnTo>
                    <a:pt x="1068" y="894"/>
                  </a:lnTo>
                  <a:lnTo>
                    <a:pt x="1082" y="900"/>
                  </a:lnTo>
                  <a:lnTo>
                    <a:pt x="1096" y="908"/>
                  </a:lnTo>
                  <a:lnTo>
                    <a:pt x="1108" y="920"/>
                  </a:lnTo>
                  <a:lnTo>
                    <a:pt x="1116" y="934"/>
                  </a:lnTo>
                  <a:lnTo>
                    <a:pt x="1120" y="950"/>
                  </a:lnTo>
                  <a:lnTo>
                    <a:pt x="1122" y="972"/>
                  </a:lnTo>
                  <a:lnTo>
                    <a:pt x="1122" y="972"/>
                  </a:lnTo>
                  <a:lnTo>
                    <a:pt x="1122" y="986"/>
                  </a:lnTo>
                  <a:lnTo>
                    <a:pt x="1118" y="998"/>
                  </a:lnTo>
                  <a:lnTo>
                    <a:pt x="1114" y="1012"/>
                  </a:lnTo>
                  <a:lnTo>
                    <a:pt x="1108" y="1026"/>
                  </a:lnTo>
                  <a:lnTo>
                    <a:pt x="1094" y="1054"/>
                  </a:lnTo>
                  <a:lnTo>
                    <a:pt x="1076" y="1080"/>
                  </a:lnTo>
                  <a:lnTo>
                    <a:pt x="1056" y="1104"/>
                  </a:lnTo>
                  <a:lnTo>
                    <a:pt x="1038" y="1126"/>
                  </a:lnTo>
                  <a:lnTo>
                    <a:pt x="1004" y="1162"/>
                  </a:lnTo>
                  <a:lnTo>
                    <a:pt x="1126" y="1162"/>
                  </a:lnTo>
                  <a:lnTo>
                    <a:pt x="1126" y="1212"/>
                  </a:lnTo>
                  <a:close/>
                  <a:moveTo>
                    <a:pt x="1330" y="1140"/>
                  </a:moveTo>
                  <a:lnTo>
                    <a:pt x="1304" y="1140"/>
                  </a:lnTo>
                  <a:lnTo>
                    <a:pt x="1304" y="1212"/>
                  </a:lnTo>
                  <a:lnTo>
                    <a:pt x="1242" y="1212"/>
                  </a:lnTo>
                  <a:lnTo>
                    <a:pt x="1242" y="1140"/>
                  </a:lnTo>
                  <a:lnTo>
                    <a:pt x="1142" y="1140"/>
                  </a:lnTo>
                  <a:lnTo>
                    <a:pt x="1142" y="1076"/>
                  </a:lnTo>
                  <a:lnTo>
                    <a:pt x="1142" y="1076"/>
                  </a:lnTo>
                  <a:lnTo>
                    <a:pt x="1220" y="894"/>
                  </a:lnTo>
                  <a:lnTo>
                    <a:pt x="1304" y="894"/>
                  </a:lnTo>
                  <a:lnTo>
                    <a:pt x="1304" y="1090"/>
                  </a:lnTo>
                  <a:lnTo>
                    <a:pt x="1330" y="1090"/>
                  </a:lnTo>
                  <a:lnTo>
                    <a:pt x="1330" y="1140"/>
                  </a:lnTo>
                  <a:close/>
                  <a:moveTo>
                    <a:pt x="1424" y="732"/>
                  </a:moveTo>
                  <a:lnTo>
                    <a:pt x="1312" y="732"/>
                  </a:lnTo>
                  <a:lnTo>
                    <a:pt x="1312" y="686"/>
                  </a:lnTo>
                  <a:lnTo>
                    <a:pt x="1424" y="686"/>
                  </a:lnTo>
                  <a:lnTo>
                    <a:pt x="1424" y="7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5" name="TextBox 42"/>
          <p:cNvSpPr txBox="1">
            <a:spLocks noChangeArrowheads="1"/>
          </p:cNvSpPr>
          <p:nvPr userDrawn="1"/>
        </p:nvSpPr>
        <p:spPr bwMode="auto">
          <a:xfrm>
            <a:off x="3276167" y="6133003"/>
            <a:ext cx="10871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a:t>
            </a:r>
          </a:p>
        </p:txBody>
      </p:sp>
      <p:grpSp>
        <p:nvGrpSpPr>
          <p:cNvPr id="56" name="Group 55"/>
          <p:cNvGrpSpPr/>
          <p:nvPr userDrawn="1"/>
        </p:nvGrpSpPr>
        <p:grpSpPr>
          <a:xfrm>
            <a:off x="3175765" y="4864973"/>
            <a:ext cx="1260000" cy="1260000"/>
            <a:chOff x="4823344" y="5752425"/>
            <a:chExt cx="1087200" cy="1087200"/>
          </a:xfrm>
        </p:grpSpPr>
        <p:sp>
          <p:nvSpPr>
            <p:cNvPr id="57" name="Freeform 9">
              <a:extLst>
                <a:ext uri="{FF2B5EF4-FFF2-40B4-BE49-F238E27FC236}">
                  <a16:creationId xmlns:a16="http://schemas.microsoft.com/office/drawing/2014/main" id="{63C11B05-091C-4F3E-94C8-75FBA5287649}"/>
                </a:ext>
              </a:extLst>
            </p:cNvPr>
            <p:cNvSpPr>
              <a:spLocks/>
            </p:cNvSpPr>
            <p:nvPr/>
          </p:nvSpPr>
          <p:spPr bwMode="auto">
            <a:xfrm>
              <a:off x="5323001" y="6180470"/>
              <a:ext cx="48826" cy="83005"/>
            </a:xfrm>
            <a:custGeom>
              <a:avLst/>
              <a:gdLst>
                <a:gd name="T0" fmla="*/ 30 w 61"/>
                <a:gd name="T1" fmla="*/ 101 h 101"/>
                <a:gd name="T2" fmla="*/ 30 w 61"/>
                <a:gd name="T3" fmla="*/ 101 h 101"/>
                <a:gd name="T4" fmla="*/ 39 w 61"/>
                <a:gd name="T5" fmla="*/ 100 h 101"/>
                <a:gd name="T6" fmla="*/ 46 w 61"/>
                <a:gd name="T7" fmla="*/ 96 h 101"/>
                <a:gd name="T8" fmla="*/ 52 w 61"/>
                <a:gd name="T9" fmla="*/ 90 h 101"/>
                <a:gd name="T10" fmla="*/ 56 w 61"/>
                <a:gd name="T11" fmla="*/ 83 h 101"/>
                <a:gd name="T12" fmla="*/ 57 w 61"/>
                <a:gd name="T13" fmla="*/ 75 h 101"/>
                <a:gd name="T14" fmla="*/ 59 w 61"/>
                <a:gd name="T15" fmla="*/ 67 h 101"/>
                <a:gd name="T16" fmla="*/ 61 w 61"/>
                <a:gd name="T17" fmla="*/ 51 h 101"/>
                <a:gd name="T18" fmla="*/ 61 w 61"/>
                <a:gd name="T19" fmla="*/ 51 h 101"/>
                <a:gd name="T20" fmla="*/ 59 w 61"/>
                <a:gd name="T21" fmla="*/ 34 h 101"/>
                <a:gd name="T22" fmla="*/ 57 w 61"/>
                <a:gd name="T23" fmla="*/ 26 h 101"/>
                <a:gd name="T24" fmla="*/ 56 w 61"/>
                <a:gd name="T25" fmla="*/ 18 h 101"/>
                <a:gd name="T26" fmla="*/ 51 w 61"/>
                <a:gd name="T27" fmla="*/ 12 h 101"/>
                <a:gd name="T28" fmla="*/ 46 w 61"/>
                <a:gd name="T29" fmla="*/ 7 h 101"/>
                <a:gd name="T30" fmla="*/ 39 w 61"/>
                <a:gd name="T31" fmla="*/ 2 h 101"/>
                <a:gd name="T32" fmla="*/ 30 w 61"/>
                <a:gd name="T33" fmla="*/ 0 h 101"/>
                <a:gd name="T34" fmla="*/ 30 w 61"/>
                <a:gd name="T35" fmla="*/ 0 h 101"/>
                <a:gd name="T36" fmla="*/ 21 w 61"/>
                <a:gd name="T37" fmla="*/ 2 h 101"/>
                <a:gd name="T38" fmla="*/ 15 w 61"/>
                <a:gd name="T39" fmla="*/ 7 h 101"/>
                <a:gd name="T40" fmla="*/ 8 w 61"/>
                <a:gd name="T41" fmla="*/ 12 h 101"/>
                <a:gd name="T42" fmla="*/ 5 w 61"/>
                <a:gd name="T43" fmla="*/ 18 h 101"/>
                <a:gd name="T44" fmla="*/ 3 w 61"/>
                <a:gd name="T45" fmla="*/ 26 h 101"/>
                <a:gd name="T46" fmla="*/ 2 w 61"/>
                <a:gd name="T47" fmla="*/ 34 h 101"/>
                <a:gd name="T48" fmla="*/ 0 w 61"/>
                <a:gd name="T49" fmla="*/ 51 h 101"/>
                <a:gd name="T50" fmla="*/ 0 w 61"/>
                <a:gd name="T51" fmla="*/ 51 h 101"/>
                <a:gd name="T52" fmla="*/ 2 w 61"/>
                <a:gd name="T53" fmla="*/ 67 h 101"/>
                <a:gd name="T54" fmla="*/ 2 w 61"/>
                <a:gd name="T55" fmla="*/ 75 h 101"/>
                <a:gd name="T56" fmla="*/ 5 w 61"/>
                <a:gd name="T57" fmla="*/ 83 h 101"/>
                <a:gd name="T58" fmla="*/ 8 w 61"/>
                <a:gd name="T59" fmla="*/ 90 h 101"/>
                <a:gd name="T60" fmla="*/ 15 w 61"/>
                <a:gd name="T61" fmla="*/ 96 h 101"/>
                <a:gd name="T62" fmla="*/ 21 w 61"/>
                <a:gd name="T63" fmla="*/ 100 h 101"/>
                <a:gd name="T64" fmla="*/ 30 w 61"/>
                <a:gd name="T65" fmla="*/ 101 h 101"/>
                <a:gd name="T66" fmla="*/ 30 w 61"/>
                <a:gd name="T6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 h="101">
                  <a:moveTo>
                    <a:pt x="30" y="101"/>
                  </a:moveTo>
                  <a:lnTo>
                    <a:pt x="30" y="101"/>
                  </a:lnTo>
                  <a:lnTo>
                    <a:pt x="39" y="100"/>
                  </a:lnTo>
                  <a:lnTo>
                    <a:pt x="46" y="96"/>
                  </a:lnTo>
                  <a:lnTo>
                    <a:pt x="52" y="90"/>
                  </a:lnTo>
                  <a:lnTo>
                    <a:pt x="56" y="83"/>
                  </a:lnTo>
                  <a:lnTo>
                    <a:pt x="57" y="75"/>
                  </a:lnTo>
                  <a:lnTo>
                    <a:pt x="59" y="67"/>
                  </a:lnTo>
                  <a:lnTo>
                    <a:pt x="61" y="51"/>
                  </a:lnTo>
                  <a:lnTo>
                    <a:pt x="61" y="51"/>
                  </a:lnTo>
                  <a:lnTo>
                    <a:pt x="59" y="34"/>
                  </a:lnTo>
                  <a:lnTo>
                    <a:pt x="57" y="26"/>
                  </a:lnTo>
                  <a:lnTo>
                    <a:pt x="56" y="18"/>
                  </a:lnTo>
                  <a:lnTo>
                    <a:pt x="51" y="12"/>
                  </a:lnTo>
                  <a:lnTo>
                    <a:pt x="46" y="7"/>
                  </a:lnTo>
                  <a:lnTo>
                    <a:pt x="39" y="2"/>
                  </a:lnTo>
                  <a:lnTo>
                    <a:pt x="30" y="0"/>
                  </a:lnTo>
                  <a:lnTo>
                    <a:pt x="30" y="0"/>
                  </a:lnTo>
                  <a:lnTo>
                    <a:pt x="21" y="2"/>
                  </a:lnTo>
                  <a:lnTo>
                    <a:pt x="15" y="7"/>
                  </a:lnTo>
                  <a:lnTo>
                    <a:pt x="8" y="12"/>
                  </a:lnTo>
                  <a:lnTo>
                    <a:pt x="5" y="18"/>
                  </a:lnTo>
                  <a:lnTo>
                    <a:pt x="3" y="26"/>
                  </a:lnTo>
                  <a:lnTo>
                    <a:pt x="2" y="34"/>
                  </a:lnTo>
                  <a:lnTo>
                    <a:pt x="0" y="51"/>
                  </a:lnTo>
                  <a:lnTo>
                    <a:pt x="0" y="51"/>
                  </a:lnTo>
                  <a:lnTo>
                    <a:pt x="2" y="67"/>
                  </a:lnTo>
                  <a:lnTo>
                    <a:pt x="2" y="75"/>
                  </a:lnTo>
                  <a:lnTo>
                    <a:pt x="5" y="83"/>
                  </a:lnTo>
                  <a:lnTo>
                    <a:pt x="8" y="90"/>
                  </a:lnTo>
                  <a:lnTo>
                    <a:pt x="15" y="96"/>
                  </a:lnTo>
                  <a:lnTo>
                    <a:pt x="21" y="100"/>
                  </a:lnTo>
                  <a:lnTo>
                    <a:pt x="30" y="101"/>
                  </a:lnTo>
                  <a:lnTo>
                    <a:pt x="30" y="10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10">
              <a:extLst>
                <a:ext uri="{FF2B5EF4-FFF2-40B4-BE49-F238E27FC236}">
                  <a16:creationId xmlns:a16="http://schemas.microsoft.com/office/drawing/2014/main" id="{926C0C71-2684-4142-BDC3-B58770D390AA}"/>
                </a:ext>
              </a:extLst>
            </p:cNvPr>
            <p:cNvSpPr>
              <a:spLocks/>
            </p:cNvSpPr>
            <p:nvPr/>
          </p:nvSpPr>
          <p:spPr bwMode="auto">
            <a:xfrm>
              <a:off x="5319746" y="6310673"/>
              <a:ext cx="55337" cy="96026"/>
            </a:xfrm>
            <a:custGeom>
              <a:avLst/>
              <a:gdLst>
                <a:gd name="T0" fmla="*/ 33 w 67"/>
                <a:gd name="T1" fmla="*/ 0 h 119"/>
                <a:gd name="T2" fmla="*/ 33 w 67"/>
                <a:gd name="T3" fmla="*/ 0 h 119"/>
                <a:gd name="T4" fmla="*/ 28 w 67"/>
                <a:gd name="T5" fmla="*/ 0 h 119"/>
                <a:gd name="T6" fmla="*/ 23 w 67"/>
                <a:gd name="T7" fmla="*/ 2 h 119"/>
                <a:gd name="T8" fmla="*/ 18 w 67"/>
                <a:gd name="T9" fmla="*/ 5 h 119"/>
                <a:gd name="T10" fmla="*/ 13 w 67"/>
                <a:gd name="T11" fmla="*/ 8 h 119"/>
                <a:gd name="T12" fmla="*/ 8 w 67"/>
                <a:gd name="T13" fmla="*/ 16 h 119"/>
                <a:gd name="T14" fmla="*/ 3 w 67"/>
                <a:gd name="T15" fmla="*/ 26 h 119"/>
                <a:gd name="T16" fmla="*/ 2 w 67"/>
                <a:gd name="T17" fmla="*/ 36 h 119"/>
                <a:gd name="T18" fmla="*/ 0 w 67"/>
                <a:gd name="T19" fmla="*/ 47 h 119"/>
                <a:gd name="T20" fmla="*/ 0 w 67"/>
                <a:gd name="T21" fmla="*/ 68 h 119"/>
                <a:gd name="T22" fmla="*/ 0 w 67"/>
                <a:gd name="T23" fmla="*/ 68 h 119"/>
                <a:gd name="T24" fmla="*/ 2 w 67"/>
                <a:gd name="T25" fmla="*/ 85 h 119"/>
                <a:gd name="T26" fmla="*/ 3 w 67"/>
                <a:gd name="T27" fmla="*/ 93 h 119"/>
                <a:gd name="T28" fmla="*/ 5 w 67"/>
                <a:gd name="T29" fmla="*/ 101 h 119"/>
                <a:gd name="T30" fmla="*/ 10 w 67"/>
                <a:gd name="T31" fmla="*/ 109 h 119"/>
                <a:gd name="T32" fmla="*/ 16 w 67"/>
                <a:gd name="T33" fmla="*/ 114 h 119"/>
                <a:gd name="T34" fmla="*/ 23 w 67"/>
                <a:gd name="T35" fmla="*/ 117 h 119"/>
                <a:gd name="T36" fmla="*/ 33 w 67"/>
                <a:gd name="T37" fmla="*/ 119 h 119"/>
                <a:gd name="T38" fmla="*/ 33 w 67"/>
                <a:gd name="T39" fmla="*/ 119 h 119"/>
                <a:gd name="T40" fmla="*/ 42 w 67"/>
                <a:gd name="T41" fmla="*/ 117 h 119"/>
                <a:gd name="T42" fmla="*/ 50 w 67"/>
                <a:gd name="T43" fmla="*/ 114 h 119"/>
                <a:gd name="T44" fmla="*/ 57 w 67"/>
                <a:gd name="T45" fmla="*/ 109 h 119"/>
                <a:gd name="T46" fmla="*/ 60 w 67"/>
                <a:gd name="T47" fmla="*/ 101 h 119"/>
                <a:gd name="T48" fmla="*/ 64 w 67"/>
                <a:gd name="T49" fmla="*/ 93 h 119"/>
                <a:gd name="T50" fmla="*/ 65 w 67"/>
                <a:gd name="T51" fmla="*/ 85 h 119"/>
                <a:gd name="T52" fmla="*/ 67 w 67"/>
                <a:gd name="T53" fmla="*/ 68 h 119"/>
                <a:gd name="T54" fmla="*/ 67 w 67"/>
                <a:gd name="T55" fmla="*/ 68 h 119"/>
                <a:gd name="T56" fmla="*/ 67 w 67"/>
                <a:gd name="T57" fmla="*/ 47 h 119"/>
                <a:gd name="T58" fmla="*/ 65 w 67"/>
                <a:gd name="T59" fmla="*/ 36 h 119"/>
                <a:gd name="T60" fmla="*/ 62 w 67"/>
                <a:gd name="T61" fmla="*/ 26 h 119"/>
                <a:gd name="T62" fmla="*/ 59 w 67"/>
                <a:gd name="T63" fmla="*/ 16 h 119"/>
                <a:gd name="T64" fmla="*/ 52 w 67"/>
                <a:gd name="T65" fmla="*/ 8 h 119"/>
                <a:gd name="T66" fmla="*/ 49 w 67"/>
                <a:gd name="T67" fmla="*/ 5 h 119"/>
                <a:gd name="T68" fmla="*/ 44 w 67"/>
                <a:gd name="T69" fmla="*/ 2 h 119"/>
                <a:gd name="T70" fmla="*/ 39 w 67"/>
                <a:gd name="T71" fmla="*/ 0 h 119"/>
                <a:gd name="T72" fmla="*/ 33 w 67"/>
                <a:gd name="T73" fmla="*/ 0 h 119"/>
                <a:gd name="T74" fmla="*/ 33 w 67"/>
                <a:gd name="T7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119">
                  <a:moveTo>
                    <a:pt x="33" y="0"/>
                  </a:moveTo>
                  <a:lnTo>
                    <a:pt x="33" y="0"/>
                  </a:lnTo>
                  <a:lnTo>
                    <a:pt x="28" y="0"/>
                  </a:lnTo>
                  <a:lnTo>
                    <a:pt x="23" y="2"/>
                  </a:lnTo>
                  <a:lnTo>
                    <a:pt x="18" y="5"/>
                  </a:lnTo>
                  <a:lnTo>
                    <a:pt x="13" y="8"/>
                  </a:lnTo>
                  <a:lnTo>
                    <a:pt x="8" y="16"/>
                  </a:lnTo>
                  <a:lnTo>
                    <a:pt x="3" y="26"/>
                  </a:lnTo>
                  <a:lnTo>
                    <a:pt x="2" y="36"/>
                  </a:lnTo>
                  <a:lnTo>
                    <a:pt x="0" y="47"/>
                  </a:lnTo>
                  <a:lnTo>
                    <a:pt x="0" y="68"/>
                  </a:lnTo>
                  <a:lnTo>
                    <a:pt x="0" y="68"/>
                  </a:lnTo>
                  <a:lnTo>
                    <a:pt x="2" y="85"/>
                  </a:lnTo>
                  <a:lnTo>
                    <a:pt x="3" y="93"/>
                  </a:lnTo>
                  <a:lnTo>
                    <a:pt x="5" y="101"/>
                  </a:lnTo>
                  <a:lnTo>
                    <a:pt x="10" y="109"/>
                  </a:lnTo>
                  <a:lnTo>
                    <a:pt x="16" y="114"/>
                  </a:lnTo>
                  <a:lnTo>
                    <a:pt x="23" y="117"/>
                  </a:lnTo>
                  <a:lnTo>
                    <a:pt x="33" y="119"/>
                  </a:lnTo>
                  <a:lnTo>
                    <a:pt x="33" y="119"/>
                  </a:lnTo>
                  <a:lnTo>
                    <a:pt x="42" y="117"/>
                  </a:lnTo>
                  <a:lnTo>
                    <a:pt x="50" y="114"/>
                  </a:lnTo>
                  <a:lnTo>
                    <a:pt x="57" y="109"/>
                  </a:lnTo>
                  <a:lnTo>
                    <a:pt x="60" y="101"/>
                  </a:lnTo>
                  <a:lnTo>
                    <a:pt x="64" y="93"/>
                  </a:lnTo>
                  <a:lnTo>
                    <a:pt x="65" y="85"/>
                  </a:lnTo>
                  <a:lnTo>
                    <a:pt x="67" y="68"/>
                  </a:lnTo>
                  <a:lnTo>
                    <a:pt x="67" y="68"/>
                  </a:lnTo>
                  <a:lnTo>
                    <a:pt x="67" y="47"/>
                  </a:lnTo>
                  <a:lnTo>
                    <a:pt x="65" y="36"/>
                  </a:lnTo>
                  <a:lnTo>
                    <a:pt x="62" y="26"/>
                  </a:lnTo>
                  <a:lnTo>
                    <a:pt x="59" y="16"/>
                  </a:lnTo>
                  <a:lnTo>
                    <a:pt x="52" y="8"/>
                  </a:lnTo>
                  <a:lnTo>
                    <a:pt x="49" y="5"/>
                  </a:lnTo>
                  <a:lnTo>
                    <a:pt x="44" y="2"/>
                  </a:lnTo>
                  <a:lnTo>
                    <a:pt x="39" y="0"/>
                  </a:lnTo>
                  <a:lnTo>
                    <a:pt x="33"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1">
              <a:extLst>
                <a:ext uri="{FF2B5EF4-FFF2-40B4-BE49-F238E27FC236}">
                  <a16:creationId xmlns:a16="http://schemas.microsoft.com/office/drawing/2014/main" id="{13D597D2-F50C-4710-9F03-DFE3BBE6BC84}"/>
                </a:ext>
              </a:extLst>
            </p:cNvPr>
            <p:cNvSpPr>
              <a:spLocks noEditPoints="1"/>
            </p:cNvSpPr>
            <p:nvPr/>
          </p:nvSpPr>
          <p:spPr bwMode="auto">
            <a:xfrm>
              <a:off x="4823344" y="5752425"/>
              <a:ext cx="1087200" cy="1087200"/>
            </a:xfrm>
            <a:custGeom>
              <a:avLst/>
              <a:gdLst>
                <a:gd name="T0" fmla="*/ 567 w 1336"/>
                <a:gd name="T1" fmla="*/ 8 h 1336"/>
                <a:gd name="T2" fmla="*/ 409 w 1336"/>
                <a:gd name="T3" fmla="*/ 52 h 1336"/>
                <a:gd name="T4" fmla="*/ 269 w 1336"/>
                <a:gd name="T5" fmla="*/ 134 h 1336"/>
                <a:gd name="T6" fmla="*/ 153 w 1336"/>
                <a:gd name="T7" fmla="*/ 243 h 1336"/>
                <a:gd name="T8" fmla="*/ 67 w 1336"/>
                <a:gd name="T9" fmla="*/ 378 h 1336"/>
                <a:gd name="T10" fmla="*/ 15 w 1336"/>
                <a:gd name="T11" fmla="*/ 533 h 1336"/>
                <a:gd name="T12" fmla="*/ 0 w 1336"/>
                <a:gd name="T13" fmla="*/ 668 h 1336"/>
                <a:gd name="T14" fmla="*/ 21 w 1336"/>
                <a:gd name="T15" fmla="*/ 834 h 1336"/>
                <a:gd name="T16" fmla="*/ 81 w 1336"/>
                <a:gd name="T17" fmla="*/ 986 h 1336"/>
                <a:gd name="T18" fmla="*/ 174 w 1336"/>
                <a:gd name="T19" fmla="*/ 1116 h 1336"/>
                <a:gd name="T20" fmla="*/ 295 w 1336"/>
                <a:gd name="T21" fmla="*/ 1222 h 1336"/>
                <a:gd name="T22" fmla="*/ 438 w 1336"/>
                <a:gd name="T23" fmla="*/ 1295 h 1336"/>
                <a:gd name="T24" fmla="*/ 600 w 1336"/>
                <a:gd name="T25" fmla="*/ 1333 h 1336"/>
                <a:gd name="T26" fmla="*/ 736 w 1336"/>
                <a:gd name="T27" fmla="*/ 1333 h 1336"/>
                <a:gd name="T28" fmla="*/ 898 w 1336"/>
                <a:gd name="T29" fmla="*/ 1295 h 1336"/>
                <a:gd name="T30" fmla="*/ 1041 w 1336"/>
                <a:gd name="T31" fmla="*/ 1222 h 1336"/>
                <a:gd name="T32" fmla="*/ 1162 w 1336"/>
                <a:gd name="T33" fmla="*/ 1116 h 1336"/>
                <a:gd name="T34" fmla="*/ 1255 w 1336"/>
                <a:gd name="T35" fmla="*/ 986 h 1336"/>
                <a:gd name="T36" fmla="*/ 1315 w 1336"/>
                <a:gd name="T37" fmla="*/ 834 h 1336"/>
                <a:gd name="T38" fmla="*/ 1336 w 1336"/>
                <a:gd name="T39" fmla="*/ 668 h 1336"/>
                <a:gd name="T40" fmla="*/ 1321 w 1336"/>
                <a:gd name="T41" fmla="*/ 533 h 1336"/>
                <a:gd name="T42" fmla="*/ 1269 w 1336"/>
                <a:gd name="T43" fmla="*/ 378 h 1336"/>
                <a:gd name="T44" fmla="*/ 1183 w 1336"/>
                <a:gd name="T45" fmla="*/ 243 h 1336"/>
                <a:gd name="T46" fmla="*/ 1067 w 1336"/>
                <a:gd name="T47" fmla="*/ 134 h 1336"/>
                <a:gd name="T48" fmla="*/ 929 w 1336"/>
                <a:gd name="T49" fmla="*/ 52 h 1336"/>
                <a:gd name="T50" fmla="*/ 769 w 1336"/>
                <a:gd name="T51" fmla="*/ 8 h 1336"/>
                <a:gd name="T52" fmla="*/ 499 w 1336"/>
                <a:gd name="T53" fmla="*/ 855 h 1336"/>
                <a:gd name="T54" fmla="*/ 386 w 1336"/>
                <a:gd name="T55" fmla="*/ 587 h 1336"/>
                <a:gd name="T56" fmla="*/ 393 w 1336"/>
                <a:gd name="T57" fmla="*/ 510 h 1336"/>
                <a:gd name="T58" fmla="*/ 644 w 1336"/>
                <a:gd name="T59" fmla="*/ 860 h 1336"/>
                <a:gd name="T60" fmla="*/ 578 w 1336"/>
                <a:gd name="T61" fmla="*/ 847 h 1336"/>
                <a:gd name="T62" fmla="*/ 546 w 1336"/>
                <a:gd name="T63" fmla="*/ 813 h 1336"/>
                <a:gd name="T64" fmla="*/ 534 w 1336"/>
                <a:gd name="T65" fmla="*/ 759 h 1336"/>
                <a:gd name="T66" fmla="*/ 551 w 1336"/>
                <a:gd name="T67" fmla="*/ 684 h 1336"/>
                <a:gd name="T68" fmla="*/ 590 w 1336"/>
                <a:gd name="T69" fmla="*/ 655 h 1336"/>
                <a:gd name="T70" fmla="*/ 543 w 1336"/>
                <a:gd name="T71" fmla="*/ 613 h 1336"/>
                <a:gd name="T72" fmla="*/ 539 w 1336"/>
                <a:gd name="T73" fmla="*/ 547 h 1336"/>
                <a:gd name="T74" fmla="*/ 559 w 1336"/>
                <a:gd name="T75" fmla="*/ 502 h 1336"/>
                <a:gd name="T76" fmla="*/ 598 w 1336"/>
                <a:gd name="T77" fmla="*/ 477 h 1336"/>
                <a:gd name="T78" fmla="*/ 691 w 1336"/>
                <a:gd name="T79" fmla="*/ 477 h 1336"/>
                <a:gd name="T80" fmla="*/ 730 w 1336"/>
                <a:gd name="T81" fmla="*/ 502 h 1336"/>
                <a:gd name="T82" fmla="*/ 749 w 1336"/>
                <a:gd name="T83" fmla="*/ 547 h 1336"/>
                <a:gd name="T84" fmla="*/ 746 w 1336"/>
                <a:gd name="T85" fmla="*/ 613 h 1336"/>
                <a:gd name="T86" fmla="*/ 697 w 1336"/>
                <a:gd name="T87" fmla="*/ 655 h 1336"/>
                <a:gd name="T88" fmla="*/ 738 w 1336"/>
                <a:gd name="T89" fmla="*/ 684 h 1336"/>
                <a:gd name="T90" fmla="*/ 754 w 1336"/>
                <a:gd name="T91" fmla="*/ 759 h 1336"/>
                <a:gd name="T92" fmla="*/ 743 w 1336"/>
                <a:gd name="T93" fmla="*/ 813 h 1336"/>
                <a:gd name="T94" fmla="*/ 710 w 1336"/>
                <a:gd name="T95" fmla="*/ 847 h 1336"/>
                <a:gd name="T96" fmla="*/ 644 w 1336"/>
                <a:gd name="T97" fmla="*/ 860 h 1336"/>
                <a:gd name="T98" fmla="*/ 883 w 1336"/>
                <a:gd name="T99" fmla="*/ 686 h 1336"/>
                <a:gd name="T100" fmla="*/ 929 w 1336"/>
                <a:gd name="T101" fmla="*/ 556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36" h="1336">
                  <a:moveTo>
                    <a:pt x="668" y="0"/>
                  </a:moveTo>
                  <a:lnTo>
                    <a:pt x="668" y="0"/>
                  </a:lnTo>
                  <a:lnTo>
                    <a:pt x="634" y="2"/>
                  </a:lnTo>
                  <a:lnTo>
                    <a:pt x="600" y="3"/>
                  </a:lnTo>
                  <a:lnTo>
                    <a:pt x="567" y="8"/>
                  </a:lnTo>
                  <a:lnTo>
                    <a:pt x="533" y="15"/>
                  </a:lnTo>
                  <a:lnTo>
                    <a:pt x="502" y="21"/>
                  </a:lnTo>
                  <a:lnTo>
                    <a:pt x="469" y="31"/>
                  </a:lnTo>
                  <a:lnTo>
                    <a:pt x="438" y="41"/>
                  </a:lnTo>
                  <a:lnTo>
                    <a:pt x="409" y="52"/>
                  </a:lnTo>
                  <a:lnTo>
                    <a:pt x="378" y="67"/>
                  </a:lnTo>
                  <a:lnTo>
                    <a:pt x="350" y="81"/>
                  </a:lnTo>
                  <a:lnTo>
                    <a:pt x="323" y="98"/>
                  </a:lnTo>
                  <a:lnTo>
                    <a:pt x="295" y="114"/>
                  </a:lnTo>
                  <a:lnTo>
                    <a:pt x="269" y="134"/>
                  </a:lnTo>
                  <a:lnTo>
                    <a:pt x="243" y="153"/>
                  </a:lnTo>
                  <a:lnTo>
                    <a:pt x="220" y="174"/>
                  </a:lnTo>
                  <a:lnTo>
                    <a:pt x="196" y="196"/>
                  </a:lnTo>
                  <a:lnTo>
                    <a:pt x="174" y="218"/>
                  </a:lnTo>
                  <a:lnTo>
                    <a:pt x="153" y="243"/>
                  </a:lnTo>
                  <a:lnTo>
                    <a:pt x="134" y="269"/>
                  </a:lnTo>
                  <a:lnTo>
                    <a:pt x="114" y="295"/>
                  </a:lnTo>
                  <a:lnTo>
                    <a:pt x="98" y="323"/>
                  </a:lnTo>
                  <a:lnTo>
                    <a:pt x="81" y="350"/>
                  </a:lnTo>
                  <a:lnTo>
                    <a:pt x="67" y="378"/>
                  </a:lnTo>
                  <a:lnTo>
                    <a:pt x="54" y="407"/>
                  </a:lnTo>
                  <a:lnTo>
                    <a:pt x="41" y="438"/>
                  </a:lnTo>
                  <a:lnTo>
                    <a:pt x="31" y="469"/>
                  </a:lnTo>
                  <a:lnTo>
                    <a:pt x="21" y="502"/>
                  </a:lnTo>
                  <a:lnTo>
                    <a:pt x="15" y="533"/>
                  </a:lnTo>
                  <a:lnTo>
                    <a:pt x="8" y="567"/>
                  </a:lnTo>
                  <a:lnTo>
                    <a:pt x="3" y="600"/>
                  </a:lnTo>
                  <a:lnTo>
                    <a:pt x="2" y="634"/>
                  </a:lnTo>
                  <a:lnTo>
                    <a:pt x="0" y="668"/>
                  </a:lnTo>
                  <a:lnTo>
                    <a:pt x="0" y="668"/>
                  </a:lnTo>
                  <a:lnTo>
                    <a:pt x="2" y="702"/>
                  </a:lnTo>
                  <a:lnTo>
                    <a:pt x="3" y="736"/>
                  </a:lnTo>
                  <a:lnTo>
                    <a:pt x="8" y="769"/>
                  </a:lnTo>
                  <a:lnTo>
                    <a:pt x="15" y="803"/>
                  </a:lnTo>
                  <a:lnTo>
                    <a:pt x="21" y="834"/>
                  </a:lnTo>
                  <a:lnTo>
                    <a:pt x="31" y="867"/>
                  </a:lnTo>
                  <a:lnTo>
                    <a:pt x="41" y="898"/>
                  </a:lnTo>
                  <a:lnTo>
                    <a:pt x="54" y="927"/>
                  </a:lnTo>
                  <a:lnTo>
                    <a:pt x="67" y="958"/>
                  </a:lnTo>
                  <a:lnTo>
                    <a:pt x="81" y="986"/>
                  </a:lnTo>
                  <a:lnTo>
                    <a:pt x="98" y="1013"/>
                  </a:lnTo>
                  <a:lnTo>
                    <a:pt x="114" y="1041"/>
                  </a:lnTo>
                  <a:lnTo>
                    <a:pt x="134" y="1067"/>
                  </a:lnTo>
                  <a:lnTo>
                    <a:pt x="153" y="1093"/>
                  </a:lnTo>
                  <a:lnTo>
                    <a:pt x="174" y="1116"/>
                  </a:lnTo>
                  <a:lnTo>
                    <a:pt x="196" y="1140"/>
                  </a:lnTo>
                  <a:lnTo>
                    <a:pt x="220" y="1162"/>
                  </a:lnTo>
                  <a:lnTo>
                    <a:pt x="243" y="1183"/>
                  </a:lnTo>
                  <a:lnTo>
                    <a:pt x="269" y="1202"/>
                  </a:lnTo>
                  <a:lnTo>
                    <a:pt x="295" y="1222"/>
                  </a:lnTo>
                  <a:lnTo>
                    <a:pt x="323" y="1238"/>
                  </a:lnTo>
                  <a:lnTo>
                    <a:pt x="350" y="1255"/>
                  </a:lnTo>
                  <a:lnTo>
                    <a:pt x="378" y="1269"/>
                  </a:lnTo>
                  <a:lnTo>
                    <a:pt x="409" y="1282"/>
                  </a:lnTo>
                  <a:lnTo>
                    <a:pt x="438" y="1295"/>
                  </a:lnTo>
                  <a:lnTo>
                    <a:pt x="469" y="1305"/>
                  </a:lnTo>
                  <a:lnTo>
                    <a:pt x="502" y="1315"/>
                  </a:lnTo>
                  <a:lnTo>
                    <a:pt x="533" y="1321"/>
                  </a:lnTo>
                  <a:lnTo>
                    <a:pt x="567" y="1328"/>
                  </a:lnTo>
                  <a:lnTo>
                    <a:pt x="600" y="1333"/>
                  </a:lnTo>
                  <a:lnTo>
                    <a:pt x="634" y="1334"/>
                  </a:lnTo>
                  <a:lnTo>
                    <a:pt x="668" y="1336"/>
                  </a:lnTo>
                  <a:lnTo>
                    <a:pt x="668" y="1336"/>
                  </a:lnTo>
                  <a:lnTo>
                    <a:pt x="702" y="1334"/>
                  </a:lnTo>
                  <a:lnTo>
                    <a:pt x="736" y="1333"/>
                  </a:lnTo>
                  <a:lnTo>
                    <a:pt x="769" y="1328"/>
                  </a:lnTo>
                  <a:lnTo>
                    <a:pt x="803" y="1321"/>
                  </a:lnTo>
                  <a:lnTo>
                    <a:pt x="834" y="1315"/>
                  </a:lnTo>
                  <a:lnTo>
                    <a:pt x="867" y="1305"/>
                  </a:lnTo>
                  <a:lnTo>
                    <a:pt x="898" y="1295"/>
                  </a:lnTo>
                  <a:lnTo>
                    <a:pt x="929" y="1282"/>
                  </a:lnTo>
                  <a:lnTo>
                    <a:pt x="958" y="1269"/>
                  </a:lnTo>
                  <a:lnTo>
                    <a:pt x="986" y="1255"/>
                  </a:lnTo>
                  <a:lnTo>
                    <a:pt x="1013" y="1238"/>
                  </a:lnTo>
                  <a:lnTo>
                    <a:pt x="1041" y="1222"/>
                  </a:lnTo>
                  <a:lnTo>
                    <a:pt x="1067" y="1202"/>
                  </a:lnTo>
                  <a:lnTo>
                    <a:pt x="1093" y="1183"/>
                  </a:lnTo>
                  <a:lnTo>
                    <a:pt x="1118" y="1162"/>
                  </a:lnTo>
                  <a:lnTo>
                    <a:pt x="1140" y="1140"/>
                  </a:lnTo>
                  <a:lnTo>
                    <a:pt x="1162" y="1116"/>
                  </a:lnTo>
                  <a:lnTo>
                    <a:pt x="1183" y="1093"/>
                  </a:lnTo>
                  <a:lnTo>
                    <a:pt x="1202" y="1067"/>
                  </a:lnTo>
                  <a:lnTo>
                    <a:pt x="1222" y="1041"/>
                  </a:lnTo>
                  <a:lnTo>
                    <a:pt x="1238" y="1013"/>
                  </a:lnTo>
                  <a:lnTo>
                    <a:pt x="1255" y="986"/>
                  </a:lnTo>
                  <a:lnTo>
                    <a:pt x="1269" y="958"/>
                  </a:lnTo>
                  <a:lnTo>
                    <a:pt x="1284" y="927"/>
                  </a:lnTo>
                  <a:lnTo>
                    <a:pt x="1295" y="898"/>
                  </a:lnTo>
                  <a:lnTo>
                    <a:pt x="1305" y="867"/>
                  </a:lnTo>
                  <a:lnTo>
                    <a:pt x="1315" y="834"/>
                  </a:lnTo>
                  <a:lnTo>
                    <a:pt x="1321" y="803"/>
                  </a:lnTo>
                  <a:lnTo>
                    <a:pt x="1328" y="769"/>
                  </a:lnTo>
                  <a:lnTo>
                    <a:pt x="1333" y="736"/>
                  </a:lnTo>
                  <a:lnTo>
                    <a:pt x="1334" y="702"/>
                  </a:lnTo>
                  <a:lnTo>
                    <a:pt x="1336" y="668"/>
                  </a:lnTo>
                  <a:lnTo>
                    <a:pt x="1336" y="668"/>
                  </a:lnTo>
                  <a:lnTo>
                    <a:pt x="1334" y="634"/>
                  </a:lnTo>
                  <a:lnTo>
                    <a:pt x="1333" y="600"/>
                  </a:lnTo>
                  <a:lnTo>
                    <a:pt x="1328" y="567"/>
                  </a:lnTo>
                  <a:lnTo>
                    <a:pt x="1321" y="533"/>
                  </a:lnTo>
                  <a:lnTo>
                    <a:pt x="1315" y="502"/>
                  </a:lnTo>
                  <a:lnTo>
                    <a:pt x="1305" y="469"/>
                  </a:lnTo>
                  <a:lnTo>
                    <a:pt x="1295" y="438"/>
                  </a:lnTo>
                  <a:lnTo>
                    <a:pt x="1284" y="407"/>
                  </a:lnTo>
                  <a:lnTo>
                    <a:pt x="1269" y="378"/>
                  </a:lnTo>
                  <a:lnTo>
                    <a:pt x="1255" y="350"/>
                  </a:lnTo>
                  <a:lnTo>
                    <a:pt x="1238" y="323"/>
                  </a:lnTo>
                  <a:lnTo>
                    <a:pt x="1222" y="295"/>
                  </a:lnTo>
                  <a:lnTo>
                    <a:pt x="1202" y="269"/>
                  </a:lnTo>
                  <a:lnTo>
                    <a:pt x="1183" y="243"/>
                  </a:lnTo>
                  <a:lnTo>
                    <a:pt x="1162" y="218"/>
                  </a:lnTo>
                  <a:lnTo>
                    <a:pt x="1140" y="196"/>
                  </a:lnTo>
                  <a:lnTo>
                    <a:pt x="1118" y="174"/>
                  </a:lnTo>
                  <a:lnTo>
                    <a:pt x="1093" y="153"/>
                  </a:lnTo>
                  <a:lnTo>
                    <a:pt x="1067" y="134"/>
                  </a:lnTo>
                  <a:lnTo>
                    <a:pt x="1041" y="114"/>
                  </a:lnTo>
                  <a:lnTo>
                    <a:pt x="1013" y="98"/>
                  </a:lnTo>
                  <a:lnTo>
                    <a:pt x="986" y="81"/>
                  </a:lnTo>
                  <a:lnTo>
                    <a:pt x="958" y="67"/>
                  </a:lnTo>
                  <a:lnTo>
                    <a:pt x="929" y="52"/>
                  </a:lnTo>
                  <a:lnTo>
                    <a:pt x="898" y="41"/>
                  </a:lnTo>
                  <a:lnTo>
                    <a:pt x="867" y="31"/>
                  </a:lnTo>
                  <a:lnTo>
                    <a:pt x="834" y="21"/>
                  </a:lnTo>
                  <a:lnTo>
                    <a:pt x="803" y="15"/>
                  </a:lnTo>
                  <a:lnTo>
                    <a:pt x="769" y="8"/>
                  </a:lnTo>
                  <a:lnTo>
                    <a:pt x="736" y="3"/>
                  </a:lnTo>
                  <a:lnTo>
                    <a:pt x="702" y="2"/>
                  </a:lnTo>
                  <a:lnTo>
                    <a:pt x="668" y="0"/>
                  </a:lnTo>
                  <a:lnTo>
                    <a:pt x="668" y="0"/>
                  </a:lnTo>
                  <a:close/>
                  <a:moveTo>
                    <a:pt x="499" y="855"/>
                  </a:moveTo>
                  <a:lnTo>
                    <a:pt x="417" y="855"/>
                  </a:lnTo>
                  <a:lnTo>
                    <a:pt x="417" y="564"/>
                  </a:lnTo>
                  <a:lnTo>
                    <a:pt x="417" y="564"/>
                  </a:lnTo>
                  <a:lnTo>
                    <a:pt x="401" y="575"/>
                  </a:lnTo>
                  <a:lnTo>
                    <a:pt x="386" y="587"/>
                  </a:lnTo>
                  <a:lnTo>
                    <a:pt x="352" y="606"/>
                  </a:lnTo>
                  <a:lnTo>
                    <a:pt x="352" y="534"/>
                  </a:lnTo>
                  <a:lnTo>
                    <a:pt x="352" y="534"/>
                  </a:lnTo>
                  <a:lnTo>
                    <a:pt x="373" y="523"/>
                  </a:lnTo>
                  <a:lnTo>
                    <a:pt x="393" y="510"/>
                  </a:lnTo>
                  <a:lnTo>
                    <a:pt x="411" y="494"/>
                  </a:lnTo>
                  <a:lnTo>
                    <a:pt x="425" y="476"/>
                  </a:lnTo>
                  <a:lnTo>
                    <a:pt x="499" y="476"/>
                  </a:lnTo>
                  <a:lnTo>
                    <a:pt x="499" y="855"/>
                  </a:lnTo>
                  <a:close/>
                  <a:moveTo>
                    <a:pt x="644" y="860"/>
                  </a:moveTo>
                  <a:lnTo>
                    <a:pt x="644" y="860"/>
                  </a:lnTo>
                  <a:lnTo>
                    <a:pt x="619" y="859"/>
                  </a:lnTo>
                  <a:lnTo>
                    <a:pt x="596" y="855"/>
                  </a:lnTo>
                  <a:lnTo>
                    <a:pt x="587" y="852"/>
                  </a:lnTo>
                  <a:lnTo>
                    <a:pt x="578" y="847"/>
                  </a:lnTo>
                  <a:lnTo>
                    <a:pt x="570" y="842"/>
                  </a:lnTo>
                  <a:lnTo>
                    <a:pt x="562" y="836"/>
                  </a:lnTo>
                  <a:lnTo>
                    <a:pt x="556" y="829"/>
                  </a:lnTo>
                  <a:lnTo>
                    <a:pt x="551" y="823"/>
                  </a:lnTo>
                  <a:lnTo>
                    <a:pt x="546" y="813"/>
                  </a:lnTo>
                  <a:lnTo>
                    <a:pt x="541" y="805"/>
                  </a:lnTo>
                  <a:lnTo>
                    <a:pt x="538" y="795"/>
                  </a:lnTo>
                  <a:lnTo>
                    <a:pt x="536" y="784"/>
                  </a:lnTo>
                  <a:lnTo>
                    <a:pt x="534" y="759"/>
                  </a:lnTo>
                  <a:lnTo>
                    <a:pt x="534" y="759"/>
                  </a:lnTo>
                  <a:lnTo>
                    <a:pt x="534" y="741"/>
                  </a:lnTo>
                  <a:lnTo>
                    <a:pt x="536" y="725"/>
                  </a:lnTo>
                  <a:lnTo>
                    <a:pt x="539" y="710"/>
                  </a:lnTo>
                  <a:lnTo>
                    <a:pt x="544" y="696"/>
                  </a:lnTo>
                  <a:lnTo>
                    <a:pt x="551" y="684"/>
                  </a:lnTo>
                  <a:lnTo>
                    <a:pt x="560" y="673"/>
                  </a:lnTo>
                  <a:lnTo>
                    <a:pt x="574" y="663"/>
                  </a:lnTo>
                  <a:lnTo>
                    <a:pt x="590" y="655"/>
                  </a:lnTo>
                  <a:lnTo>
                    <a:pt x="590" y="655"/>
                  </a:lnTo>
                  <a:lnTo>
                    <a:pt x="590" y="655"/>
                  </a:lnTo>
                  <a:lnTo>
                    <a:pt x="575" y="650"/>
                  </a:lnTo>
                  <a:lnTo>
                    <a:pt x="564" y="644"/>
                  </a:lnTo>
                  <a:lnTo>
                    <a:pt x="556" y="634"/>
                  </a:lnTo>
                  <a:lnTo>
                    <a:pt x="547" y="624"/>
                  </a:lnTo>
                  <a:lnTo>
                    <a:pt x="543" y="613"/>
                  </a:lnTo>
                  <a:lnTo>
                    <a:pt x="539" y="600"/>
                  </a:lnTo>
                  <a:lnTo>
                    <a:pt x="538" y="587"/>
                  </a:lnTo>
                  <a:lnTo>
                    <a:pt x="538" y="572"/>
                  </a:lnTo>
                  <a:lnTo>
                    <a:pt x="538" y="572"/>
                  </a:lnTo>
                  <a:lnTo>
                    <a:pt x="539" y="547"/>
                  </a:lnTo>
                  <a:lnTo>
                    <a:pt x="541" y="538"/>
                  </a:lnTo>
                  <a:lnTo>
                    <a:pt x="544" y="528"/>
                  </a:lnTo>
                  <a:lnTo>
                    <a:pt x="549" y="518"/>
                  </a:lnTo>
                  <a:lnTo>
                    <a:pt x="552" y="510"/>
                  </a:lnTo>
                  <a:lnTo>
                    <a:pt x="559" y="502"/>
                  </a:lnTo>
                  <a:lnTo>
                    <a:pt x="565" y="495"/>
                  </a:lnTo>
                  <a:lnTo>
                    <a:pt x="572" y="490"/>
                  </a:lnTo>
                  <a:lnTo>
                    <a:pt x="580" y="486"/>
                  </a:lnTo>
                  <a:lnTo>
                    <a:pt x="588" y="481"/>
                  </a:lnTo>
                  <a:lnTo>
                    <a:pt x="598" y="477"/>
                  </a:lnTo>
                  <a:lnTo>
                    <a:pt x="619" y="472"/>
                  </a:lnTo>
                  <a:lnTo>
                    <a:pt x="644" y="471"/>
                  </a:lnTo>
                  <a:lnTo>
                    <a:pt x="644" y="471"/>
                  </a:lnTo>
                  <a:lnTo>
                    <a:pt x="670" y="472"/>
                  </a:lnTo>
                  <a:lnTo>
                    <a:pt x="691" y="477"/>
                  </a:lnTo>
                  <a:lnTo>
                    <a:pt x="701" y="481"/>
                  </a:lnTo>
                  <a:lnTo>
                    <a:pt x="709" y="486"/>
                  </a:lnTo>
                  <a:lnTo>
                    <a:pt x="717" y="490"/>
                  </a:lnTo>
                  <a:lnTo>
                    <a:pt x="723" y="495"/>
                  </a:lnTo>
                  <a:lnTo>
                    <a:pt x="730" y="502"/>
                  </a:lnTo>
                  <a:lnTo>
                    <a:pt x="735" y="510"/>
                  </a:lnTo>
                  <a:lnTo>
                    <a:pt x="740" y="518"/>
                  </a:lnTo>
                  <a:lnTo>
                    <a:pt x="745" y="528"/>
                  </a:lnTo>
                  <a:lnTo>
                    <a:pt x="746" y="538"/>
                  </a:lnTo>
                  <a:lnTo>
                    <a:pt x="749" y="547"/>
                  </a:lnTo>
                  <a:lnTo>
                    <a:pt x="751" y="572"/>
                  </a:lnTo>
                  <a:lnTo>
                    <a:pt x="751" y="572"/>
                  </a:lnTo>
                  <a:lnTo>
                    <a:pt x="751" y="587"/>
                  </a:lnTo>
                  <a:lnTo>
                    <a:pt x="748" y="600"/>
                  </a:lnTo>
                  <a:lnTo>
                    <a:pt x="746" y="613"/>
                  </a:lnTo>
                  <a:lnTo>
                    <a:pt x="741" y="624"/>
                  </a:lnTo>
                  <a:lnTo>
                    <a:pt x="733" y="634"/>
                  </a:lnTo>
                  <a:lnTo>
                    <a:pt x="725" y="644"/>
                  </a:lnTo>
                  <a:lnTo>
                    <a:pt x="712" y="650"/>
                  </a:lnTo>
                  <a:lnTo>
                    <a:pt x="697" y="655"/>
                  </a:lnTo>
                  <a:lnTo>
                    <a:pt x="697" y="655"/>
                  </a:lnTo>
                  <a:lnTo>
                    <a:pt x="697" y="655"/>
                  </a:lnTo>
                  <a:lnTo>
                    <a:pt x="715" y="663"/>
                  </a:lnTo>
                  <a:lnTo>
                    <a:pt x="727" y="673"/>
                  </a:lnTo>
                  <a:lnTo>
                    <a:pt x="738" y="684"/>
                  </a:lnTo>
                  <a:lnTo>
                    <a:pt x="745" y="696"/>
                  </a:lnTo>
                  <a:lnTo>
                    <a:pt x="749" y="710"/>
                  </a:lnTo>
                  <a:lnTo>
                    <a:pt x="753" y="725"/>
                  </a:lnTo>
                  <a:lnTo>
                    <a:pt x="754" y="741"/>
                  </a:lnTo>
                  <a:lnTo>
                    <a:pt x="754" y="759"/>
                  </a:lnTo>
                  <a:lnTo>
                    <a:pt x="754" y="759"/>
                  </a:lnTo>
                  <a:lnTo>
                    <a:pt x="753" y="784"/>
                  </a:lnTo>
                  <a:lnTo>
                    <a:pt x="749" y="795"/>
                  </a:lnTo>
                  <a:lnTo>
                    <a:pt x="746" y="805"/>
                  </a:lnTo>
                  <a:lnTo>
                    <a:pt x="743" y="813"/>
                  </a:lnTo>
                  <a:lnTo>
                    <a:pt x="738" y="823"/>
                  </a:lnTo>
                  <a:lnTo>
                    <a:pt x="733" y="829"/>
                  </a:lnTo>
                  <a:lnTo>
                    <a:pt x="727" y="836"/>
                  </a:lnTo>
                  <a:lnTo>
                    <a:pt x="719" y="842"/>
                  </a:lnTo>
                  <a:lnTo>
                    <a:pt x="710" y="847"/>
                  </a:lnTo>
                  <a:lnTo>
                    <a:pt x="702" y="852"/>
                  </a:lnTo>
                  <a:lnTo>
                    <a:pt x="692" y="855"/>
                  </a:lnTo>
                  <a:lnTo>
                    <a:pt x="670" y="859"/>
                  </a:lnTo>
                  <a:lnTo>
                    <a:pt x="644" y="860"/>
                  </a:lnTo>
                  <a:lnTo>
                    <a:pt x="644" y="860"/>
                  </a:lnTo>
                  <a:close/>
                  <a:moveTo>
                    <a:pt x="1000" y="686"/>
                  </a:moveTo>
                  <a:lnTo>
                    <a:pt x="929" y="686"/>
                  </a:lnTo>
                  <a:lnTo>
                    <a:pt x="929" y="769"/>
                  </a:lnTo>
                  <a:lnTo>
                    <a:pt x="883" y="769"/>
                  </a:lnTo>
                  <a:lnTo>
                    <a:pt x="883" y="686"/>
                  </a:lnTo>
                  <a:lnTo>
                    <a:pt x="810" y="686"/>
                  </a:lnTo>
                  <a:lnTo>
                    <a:pt x="810" y="639"/>
                  </a:lnTo>
                  <a:lnTo>
                    <a:pt x="883" y="639"/>
                  </a:lnTo>
                  <a:lnTo>
                    <a:pt x="883" y="556"/>
                  </a:lnTo>
                  <a:lnTo>
                    <a:pt x="929" y="556"/>
                  </a:lnTo>
                  <a:lnTo>
                    <a:pt x="929" y="639"/>
                  </a:lnTo>
                  <a:lnTo>
                    <a:pt x="1000" y="639"/>
                  </a:lnTo>
                  <a:lnTo>
                    <a:pt x="1000" y="68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60" name="TextBox 41"/>
          <p:cNvSpPr txBox="1">
            <a:spLocks noChangeArrowheads="1"/>
          </p:cNvSpPr>
          <p:nvPr userDrawn="1"/>
        </p:nvSpPr>
        <p:spPr bwMode="auto">
          <a:xfrm>
            <a:off x="7623570" y="6132060"/>
            <a:ext cx="11096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a:t>
            </a:r>
          </a:p>
        </p:txBody>
      </p:sp>
      <p:sp>
        <p:nvSpPr>
          <p:cNvPr id="61" name="Freeform 6"/>
          <p:cNvSpPr>
            <a:spLocks/>
          </p:cNvSpPr>
          <p:nvPr userDrawn="1"/>
        </p:nvSpPr>
        <p:spPr bwMode="auto">
          <a:xfrm>
            <a:off x="7541863" y="4864973"/>
            <a:ext cx="1260000" cy="1260000"/>
          </a:xfrm>
          <a:custGeom>
            <a:avLst/>
            <a:gdLst>
              <a:gd name="T0" fmla="*/ 529472 w 1087200"/>
              <a:gd name="T1" fmla="*/ 560819 h 1087200"/>
              <a:gd name="T2" fmla="*/ 539300 w 1087200"/>
              <a:gd name="T3" fmla="*/ 585416 h 1087200"/>
              <a:gd name="T4" fmla="*/ 523330 w 1087200"/>
              <a:gd name="T5" fmla="*/ 611243 h 1087200"/>
              <a:gd name="T6" fmla="*/ 339060 w 1087200"/>
              <a:gd name="T7" fmla="*/ 482107 h 1087200"/>
              <a:gd name="T8" fmla="*/ 512274 w 1087200"/>
              <a:gd name="T9" fmla="*/ 473498 h 1087200"/>
              <a:gd name="T10" fmla="*/ 533158 w 1087200"/>
              <a:gd name="T11" fmla="*/ 484567 h 1087200"/>
              <a:gd name="T12" fmla="*/ 534386 w 1087200"/>
              <a:gd name="T13" fmla="*/ 511624 h 1087200"/>
              <a:gd name="T14" fmla="*/ 514731 w 1087200"/>
              <a:gd name="T15" fmla="*/ 525152 h 1087200"/>
              <a:gd name="T16" fmla="*/ 773940 w 1087200"/>
              <a:gd name="T17" fmla="*/ 466119 h 1087200"/>
              <a:gd name="T18" fmla="*/ 786224 w 1087200"/>
              <a:gd name="T19" fmla="*/ 494406 h 1087200"/>
              <a:gd name="T20" fmla="*/ 444708 w 1087200"/>
              <a:gd name="T21" fmla="*/ 442752 h 1087200"/>
              <a:gd name="T22" fmla="*/ 546672 w 1087200"/>
              <a:gd name="T23" fmla="*/ 640761 h 1087200"/>
              <a:gd name="T24" fmla="*/ 573698 w 1087200"/>
              <a:gd name="T25" fmla="*/ 621083 h 1087200"/>
              <a:gd name="T26" fmla="*/ 581069 w 1087200"/>
              <a:gd name="T27" fmla="*/ 580497 h 1087200"/>
              <a:gd name="T28" fmla="*/ 561413 w 1087200"/>
              <a:gd name="T29" fmla="*/ 546061 h 1087200"/>
              <a:gd name="T30" fmla="*/ 563870 w 1087200"/>
              <a:gd name="T31" fmla="*/ 530073 h 1087200"/>
              <a:gd name="T32" fmla="*/ 577384 w 1087200"/>
              <a:gd name="T33" fmla="*/ 494406 h 1087200"/>
              <a:gd name="T34" fmla="*/ 551586 w 1087200"/>
              <a:gd name="T35" fmla="*/ 447672 h 1087200"/>
              <a:gd name="T36" fmla="*/ 314490 w 1087200"/>
              <a:gd name="T37" fmla="*/ 442752 h 1087200"/>
              <a:gd name="T38" fmla="*/ 379599 w 1087200"/>
              <a:gd name="T39" fmla="*/ 644450 h 1087200"/>
              <a:gd name="T40" fmla="*/ 659691 w 1087200"/>
              <a:gd name="T41" fmla="*/ 440292 h 1087200"/>
              <a:gd name="T42" fmla="*/ 619152 w 1087200"/>
              <a:gd name="T43" fmla="*/ 458740 h 1087200"/>
              <a:gd name="T44" fmla="*/ 603182 w 1087200"/>
              <a:gd name="T45" fmla="*/ 504245 h 1087200"/>
              <a:gd name="T46" fmla="*/ 605638 w 1087200"/>
              <a:gd name="T47" fmla="*/ 600174 h 1087200"/>
              <a:gd name="T48" fmla="*/ 625294 w 1087200"/>
              <a:gd name="T49" fmla="*/ 634611 h 1087200"/>
              <a:gd name="T50" fmla="*/ 671976 w 1087200"/>
              <a:gd name="T51" fmla="*/ 648139 h 1087200"/>
              <a:gd name="T52" fmla="*/ 717429 w 1087200"/>
              <a:gd name="T53" fmla="*/ 632151 h 1087200"/>
              <a:gd name="T54" fmla="*/ 732171 w 1087200"/>
              <a:gd name="T55" fmla="*/ 576807 h 1087200"/>
              <a:gd name="T56" fmla="*/ 686718 w 1087200"/>
              <a:gd name="T57" fmla="*/ 608783 h 1087200"/>
              <a:gd name="T58" fmla="*/ 657234 w 1087200"/>
              <a:gd name="T59" fmla="*/ 613703 h 1087200"/>
              <a:gd name="T60" fmla="*/ 644950 w 1087200"/>
              <a:gd name="T61" fmla="*/ 543601 h 1087200"/>
              <a:gd name="T62" fmla="*/ 657234 w 1087200"/>
              <a:gd name="T63" fmla="*/ 473498 h 1087200"/>
              <a:gd name="T64" fmla="*/ 683032 w 1087200"/>
              <a:gd name="T65" fmla="*/ 474728 h 1087200"/>
              <a:gd name="T66" fmla="*/ 729714 w 1087200"/>
              <a:gd name="T67" fmla="*/ 506705 h 1087200"/>
              <a:gd name="T68" fmla="*/ 713744 w 1087200"/>
              <a:gd name="T69" fmla="*/ 452591 h 1087200"/>
              <a:gd name="T70" fmla="*/ 515959 w 1087200"/>
              <a:gd name="T71" fmla="*/ 0 h 1087200"/>
              <a:gd name="T72" fmla="*/ 653549 w 1087200"/>
              <a:gd name="T73" fmla="*/ 11069 h 1087200"/>
              <a:gd name="T74" fmla="*/ 778853 w 1087200"/>
              <a:gd name="T75" fmla="*/ 52884 h 1087200"/>
              <a:gd name="T76" fmla="*/ 889416 w 1087200"/>
              <a:gd name="T77" fmla="*/ 124216 h 1087200"/>
              <a:gd name="T78" fmla="*/ 979094 w 1087200"/>
              <a:gd name="T79" fmla="*/ 217686 h 1087200"/>
              <a:gd name="T80" fmla="*/ 1044204 w 1087200"/>
              <a:gd name="T81" fmla="*/ 332063 h 1087200"/>
              <a:gd name="T82" fmla="*/ 1079829 w 1087200"/>
              <a:gd name="T83" fmla="*/ 461199 h 1087200"/>
              <a:gd name="T84" fmla="*/ 1083515 w 1087200"/>
              <a:gd name="T85" fmla="*/ 598944 h 1087200"/>
              <a:gd name="T86" fmla="*/ 1054031 w 1087200"/>
              <a:gd name="T87" fmla="*/ 730540 h 1087200"/>
              <a:gd name="T88" fmla="*/ 993836 w 1087200"/>
              <a:gd name="T89" fmla="*/ 847377 h 1087200"/>
              <a:gd name="T90" fmla="*/ 909071 w 1087200"/>
              <a:gd name="T91" fmla="*/ 945766 h 1087200"/>
              <a:gd name="T92" fmla="*/ 802194 w 1087200"/>
              <a:gd name="T93" fmla="*/ 1022017 h 1087200"/>
              <a:gd name="T94" fmla="*/ 679346 w 1087200"/>
              <a:gd name="T95" fmla="*/ 1069982 h 1087200"/>
              <a:gd name="T96" fmla="*/ 542986 w 1087200"/>
              <a:gd name="T97" fmla="*/ 1087200 h 1087200"/>
              <a:gd name="T98" fmla="*/ 407854 w 1087200"/>
              <a:gd name="T99" fmla="*/ 1069982 h 1087200"/>
              <a:gd name="T100" fmla="*/ 285006 w 1087200"/>
              <a:gd name="T101" fmla="*/ 1022017 h 1087200"/>
              <a:gd name="T102" fmla="*/ 178129 w 1087200"/>
              <a:gd name="T103" fmla="*/ 945766 h 1087200"/>
              <a:gd name="T104" fmla="*/ 93364 w 1087200"/>
              <a:gd name="T105" fmla="*/ 847377 h 1087200"/>
              <a:gd name="T106" fmla="*/ 33169 w 1087200"/>
              <a:gd name="T107" fmla="*/ 730540 h 1087200"/>
              <a:gd name="T108" fmla="*/ 3685 w 1087200"/>
              <a:gd name="T109" fmla="*/ 598944 h 1087200"/>
              <a:gd name="T110" fmla="*/ 7371 w 1087200"/>
              <a:gd name="T111" fmla="*/ 461199 h 1087200"/>
              <a:gd name="T112" fmla="*/ 42997 w 1087200"/>
              <a:gd name="T113" fmla="*/ 332063 h 1087200"/>
              <a:gd name="T114" fmla="*/ 108106 w 1087200"/>
              <a:gd name="T115" fmla="*/ 217686 h 1087200"/>
              <a:gd name="T116" fmla="*/ 197784 w 1087200"/>
              <a:gd name="T117" fmla="*/ 124216 h 1087200"/>
              <a:gd name="T118" fmla="*/ 308347 w 1087200"/>
              <a:gd name="T119" fmla="*/ 52884 h 1087200"/>
              <a:gd name="T120" fmla="*/ 433652 w 1087200"/>
              <a:gd name="T121"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486476" y="555899"/>
                </a:moveTo>
                <a:lnTo>
                  <a:pt x="511045" y="555899"/>
                </a:lnTo>
                <a:lnTo>
                  <a:pt x="518416" y="557129"/>
                </a:lnTo>
                <a:lnTo>
                  <a:pt x="524558" y="558359"/>
                </a:lnTo>
                <a:lnTo>
                  <a:pt x="529472" y="560819"/>
                </a:lnTo>
                <a:lnTo>
                  <a:pt x="533158" y="563278"/>
                </a:lnTo>
                <a:lnTo>
                  <a:pt x="535615" y="568198"/>
                </a:lnTo>
                <a:lnTo>
                  <a:pt x="536843" y="573117"/>
                </a:lnTo>
                <a:lnTo>
                  <a:pt x="538072" y="578037"/>
                </a:lnTo>
                <a:lnTo>
                  <a:pt x="539300" y="585416"/>
                </a:lnTo>
                <a:lnTo>
                  <a:pt x="538072" y="594025"/>
                </a:lnTo>
                <a:lnTo>
                  <a:pt x="535615" y="601404"/>
                </a:lnTo>
                <a:lnTo>
                  <a:pt x="531929" y="606324"/>
                </a:lnTo>
                <a:lnTo>
                  <a:pt x="528244" y="610014"/>
                </a:lnTo>
                <a:lnTo>
                  <a:pt x="523330" y="611243"/>
                </a:lnTo>
                <a:lnTo>
                  <a:pt x="518416" y="612473"/>
                </a:lnTo>
                <a:lnTo>
                  <a:pt x="509817" y="613703"/>
                </a:lnTo>
                <a:lnTo>
                  <a:pt x="486476" y="613703"/>
                </a:lnTo>
                <a:lnTo>
                  <a:pt x="486476" y="555899"/>
                </a:lnTo>
                <a:close/>
                <a:moveTo>
                  <a:pt x="339060" y="482107"/>
                </a:moveTo>
                <a:lnTo>
                  <a:pt x="359944" y="568198"/>
                </a:lnTo>
                <a:lnTo>
                  <a:pt x="319404" y="568198"/>
                </a:lnTo>
                <a:lnTo>
                  <a:pt x="339060" y="482107"/>
                </a:lnTo>
                <a:close/>
                <a:moveTo>
                  <a:pt x="486476" y="473498"/>
                </a:moveTo>
                <a:lnTo>
                  <a:pt x="512274" y="473498"/>
                </a:lnTo>
                <a:lnTo>
                  <a:pt x="517188" y="474728"/>
                </a:lnTo>
                <a:lnTo>
                  <a:pt x="522101" y="475958"/>
                </a:lnTo>
                <a:lnTo>
                  <a:pt x="525787" y="478418"/>
                </a:lnTo>
                <a:lnTo>
                  <a:pt x="529472" y="480877"/>
                </a:lnTo>
                <a:lnTo>
                  <a:pt x="533158" y="484567"/>
                </a:lnTo>
                <a:lnTo>
                  <a:pt x="534386" y="489486"/>
                </a:lnTo>
                <a:lnTo>
                  <a:pt x="535615" y="494406"/>
                </a:lnTo>
                <a:lnTo>
                  <a:pt x="536843" y="499325"/>
                </a:lnTo>
                <a:lnTo>
                  <a:pt x="535615" y="506704"/>
                </a:lnTo>
                <a:lnTo>
                  <a:pt x="534386" y="511624"/>
                </a:lnTo>
                <a:lnTo>
                  <a:pt x="531929" y="516543"/>
                </a:lnTo>
                <a:lnTo>
                  <a:pt x="529472" y="520233"/>
                </a:lnTo>
                <a:lnTo>
                  <a:pt x="525787" y="522692"/>
                </a:lnTo>
                <a:lnTo>
                  <a:pt x="522101" y="523922"/>
                </a:lnTo>
                <a:lnTo>
                  <a:pt x="514731" y="525152"/>
                </a:lnTo>
                <a:lnTo>
                  <a:pt x="486476" y="525152"/>
                </a:lnTo>
                <a:lnTo>
                  <a:pt x="486476" y="473498"/>
                </a:lnTo>
                <a:close/>
                <a:moveTo>
                  <a:pt x="791138" y="450131"/>
                </a:moveTo>
                <a:lnTo>
                  <a:pt x="783767" y="458740"/>
                </a:lnTo>
                <a:lnTo>
                  <a:pt x="773940" y="466119"/>
                </a:lnTo>
                <a:lnTo>
                  <a:pt x="764112" y="473499"/>
                </a:lnTo>
                <a:lnTo>
                  <a:pt x="754284" y="479648"/>
                </a:lnTo>
                <a:lnTo>
                  <a:pt x="754284" y="516544"/>
                </a:lnTo>
                <a:lnTo>
                  <a:pt x="771483" y="506705"/>
                </a:lnTo>
                <a:lnTo>
                  <a:pt x="786224" y="494406"/>
                </a:lnTo>
                <a:lnTo>
                  <a:pt x="786224" y="644450"/>
                </a:lnTo>
                <a:lnTo>
                  <a:pt x="829221" y="644450"/>
                </a:lnTo>
                <a:lnTo>
                  <a:pt x="829221" y="450131"/>
                </a:lnTo>
                <a:lnTo>
                  <a:pt x="791138" y="450131"/>
                </a:lnTo>
                <a:close/>
                <a:moveTo>
                  <a:pt x="444708" y="442752"/>
                </a:moveTo>
                <a:lnTo>
                  <a:pt x="444708" y="644450"/>
                </a:lnTo>
                <a:lnTo>
                  <a:pt x="518417" y="644450"/>
                </a:lnTo>
                <a:lnTo>
                  <a:pt x="527016" y="644450"/>
                </a:lnTo>
                <a:lnTo>
                  <a:pt x="535615" y="643220"/>
                </a:lnTo>
                <a:lnTo>
                  <a:pt x="546672" y="640761"/>
                </a:lnTo>
                <a:lnTo>
                  <a:pt x="556499" y="637071"/>
                </a:lnTo>
                <a:lnTo>
                  <a:pt x="561413" y="633381"/>
                </a:lnTo>
                <a:lnTo>
                  <a:pt x="566327" y="629692"/>
                </a:lnTo>
                <a:lnTo>
                  <a:pt x="570013" y="626002"/>
                </a:lnTo>
                <a:lnTo>
                  <a:pt x="573698" y="621083"/>
                </a:lnTo>
                <a:lnTo>
                  <a:pt x="576155" y="614933"/>
                </a:lnTo>
                <a:lnTo>
                  <a:pt x="578612" y="607554"/>
                </a:lnTo>
                <a:lnTo>
                  <a:pt x="579841" y="600175"/>
                </a:lnTo>
                <a:lnTo>
                  <a:pt x="581069" y="591566"/>
                </a:lnTo>
                <a:lnTo>
                  <a:pt x="581069" y="580497"/>
                </a:lnTo>
                <a:lnTo>
                  <a:pt x="578612" y="571888"/>
                </a:lnTo>
                <a:lnTo>
                  <a:pt x="577384" y="563279"/>
                </a:lnTo>
                <a:lnTo>
                  <a:pt x="573698" y="557130"/>
                </a:lnTo>
                <a:lnTo>
                  <a:pt x="568784" y="550980"/>
                </a:lnTo>
                <a:lnTo>
                  <a:pt x="561413" y="546061"/>
                </a:lnTo>
                <a:lnTo>
                  <a:pt x="554043" y="542371"/>
                </a:lnTo>
                <a:lnTo>
                  <a:pt x="542986" y="539912"/>
                </a:lnTo>
                <a:lnTo>
                  <a:pt x="551586" y="537452"/>
                </a:lnTo>
                <a:lnTo>
                  <a:pt x="557728" y="533762"/>
                </a:lnTo>
                <a:lnTo>
                  <a:pt x="563870" y="530073"/>
                </a:lnTo>
                <a:lnTo>
                  <a:pt x="568784" y="523923"/>
                </a:lnTo>
                <a:lnTo>
                  <a:pt x="572470" y="517774"/>
                </a:lnTo>
                <a:lnTo>
                  <a:pt x="574927" y="511625"/>
                </a:lnTo>
                <a:lnTo>
                  <a:pt x="577384" y="503016"/>
                </a:lnTo>
                <a:lnTo>
                  <a:pt x="577384" y="494406"/>
                </a:lnTo>
                <a:lnTo>
                  <a:pt x="576155" y="480878"/>
                </a:lnTo>
                <a:lnTo>
                  <a:pt x="572470" y="468579"/>
                </a:lnTo>
                <a:lnTo>
                  <a:pt x="567556" y="459970"/>
                </a:lnTo>
                <a:lnTo>
                  <a:pt x="560185" y="452591"/>
                </a:lnTo>
                <a:lnTo>
                  <a:pt x="551586" y="447672"/>
                </a:lnTo>
                <a:lnTo>
                  <a:pt x="541758" y="445212"/>
                </a:lnTo>
                <a:lnTo>
                  <a:pt x="530701" y="442752"/>
                </a:lnTo>
                <a:lnTo>
                  <a:pt x="519645" y="442752"/>
                </a:lnTo>
                <a:lnTo>
                  <a:pt x="444708" y="442752"/>
                </a:lnTo>
                <a:close/>
                <a:moveTo>
                  <a:pt x="314490" y="442752"/>
                </a:moveTo>
                <a:lnTo>
                  <a:pt x="257980" y="644450"/>
                </a:lnTo>
                <a:lnTo>
                  <a:pt x="299748" y="644450"/>
                </a:lnTo>
                <a:lnTo>
                  <a:pt x="310804" y="600175"/>
                </a:lnTo>
                <a:lnTo>
                  <a:pt x="368543" y="600175"/>
                </a:lnTo>
                <a:lnTo>
                  <a:pt x="379599" y="644450"/>
                </a:lnTo>
                <a:lnTo>
                  <a:pt x="423824" y="644450"/>
                </a:lnTo>
                <a:lnTo>
                  <a:pt x="369771" y="442752"/>
                </a:lnTo>
                <a:lnTo>
                  <a:pt x="314490" y="442752"/>
                </a:lnTo>
                <a:close/>
                <a:moveTo>
                  <a:pt x="671976" y="439062"/>
                </a:moveTo>
                <a:lnTo>
                  <a:pt x="659691" y="440292"/>
                </a:lnTo>
                <a:lnTo>
                  <a:pt x="648635" y="441522"/>
                </a:lnTo>
                <a:lnTo>
                  <a:pt x="640036" y="443982"/>
                </a:lnTo>
                <a:lnTo>
                  <a:pt x="631436" y="447671"/>
                </a:lnTo>
                <a:lnTo>
                  <a:pt x="625294" y="452591"/>
                </a:lnTo>
                <a:lnTo>
                  <a:pt x="619152" y="458740"/>
                </a:lnTo>
                <a:lnTo>
                  <a:pt x="614238" y="464889"/>
                </a:lnTo>
                <a:lnTo>
                  <a:pt x="610552" y="471039"/>
                </a:lnTo>
                <a:lnTo>
                  <a:pt x="608095" y="479648"/>
                </a:lnTo>
                <a:lnTo>
                  <a:pt x="605638" y="487027"/>
                </a:lnTo>
                <a:lnTo>
                  <a:pt x="603182" y="504245"/>
                </a:lnTo>
                <a:lnTo>
                  <a:pt x="601953" y="523923"/>
                </a:lnTo>
                <a:lnTo>
                  <a:pt x="601953" y="543601"/>
                </a:lnTo>
                <a:lnTo>
                  <a:pt x="601953" y="563278"/>
                </a:lnTo>
                <a:lnTo>
                  <a:pt x="603182" y="581726"/>
                </a:lnTo>
                <a:lnTo>
                  <a:pt x="605638" y="600174"/>
                </a:lnTo>
                <a:lnTo>
                  <a:pt x="608095" y="607554"/>
                </a:lnTo>
                <a:lnTo>
                  <a:pt x="610552" y="614933"/>
                </a:lnTo>
                <a:lnTo>
                  <a:pt x="614238" y="622312"/>
                </a:lnTo>
                <a:lnTo>
                  <a:pt x="619152" y="628461"/>
                </a:lnTo>
                <a:lnTo>
                  <a:pt x="625294" y="634611"/>
                </a:lnTo>
                <a:lnTo>
                  <a:pt x="631436" y="638300"/>
                </a:lnTo>
                <a:lnTo>
                  <a:pt x="640036" y="641990"/>
                </a:lnTo>
                <a:lnTo>
                  <a:pt x="648635" y="645679"/>
                </a:lnTo>
                <a:lnTo>
                  <a:pt x="659691" y="646909"/>
                </a:lnTo>
                <a:lnTo>
                  <a:pt x="671976" y="648139"/>
                </a:lnTo>
                <a:lnTo>
                  <a:pt x="685489" y="646909"/>
                </a:lnTo>
                <a:lnTo>
                  <a:pt x="697774" y="644450"/>
                </a:lnTo>
                <a:lnTo>
                  <a:pt x="707602" y="639530"/>
                </a:lnTo>
                <a:lnTo>
                  <a:pt x="712515" y="635840"/>
                </a:lnTo>
                <a:lnTo>
                  <a:pt x="717429" y="632151"/>
                </a:lnTo>
                <a:lnTo>
                  <a:pt x="719886" y="627231"/>
                </a:lnTo>
                <a:lnTo>
                  <a:pt x="723572" y="622312"/>
                </a:lnTo>
                <a:lnTo>
                  <a:pt x="728486" y="610013"/>
                </a:lnTo>
                <a:lnTo>
                  <a:pt x="730943" y="595255"/>
                </a:lnTo>
                <a:lnTo>
                  <a:pt x="732171" y="576807"/>
                </a:lnTo>
                <a:lnTo>
                  <a:pt x="690403" y="576807"/>
                </a:lnTo>
                <a:lnTo>
                  <a:pt x="690403" y="589106"/>
                </a:lnTo>
                <a:lnTo>
                  <a:pt x="689175" y="596485"/>
                </a:lnTo>
                <a:lnTo>
                  <a:pt x="687946" y="602634"/>
                </a:lnTo>
                <a:lnTo>
                  <a:pt x="686718" y="608783"/>
                </a:lnTo>
                <a:lnTo>
                  <a:pt x="683032" y="613703"/>
                </a:lnTo>
                <a:lnTo>
                  <a:pt x="678118" y="616163"/>
                </a:lnTo>
                <a:lnTo>
                  <a:pt x="671976" y="617393"/>
                </a:lnTo>
                <a:lnTo>
                  <a:pt x="663377" y="616163"/>
                </a:lnTo>
                <a:lnTo>
                  <a:pt x="657234" y="613703"/>
                </a:lnTo>
                <a:lnTo>
                  <a:pt x="652320" y="607554"/>
                </a:lnTo>
                <a:lnTo>
                  <a:pt x="649863" y="600174"/>
                </a:lnTo>
                <a:lnTo>
                  <a:pt x="647406" y="589106"/>
                </a:lnTo>
                <a:lnTo>
                  <a:pt x="646178" y="576807"/>
                </a:lnTo>
                <a:lnTo>
                  <a:pt x="644950" y="543601"/>
                </a:lnTo>
                <a:lnTo>
                  <a:pt x="646178" y="510394"/>
                </a:lnTo>
                <a:lnTo>
                  <a:pt x="647406" y="496866"/>
                </a:lnTo>
                <a:lnTo>
                  <a:pt x="649863" y="487027"/>
                </a:lnTo>
                <a:lnTo>
                  <a:pt x="652320" y="479648"/>
                </a:lnTo>
                <a:lnTo>
                  <a:pt x="657234" y="473498"/>
                </a:lnTo>
                <a:lnTo>
                  <a:pt x="663377" y="471039"/>
                </a:lnTo>
                <a:lnTo>
                  <a:pt x="671976" y="469809"/>
                </a:lnTo>
                <a:lnTo>
                  <a:pt x="675661" y="469809"/>
                </a:lnTo>
                <a:lnTo>
                  <a:pt x="679347" y="471039"/>
                </a:lnTo>
                <a:lnTo>
                  <a:pt x="683032" y="474728"/>
                </a:lnTo>
                <a:lnTo>
                  <a:pt x="685489" y="478418"/>
                </a:lnTo>
                <a:lnTo>
                  <a:pt x="686718" y="483337"/>
                </a:lnTo>
                <a:lnTo>
                  <a:pt x="687946" y="489487"/>
                </a:lnTo>
                <a:lnTo>
                  <a:pt x="689175" y="506705"/>
                </a:lnTo>
                <a:lnTo>
                  <a:pt x="729714" y="506705"/>
                </a:lnTo>
                <a:lnTo>
                  <a:pt x="729714" y="490716"/>
                </a:lnTo>
                <a:lnTo>
                  <a:pt x="727257" y="477188"/>
                </a:lnTo>
                <a:lnTo>
                  <a:pt x="723572" y="466119"/>
                </a:lnTo>
                <a:lnTo>
                  <a:pt x="717429" y="456280"/>
                </a:lnTo>
                <a:lnTo>
                  <a:pt x="713744" y="452591"/>
                </a:lnTo>
                <a:lnTo>
                  <a:pt x="710059" y="448901"/>
                </a:lnTo>
                <a:lnTo>
                  <a:pt x="699002" y="443982"/>
                </a:lnTo>
                <a:lnTo>
                  <a:pt x="686718" y="440292"/>
                </a:lnTo>
                <a:lnTo>
                  <a:pt x="671976" y="439062"/>
                </a:lnTo>
                <a:close/>
                <a:moveTo>
                  <a:pt x="515959" y="0"/>
                </a:moveTo>
                <a:lnTo>
                  <a:pt x="542986" y="0"/>
                </a:lnTo>
                <a:lnTo>
                  <a:pt x="571241" y="0"/>
                </a:lnTo>
                <a:lnTo>
                  <a:pt x="599496" y="2460"/>
                </a:lnTo>
                <a:lnTo>
                  <a:pt x="626522" y="6149"/>
                </a:lnTo>
                <a:lnTo>
                  <a:pt x="653549" y="11069"/>
                </a:lnTo>
                <a:lnTo>
                  <a:pt x="679346" y="17218"/>
                </a:lnTo>
                <a:lnTo>
                  <a:pt x="705144"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4"/>
                </a:lnTo>
                <a:lnTo>
                  <a:pt x="927498" y="158653"/>
                </a:lnTo>
                <a:lnTo>
                  <a:pt x="945926" y="178330"/>
                </a:lnTo>
                <a:lnTo>
                  <a:pt x="963124" y="198008"/>
                </a:lnTo>
                <a:lnTo>
                  <a:pt x="979094" y="217686"/>
                </a:lnTo>
                <a:lnTo>
                  <a:pt x="993836" y="239824"/>
                </a:lnTo>
                <a:lnTo>
                  <a:pt x="1008578" y="261961"/>
                </a:lnTo>
                <a:lnTo>
                  <a:pt x="1020862" y="284099"/>
                </a:lnTo>
                <a:lnTo>
                  <a:pt x="1033147" y="307466"/>
                </a:lnTo>
                <a:lnTo>
                  <a:pt x="1044204" y="332063"/>
                </a:lnTo>
                <a:lnTo>
                  <a:pt x="1054031" y="356661"/>
                </a:lnTo>
                <a:lnTo>
                  <a:pt x="1062631" y="382488"/>
                </a:lnTo>
                <a:lnTo>
                  <a:pt x="1070001"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1" y="678885"/>
                </a:lnTo>
                <a:lnTo>
                  <a:pt x="1062631" y="704712"/>
                </a:lnTo>
                <a:lnTo>
                  <a:pt x="1054031" y="730540"/>
                </a:lnTo>
                <a:lnTo>
                  <a:pt x="1044204" y="755137"/>
                </a:lnTo>
                <a:lnTo>
                  <a:pt x="1033147" y="779734"/>
                </a:lnTo>
                <a:lnTo>
                  <a:pt x="1020862" y="803102"/>
                </a:lnTo>
                <a:lnTo>
                  <a:pt x="1008578" y="825239"/>
                </a:lnTo>
                <a:lnTo>
                  <a:pt x="993836" y="847377"/>
                </a:lnTo>
                <a:lnTo>
                  <a:pt x="979094" y="868284"/>
                </a:lnTo>
                <a:lnTo>
                  <a:pt x="963124" y="889192"/>
                </a:lnTo>
                <a:lnTo>
                  <a:pt x="945926" y="908870"/>
                </a:lnTo>
                <a:lnTo>
                  <a:pt x="927498"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4" y="1062603"/>
                </a:lnTo>
                <a:lnTo>
                  <a:pt x="679346" y="1069982"/>
                </a:lnTo>
                <a:lnTo>
                  <a:pt x="653549" y="1076131"/>
                </a:lnTo>
                <a:lnTo>
                  <a:pt x="626522" y="1081051"/>
                </a:lnTo>
                <a:lnTo>
                  <a:pt x="599496" y="1084740"/>
                </a:lnTo>
                <a:lnTo>
                  <a:pt x="571241" y="1085970"/>
                </a:lnTo>
                <a:lnTo>
                  <a:pt x="542986" y="1087200"/>
                </a:lnTo>
                <a:lnTo>
                  <a:pt x="515959" y="1085970"/>
                </a:lnTo>
                <a:lnTo>
                  <a:pt x="487704"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4" y="962984"/>
                </a:lnTo>
                <a:lnTo>
                  <a:pt x="178129" y="945766"/>
                </a:lnTo>
                <a:lnTo>
                  <a:pt x="159702" y="928548"/>
                </a:lnTo>
                <a:lnTo>
                  <a:pt x="141275" y="908870"/>
                </a:lnTo>
                <a:lnTo>
                  <a:pt x="124076" y="889192"/>
                </a:lnTo>
                <a:lnTo>
                  <a:pt x="108106" y="868284"/>
                </a:lnTo>
                <a:lnTo>
                  <a:pt x="93364" y="847377"/>
                </a:lnTo>
                <a:lnTo>
                  <a:pt x="78622" y="825239"/>
                </a:lnTo>
                <a:lnTo>
                  <a:pt x="66338" y="803102"/>
                </a:lnTo>
                <a:lnTo>
                  <a:pt x="54053" y="779734"/>
                </a:lnTo>
                <a:lnTo>
                  <a:pt x="42997" y="755137"/>
                </a:lnTo>
                <a:lnTo>
                  <a:pt x="33169" y="730540"/>
                </a:lnTo>
                <a:lnTo>
                  <a:pt x="24570" y="704712"/>
                </a:lnTo>
                <a:lnTo>
                  <a:pt x="17199" y="678885"/>
                </a:lnTo>
                <a:lnTo>
                  <a:pt x="11056" y="653058"/>
                </a:lnTo>
                <a:lnTo>
                  <a:pt x="7371" y="626001"/>
                </a:lnTo>
                <a:lnTo>
                  <a:pt x="3685" y="598944"/>
                </a:lnTo>
                <a:lnTo>
                  <a:pt x="1228" y="571887"/>
                </a:lnTo>
                <a:lnTo>
                  <a:pt x="0" y="543600"/>
                </a:lnTo>
                <a:lnTo>
                  <a:pt x="1228" y="515313"/>
                </a:lnTo>
                <a:lnTo>
                  <a:pt x="3685" y="488256"/>
                </a:lnTo>
                <a:lnTo>
                  <a:pt x="7371" y="461199"/>
                </a:lnTo>
                <a:lnTo>
                  <a:pt x="11056" y="434142"/>
                </a:lnTo>
                <a:lnTo>
                  <a:pt x="17199" y="407085"/>
                </a:lnTo>
                <a:lnTo>
                  <a:pt x="24570" y="382488"/>
                </a:lnTo>
                <a:lnTo>
                  <a:pt x="33169" y="356661"/>
                </a:lnTo>
                <a:lnTo>
                  <a:pt x="42997" y="332063"/>
                </a:lnTo>
                <a:lnTo>
                  <a:pt x="54053" y="307466"/>
                </a:lnTo>
                <a:lnTo>
                  <a:pt x="66338" y="284099"/>
                </a:lnTo>
                <a:lnTo>
                  <a:pt x="78622" y="261961"/>
                </a:lnTo>
                <a:lnTo>
                  <a:pt x="93364" y="239824"/>
                </a:lnTo>
                <a:lnTo>
                  <a:pt x="108106" y="217686"/>
                </a:lnTo>
                <a:lnTo>
                  <a:pt x="124076" y="198008"/>
                </a:lnTo>
                <a:lnTo>
                  <a:pt x="141275" y="178330"/>
                </a:lnTo>
                <a:lnTo>
                  <a:pt x="159702" y="158653"/>
                </a:lnTo>
                <a:lnTo>
                  <a:pt x="178129" y="141434"/>
                </a:lnTo>
                <a:lnTo>
                  <a:pt x="197784"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4" y="2460"/>
                </a:lnTo>
                <a:lnTo>
                  <a:pt x="515959"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62" name="TextBox 18"/>
          <p:cNvSpPr txBox="1">
            <a:spLocks noChangeArrowheads="1"/>
          </p:cNvSpPr>
          <p:nvPr userDrawn="1"/>
        </p:nvSpPr>
        <p:spPr bwMode="auto">
          <a:xfrm>
            <a:off x="1806102" y="4337616"/>
            <a:ext cx="108759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1-15</a:t>
            </a:r>
          </a:p>
        </p:txBody>
      </p:sp>
      <p:sp>
        <p:nvSpPr>
          <p:cNvPr id="63" name="Freeform 62"/>
          <p:cNvSpPr>
            <a:spLocks noEditPoints="1"/>
          </p:cNvSpPr>
          <p:nvPr userDrawn="1"/>
        </p:nvSpPr>
        <p:spPr bwMode="auto">
          <a:xfrm>
            <a:off x="1720485" y="3057528"/>
            <a:ext cx="1260000" cy="1260000"/>
          </a:xfrm>
          <a:custGeom>
            <a:avLst/>
            <a:gdLst>
              <a:gd name="T0" fmla="*/ 662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1278 w 1768"/>
              <a:gd name="T39" fmla="*/ 548 h 1768"/>
              <a:gd name="T40" fmla="*/ 1216 w 1768"/>
              <a:gd name="T41" fmla="*/ 660 h 1768"/>
              <a:gd name="T42" fmla="*/ 886 w 1768"/>
              <a:gd name="T43" fmla="*/ 542 h 1768"/>
              <a:gd name="T44" fmla="*/ 908 w 1768"/>
              <a:gd name="T45" fmla="*/ 656 h 1768"/>
              <a:gd name="T46" fmla="*/ 814 w 1768"/>
              <a:gd name="T47" fmla="*/ 718 h 1768"/>
              <a:gd name="T48" fmla="*/ 712 w 1768"/>
              <a:gd name="T49" fmla="*/ 636 h 1768"/>
              <a:gd name="T50" fmla="*/ 756 w 1768"/>
              <a:gd name="T51" fmla="*/ 530 h 1768"/>
              <a:gd name="T52" fmla="*/ 490 w 1768"/>
              <a:gd name="T53" fmla="*/ 516 h 1768"/>
              <a:gd name="T54" fmla="*/ 572 w 1768"/>
              <a:gd name="T55" fmla="*/ 618 h 1768"/>
              <a:gd name="T56" fmla="*/ 508 w 1768"/>
              <a:gd name="T57" fmla="*/ 714 h 1768"/>
              <a:gd name="T58" fmla="*/ 394 w 1768"/>
              <a:gd name="T59" fmla="*/ 692 h 1768"/>
              <a:gd name="T60" fmla="*/ 372 w 1768"/>
              <a:gd name="T61" fmla="*/ 578 h 1768"/>
              <a:gd name="T62" fmla="*/ 468 w 1768"/>
              <a:gd name="T63" fmla="*/ 514 h 1768"/>
              <a:gd name="T64" fmla="*/ 540 w 1768"/>
              <a:gd name="T65" fmla="*/ 1024 h 1768"/>
              <a:gd name="T66" fmla="*/ 514 w 1768"/>
              <a:gd name="T67" fmla="*/ 1270 h 1768"/>
              <a:gd name="T68" fmla="*/ 452 w 1768"/>
              <a:gd name="T69" fmla="*/ 1244 h 1768"/>
              <a:gd name="T70" fmla="*/ 426 w 1768"/>
              <a:gd name="T71" fmla="*/ 1270 h 1768"/>
              <a:gd name="T72" fmla="*/ 354 w 1768"/>
              <a:gd name="T73" fmla="*/ 1024 h 1768"/>
              <a:gd name="T74" fmla="*/ 338 w 1768"/>
              <a:gd name="T75" fmla="*/ 770 h 1768"/>
              <a:gd name="T76" fmla="*/ 594 w 1768"/>
              <a:gd name="T77" fmla="*/ 764 h 1768"/>
              <a:gd name="T78" fmla="*/ 884 w 1768"/>
              <a:gd name="T79" fmla="*/ 1240 h 1768"/>
              <a:gd name="T80" fmla="*/ 838 w 1768"/>
              <a:gd name="T81" fmla="*/ 1258 h 1768"/>
              <a:gd name="T82" fmla="*/ 794 w 1768"/>
              <a:gd name="T83" fmla="*/ 1250 h 1768"/>
              <a:gd name="T84" fmla="*/ 746 w 1768"/>
              <a:gd name="T85" fmla="*/ 1250 h 1768"/>
              <a:gd name="T86" fmla="*/ 662 w 1768"/>
              <a:gd name="T87" fmla="*/ 1064 h 1768"/>
              <a:gd name="T88" fmla="*/ 790 w 1768"/>
              <a:gd name="T89" fmla="*/ 770 h 1768"/>
              <a:gd name="T90" fmla="*/ 832 w 1768"/>
              <a:gd name="T91" fmla="*/ 762 h 1768"/>
              <a:gd name="T92" fmla="*/ 968 w 1768"/>
              <a:gd name="T93" fmla="*/ 1058 h 1768"/>
              <a:gd name="T94" fmla="*/ 1102 w 1768"/>
              <a:gd name="T95" fmla="*/ 1240 h 1768"/>
              <a:gd name="T96" fmla="*/ 1064 w 1768"/>
              <a:gd name="T97" fmla="*/ 956 h 1768"/>
              <a:gd name="T98" fmla="*/ 1102 w 1768"/>
              <a:gd name="T99" fmla="*/ 872 h 1768"/>
              <a:gd name="T100" fmla="*/ 1064 w 1768"/>
              <a:gd name="T101" fmla="*/ 588 h 1768"/>
              <a:gd name="T102" fmla="*/ 1292 w 1768"/>
              <a:gd name="T103" fmla="*/ 1244 h 1768"/>
              <a:gd name="T104" fmla="*/ 1208 w 1768"/>
              <a:gd name="T105" fmla="*/ 1184 h 1768"/>
              <a:gd name="T106" fmla="*/ 1280 w 1768"/>
              <a:gd name="T107" fmla="*/ 1192 h 1768"/>
              <a:gd name="T108" fmla="*/ 1318 w 1768"/>
              <a:gd name="T109" fmla="*/ 1188 h 1768"/>
              <a:gd name="T110" fmla="*/ 1324 w 1768"/>
              <a:gd name="T111" fmla="*/ 1092 h 1768"/>
              <a:gd name="T112" fmla="*/ 1286 w 1768"/>
              <a:gd name="T113" fmla="*/ 1072 h 1768"/>
              <a:gd name="T114" fmla="*/ 1380 w 1768"/>
              <a:gd name="T115" fmla="*/ 916 h 1768"/>
              <a:gd name="T116" fmla="*/ 1296 w 1768"/>
              <a:gd name="T117" fmla="*/ 1032 h 1768"/>
              <a:gd name="T118" fmla="*/ 1376 w 1768"/>
              <a:gd name="T119" fmla="*/ 1054 h 1768"/>
              <a:gd name="T120" fmla="*/ 1386 w 1768"/>
              <a:gd name="T121" fmla="*/ 1186 h 1768"/>
              <a:gd name="T122" fmla="*/ 1316 w 1768"/>
              <a:gd name="T123" fmla="*/ 1242 h 1768"/>
              <a:gd name="T124" fmla="*/ 1416 w 1768"/>
              <a:gd name="T125" fmla="*/ 73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16" y="600"/>
                </a:moveTo>
                <a:lnTo>
                  <a:pt x="1216" y="600"/>
                </a:lnTo>
                <a:lnTo>
                  <a:pt x="1234" y="588"/>
                </a:lnTo>
                <a:lnTo>
                  <a:pt x="1250" y="578"/>
                </a:lnTo>
                <a:lnTo>
                  <a:pt x="1266" y="564"/>
                </a:lnTo>
                <a:lnTo>
                  <a:pt x="1278" y="548"/>
                </a:lnTo>
                <a:lnTo>
                  <a:pt x="1340" y="548"/>
                </a:lnTo>
                <a:lnTo>
                  <a:pt x="1340" y="872"/>
                </a:lnTo>
                <a:lnTo>
                  <a:pt x="1270" y="872"/>
                </a:lnTo>
                <a:lnTo>
                  <a:pt x="1270" y="624"/>
                </a:lnTo>
                <a:lnTo>
                  <a:pt x="1270" y="624"/>
                </a:lnTo>
                <a:lnTo>
                  <a:pt x="1244" y="644"/>
                </a:lnTo>
                <a:lnTo>
                  <a:pt x="1216" y="660"/>
                </a:lnTo>
                <a:lnTo>
                  <a:pt x="1216" y="600"/>
                </a:lnTo>
                <a:close/>
                <a:moveTo>
                  <a:pt x="814" y="512"/>
                </a:moveTo>
                <a:lnTo>
                  <a:pt x="814" y="512"/>
                </a:lnTo>
                <a:lnTo>
                  <a:pt x="834" y="514"/>
                </a:lnTo>
                <a:lnTo>
                  <a:pt x="854" y="520"/>
                </a:lnTo>
                <a:lnTo>
                  <a:pt x="870" y="530"/>
                </a:lnTo>
                <a:lnTo>
                  <a:pt x="886" y="542"/>
                </a:lnTo>
                <a:lnTo>
                  <a:pt x="898" y="558"/>
                </a:lnTo>
                <a:lnTo>
                  <a:pt x="908" y="576"/>
                </a:lnTo>
                <a:lnTo>
                  <a:pt x="914" y="594"/>
                </a:lnTo>
                <a:lnTo>
                  <a:pt x="916" y="616"/>
                </a:lnTo>
                <a:lnTo>
                  <a:pt x="916" y="616"/>
                </a:lnTo>
                <a:lnTo>
                  <a:pt x="914" y="636"/>
                </a:lnTo>
                <a:lnTo>
                  <a:pt x="908" y="656"/>
                </a:lnTo>
                <a:lnTo>
                  <a:pt x="898" y="674"/>
                </a:lnTo>
                <a:lnTo>
                  <a:pt x="886" y="688"/>
                </a:lnTo>
                <a:lnTo>
                  <a:pt x="870" y="702"/>
                </a:lnTo>
                <a:lnTo>
                  <a:pt x="854" y="710"/>
                </a:lnTo>
                <a:lnTo>
                  <a:pt x="834" y="716"/>
                </a:lnTo>
                <a:lnTo>
                  <a:pt x="814" y="718"/>
                </a:lnTo>
                <a:lnTo>
                  <a:pt x="814" y="718"/>
                </a:lnTo>
                <a:lnTo>
                  <a:pt x="792" y="716"/>
                </a:lnTo>
                <a:lnTo>
                  <a:pt x="772" y="710"/>
                </a:lnTo>
                <a:lnTo>
                  <a:pt x="756" y="702"/>
                </a:lnTo>
                <a:lnTo>
                  <a:pt x="740" y="688"/>
                </a:lnTo>
                <a:lnTo>
                  <a:pt x="728" y="674"/>
                </a:lnTo>
                <a:lnTo>
                  <a:pt x="718" y="656"/>
                </a:lnTo>
                <a:lnTo>
                  <a:pt x="712" y="636"/>
                </a:lnTo>
                <a:lnTo>
                  <a:pt x="710" y="616"/>
                </a:lnTo>
                <a:lnTo>
                  <a:pt x="710" y="616"/>
                </a:lnTo>
                <a:lnTo>
                  <a:pt x="712" y="594"/>
                </a:lnTo>
                <a:lnTo>
                  <a:pt x="718" y="576"/>
                </a:lnTo>
                <a:lnTo>
                  <a:pt x="728" y="558"/>
                </a:lnTo>
                <a:lnTo>
                  <a:pt x="740" y="542"/>
                </a:lnTo>
                <a:lnTo>
                  <a:pt x="756" y="530"/>
                </a:lnTo>
                <a:lnTo>
                  <a:pt x="772" y="520"/>
                </a:lnTo>
                <a:lnTo>
                  <a:pt x="792" y="514"/>
                </a:lnTo>
                <a:lnTo>
                  <a:pt x="814" y="512"/>
                </a:lnTo>
                <a:lnTo>
                  <a:pt x="814" y="512"/>
                </a:lnTo>
                <a:close/>
                <a:moveTo>
                  <a:pt x="468" y="514"/>
                </a:moveTo>
                <a:lnTo>
                  <a:pt x="468" y="514"/>
                </a:lnTo>
                <a:lnTo>
                  <a:pt x="490" y="516"/>
                </a:lnTo>
                <a:lnTo>
                  <a:pt x="508" y="522"/>
                </a:lnTo>
                <a:lnTo>
                  <a:pt x="526" y="532"/>
                </a:lnTo>
                <a:lnTo>
                  <a:pt x="542" y="544"/>
                </a:lnTo>
                <a:lnTo>
                  <a:pt x="554" y="560"/>
                </a:lnTo>
                <a:lnTo>
                  <a:pt x="564" y="578"/>
                </a:lnTo>
                <a:lnTo>
                  <a:pt x="570" y="598"/>
                </a:lnTo>
                <a:lnTo>
                  <a:pt x="572" y="618"/>
                </a:lnTo>
                <a:lnTo>
                  <a:pt x="572" y="618"/>
                </a:lnTo>
                <a:lnTo>
                  <a:pt x="570" y="640"/>
                </a:lnTo>
                <a:lnTo>
                  <a:pt x="564" y="658"/>
                </a:lnTo>
                <a:lnTo>
                  <a:pt x="554" y="676"/>
                </a:lnTo>
                <a:lnTo>
                  <a:pt x="542" y="692"/>
                </a:lnTo>
                <a:lnTo>
                  <a:pt x="526" y="704"/>
                </a:lnTo>
                <a:lnTo>
                  <a:pt x="508" y="714"/>
                </a:lnTo>
                <a:lnTo>
                  <a:pt x="490" y="720"/>
                </a:lnTo>
                <a:lnTo>
                  <a:pt x="468" y="722"/>
                </a:lnTo>
                <a:lnTo>
                  <a:pt x="468" y="722"/>
                </a:lnTo>
                <a:lnTo>
                  <a:pt x="446" y="720"/>
                </a:lnTo>
                <a:lnTo>
                  <a:pt x="428" y="714"/>
                </a:lnTo>
                <a:lnTo>
                  <a:pt x="410" y="704"/>
                </a:lnTo>
                <a:lnTo>
                  <a:pt x="394" y="692"/>
                </a:lnTo>
                <a:lnTo>
                  <a:pt x="382" y="676"/>
                </a:lnTo>
                <a:lnTo>
                  <a:pt x="372" y="658"/>
                </a:lnTo>
                <a:lnTo>
                  <a:pt x="366" y="640"/>
                </a:lnTo>
                <a:lnTo>
                  <a:pt x="364" y="618"/>
                </a:lnTo>
                <a:lnTo>
                  <a:pt x="364" y="618"/>
                </a:lnTo>
                <a:lnTo>
                  <a:pt x="366" y="598"/>
                </a:lnTo>
                <a:lnTo>
                  <a:pt x="372" y="578"/>
                </a:lnTo>
                <a:lnTo>
                  <a:pt x="382" y="560"/>
                </a:lnTo>
                <a:lnTo>
                  <a:pt x="394" y="544"/>
                </a:lnTo>
                <a:lnTo>
                  <a:pt x="410" y="532"/>
                </a:lnTo>
                <a:lnTo>
                  <a:pt x="428" y="522"/>
                </a:lnTo>
                <a:lnTo>
                  <a:pt x="446" y="516"/>
                </a:lnTo>
                <a:lnTo>
                  <a:pt x="468" y="514"/>
                </a:lnTo>
                <a:lnTo>
                  <a:pt x="468" y="514"/>
                </a:lnTo>
                <a:close/>
                <a:moveTo>
                  <a:pt x="598" y="1006"/>
                </a:moveTo>
                <a:lnTo>
                  <a:pt x="598" y="1006"/>
                </a:lnTo>
                <a:lnTo>
                  <a:pt x="598" y="1014"/>
                </a:lnTo>
                <a:lnTo>
                  <a:pt x="594" y="1018"/>
                </a:lnTo>
                <a:lnTo>
                  <a:pt x="588" y="1022"/>
                </a:lnTo>
                <a:lnTo>
                  <a:pt x="582" y="1024"/>
                </a:lnTo>
                <a:lnTo>
                  <a:pt x="540" y="1024"/>
                </a:lnTo>
                <a:lnTo>
                  <a:pt x="540" y="1244"/>
                </a:lnTo>
                <a:lnTo>
                  <a:pt x="540" y="1244"/>
                </a:lnTo>
                <a:lnTo>
                  <a:pt x="538" y="1254"/>
                </a:lnTo>
                <a:lnTo>
                  <a:pt x="532" y="1262"/>
                </a:lnTo>
                <a:lnTo>
                  <a:pt x="524" y="1268"/>
                </a:lnTo>
                <a:lnTo>
                  <a:pt x="514" y="1270"/>
                </a:lnTo>
                <a:lnTo>
                  <a:pt x="514" y="1270"/>
                </a:lnTo>
                <a:lnTo>
                  <a:pt x="504" y="1268"/>
                </a:lnTo>
                <a:lnTo>
                  <a:pt x="494" y="1262"/>
                </a:lnTo>
                <a:lnTo>
                  <a:pt x="490" y="1254"/>
                </a:lnTo>
                <a:lnTo>
                  <a:pt x="488" y="1244"/>
                </a:lnTo>
                <a:lnTo>
                  <a:pt x="488" y="1024"/>
                </a:lnTo>
                <a:lnTo>
                  <a:pt x="452" y="1024"/>
                </a:lnTo>
                <a:lnTo>
                  <a:pt x="452" y="1244"/>
                </a:lnTo>
                <a:lnTo>
                  <a:pt x="452" y="1244"/>
                </a:lnTo>
                <a:lnTo>
                  <a:pt x="450" y="1254"/>
                </a:lnTo>
                <a:lnTo>
                  <a:pt x="444" y="1262"/>
                </a:lnTo>
                <a:lnTo>
                  <a:pt x="436" y="1268"/>
                </a:lnTo>
                <a:lnTo>
                  <a:pt x="426" y="1270"/>
                </a:lnTo>
                <a:lnTo>
                  <a:pt x="426" y="1270"/>
                </a:lnTo>
                <a:lnTo>
                  <a:pt x="426" y="1270"/>
                </a:lnTo>
                <a:lnTo>
                  <a:pt x="416" y="1268"/>
                </a:lnTo>
                <a:lnTo>
                  <a:pt x="408" y="1262"/>
                </a:lnTo>
                <a:lnTo>
                  <a:pt x="402" y="1254"/>
                </a:lnTo>
                <a:lnTo>
                  <a:pt x="400" y="1244"/>
                </a:lnTo>
                <a:lnTo>
                  <a:pt x="400" y="1024"/>
                </a:lnTo>
                <a:lnTo>
                  <a:pt x="354" y="1024"/>
                </a:lnTo>
                <a:lnTo>
                  <a:pt x="354" y="1024"/>
                </a:lnTo>
                <a:lnTo>
                  <a:pt x="348" y="1022"/>
                </a:lnTo>
                <a:lnTo>
                  <a:pt x="342" y="1018"/>
                </a:lnTo>
                <a:lnTo>
                  <a:pt x="338" y="1014"/>
                </a:lnTo>
                <a:lnTo>
                  <a:pt x="336" y="1006"/>
                </a:lnTo>
                <a:lnTo>
                  <a:pt x="336" y="776"/>
                </a:lnTo>
                <a:lnTo>
                  <a:pt x="336" y="776"/>
                </a:lnTo>
                <a:lnTo>
                  <a:pt x="338" y="770"/>
                </a:lnTo>
                <a:lnTo>
                  <a:pt x="342" y="764"/>
                </a:lnTo>
                <a:lnTo>
                  <a:pt x="348" y="760"/>
                </a:lnTo>
                <a:lnTo>
                  <a:pt x="354" y="758"/>
                </a:lnTo>
                <a:lnTo>
                  <a:pt x="582" y="758"/>
                </a:lnTo>
                <a:lnTo>
                  <a:pt x="582" y="758"/>
                </a:lnTo>
                <a:lnTo>
                  <a:pt x="588" y="760"/>
                </a:lnTo>
                <a:lnTo>
                  <a:pt x="594" y="764"/>
                </a:lnTo>
                <a:lnTo>
                  <a:pt x="598" y="770"/>
                </a:lnTo>
                <a:lnTo>
                  <a:pt x="598" y="776"/>
                </a:lnTo>
                <a:lnTo>
                  <a:pt x="598" y="1006"/>
                </a:lnTo>
                <a:close/>
                <a:moveTo>
                  <a:pt x="938" y="1072"/>
                </a:moveTo>
                <a:lnTo>
                  <a:pt x="884" y="1072"/>
                </a:lnTo>
                <a:lnTo>
                  <a:pt x="884" y="1240"/>
                </a:lnTo>
                <a:lnTo>
                  <a:pt x="884" y="1240"/>
                </a:lnTo>
                <a:lnTo>
                  <a:pt x="882" y="1250"/>
                </a:lnTo>
                <a:lnTo>
                  <a:pt x="876" y="1258"/>
                </a:lnTo>
                <a:lnTo>
                  <a:pt x="866" y="1264"/>
                </a:lnTo>
                <a:lnTo>
                  <a:pt x="856" y="1266"/>
                </a:lnTo>
                <a:lnTo>
                  <a:pt x="856" y="1266"/>
                </a:lnTo>
                <a:lnTo>
                  <a:pt x="846" y="1264"/>
                </a:lnTo>
                <a:lnTo>
                  <a:pt x="838" y="1258"/>
                </a:lnTo>
                <a:lnTo>
                  <a:pt x="832" y="1250"/>
                </a:lnTo>
                <a:lnTo>
                  <a:pt x="830" y="1240"/>
                </a:lnTo>
                <a:lnTo>
                  <a:pt x="830" y="1072"/>
                </a:lnTo>
                <a:lnTo>
                  <a:pt x="796" y="1072"/>
                </a:lnTo>
                <a:lnTo>
                  <a:pt x="796" y="1240"/>
                </a:lnTo>
                <a:lnTo>
                  <a:pt x="796" y="1240"/>
                </a:lnTo>
                <a:lnTo>
                  <a:pt x="794" y="1250"/>
                </a:lnTo>
                <a:lnTo>
                  <a:pt x="788" y="1258"/>
                </a:lnTo>
                <a:lnTo>
                  <a:pt x="780" y="1264"/>
                </a:lnTo>
                <a:lnTo>
                  <a:pt x="770" y="1266"/>
                </a:lnTo>
                <a:lnTo>
                  <a:pt x="770" y="1266"/>
                </a:lnTo>
                <a:lnTo>
                  <a:pt x="760" y="1264"/>
                </a:lnTo>
                <a:lnTo>
                  <a:pt x="750" y="1258"/>
                </a:lnTo>
                <a:lnTo>
                  <a:pt x="746" y="1250"/>
                </a:lnTo>
                <a:lnTo>
                  <a:pt x="744" y="1240"/>
                </a:lnTo>
                <a:lnTo>
                  <a:pt x="744" y="1072"/>
                </a:lnTo>
                <a:lnTo>
                  <a:pt x="688" y="1072"/>
                </a:lnTo>
                <a:lnTo>
                  <a:pt x="688" y="1072"/>
                </a:lnTo>
                <a:lnTo>
                  <a:pt x="678" y="1072"/>
                </a:lnTo>
                <a:lnTo>
                  <a:pt x="670" y="1068"/>
                </a:lnTo>
                <a:lnTo>
                  <a:pt x="662" y="1064"/>
                </a:lnTo>
                <a:lnTo>
                  <a:pt x="658" y="1058"/>
                </a:lnTo>
                <a:lnTo>
                  <a:pt x="656" y="1052"/>
                </a:lnTo>
                <a:lnTo>
                  <a:pt x="654" y="1044"/>
                </a:lnTo>
                <a:lnTo>
                  <a:pt x="656" y="1036"/>
                </a:lnTo>
                <a:lnTo>
                  <a:pt x="660" y="1026"/>
                </a:lnTo>
                <a:lnTo>
                  <a:pt x="790" y="770"/>
                </a:lnTo>
                <a:lnTo>
                  <a:pt x="790" y="770"/>
                </a:lnTo>
                <a:lnTo>
                  <a:pt x="794" y="762"/>
                </a:lnTo>
                <a:lnTo>
                  <a:pt x="800" y="756"/>
                </a:lnTo>
                <a:lnTo>
                  <a:pt x="806" y="752"/>
                </a:lnTo>
                <a:lnTo>
                  <a:pt x="814" y="750"/>
                </a:lnTo>
                <a:lnTo>
                  <a:pt x="820" y="752"/>
                </a:lnTo>
                <a:lnTo>
                  <a:pt x="826" y="756"/>
                </a:lnTo>
                <a:lnTo>
                  <a:pt x="832" y="762"/>
                </a:lnTo>
                <a:lnTo>
                  <a:pt x="836" y="770"/>
                </a:lnTo>
                <a:lnTo>
                  <a:pt x="966" y="1026"/>
                </a:lnTo>
                <a:lnTo>
                  <a:pt x="966" y="1026"/>
                </a:lnTo>
                <a:lnTo>
                  <a:pt x="970" y="1036"/>
                </a:lnTo>
                <a:lnTo>
                  <a:pt x="972" y="1044"/>
                </a:lnTo>
                <a:lnTo>
                  <a:pt x="972" y="1052"/>
                </a:lnTo>
                <a:lnTo>
                  <a:pt x="968" y="1058"/>
                </a:lnTo>
                <a:lnTo>
                  <a:pt x="964" y="1064"/>
                </a:lnTo>
                <a:lnTo>
                  <a:pt x="956" y="1068"/>
                </a:lnTo>
                <a:lnTo>
                  <a:pt x="948" y="1072"/>
                </a:lnTo>
                <a:lnTo>
                  <a:pt x="938" y="1072"/>
                </a:lnTo>
                <a:lnTo>
                  <a:pt x="938" y="1072"/>
                </a:lnTo>
                <a:close/>
                <a:moveTo>
                  <a:pt x="1172" y="1240"/>
                </a:moveTo>
                <a:lnTo>
                  <a:pt x="1102" y="1240"/>
                </a:lnTo>
                <a:lnTo>
                  <a:pt x="1102" y="990"/>
                </a:lnTo>
                <a:lnTo>
                  <a:pt x="1102" y="990"/>
                </a:lnTo>
                <a:lnTo>
                  <a:pt x="1076" y="1010"/>
                </a:lnTo>
                <a:lnTo>
                  <a:pt x="1048" y="1028"/>
                </a:lnTo>
                <a:lnTo>
                  <a:pt x="1048" y="966"/>
                </a:lnTo>
                <a:lnTo>
                  <a:pt x="1048" y="966"/>
                </a:lnTo>
                <a:lnTo>
                  <a:pt x="1064" y="956"/>
                </a:lnTo>
                <a:lnTo>
                  <a:pt x="1080" y="944"/>
                </a:lnTo>
                <a:lnTo>
                  <a:pt x="1096" y="932"/>
                </a:lnTo>
                <a:lnTo>
                  <a:pt x="1110" y="916"/>
                </a:lnTo>
                <a:lnTo>
                  <a:pt x="1172" y="916"/>
                </a:lnTo>
                <a:lnTo>
                  <a:pt x="1172" y="1240"/>
                </a:lnTo>
                <a:close/>
                <a:moveTo>
                  <a:pt x="1172" y="872"/>
                </a:moveTo>
                <a:lnTo>
                  <a:pt x="1102" y="872"/>
                </a:lnTo>
                <a:lnTo>
                  <a:pt x="1102" y="624"/>
                </a:lnTo>
                <a:lnTo>
                  <a:pt x="1102" y="624"/>
                </a:lnTo>
                <a:lnTo>
                  <a:pt x="1076" y="644"/>
                </a:lnTo>
                <a:lnTo>
                  <a:pt x="1048" y="660"/>
                </a:lnTo>
                <a:lnTo>
                  <a:pt x="1048" y="600"/>
                </a:lnTo>
                <a:lnTo>
                  <a:pt x="1048" y="600"/>
                </a:lnTo>
                <a:lnTo>
                  <a:pt x="1064" y="588"/>
                </a:lnTo>
                <a:lnTo>
                  <a:pt x="1080" y="578"/>
                </a:lnTo>
                <a:lnTo>
                  <a:pt x="1096" y="564"/>
                </a:lnTo>
                <a:lnTo>
                  <a:pt x="1110" y="548"/>
                </a:lnTo>
                <a:lnTo>
                  <a:pt x="1172" y="548"/>
                </a:lnTo>
                <a:lnTo>
                  <a:pt x="1172" y="872"/>
                </a:lnTo>
                <a:close/>
                <a:moveTo>
                  <a:pt x="1292" y="1244"/>
                </a:moveTo>
                <a:lnTo>
                  <a:pt x="1292" y="1244"/>
                </a:lnTo>
                <a:lnTo>
                  <a:pt x="1274" y="1244"/>
                </a:lnTo>
                <a:lnTo>
                  <a:pt x="1256" y="1240"/>
                </a:lnTo>
                <a:lnTo>
                  <a:pt x="1242" y="1234"/>
                </a:lnTo>
                <a:lnTo>
                  <a:pt x="1228" y="1226"/>
                </a:lnTo>
                <a:lnTo>
                  <a:pt x="1218" y="1214"/>
                </a:lnTo>
                <a:lnTo>
                  <a:pt x="1212" y="1200"/>
                </a:lnTo>
                <a:lnTo>
                  <a:pt x="1208" y="1184"/>
                </a:lnTo>
                <a:lnTo>
                  <a:pt x="1206" y="1164"/>
                </a:lnTo>
                <a:lnTo>
                  <a:pt x="1272" y="1164"/>
                </a:lnTo>
                <a:lnTo>
                  <a:pt x="1272" y="1164"/>
                </a:lnTo>
                <a:lnTo>
                  <a:pt x="1274" y="1176"/>
                </a:lnTo>
                <a:lnTo>
                  <a:pt x="1276" y="1188"/>
                </a:lnTo>
                <a:lnTo>
                  <a:pt x="1276" y="1188"/>
                </a:lnTo>
                <a:lnTo>
                  <a:pt x="1280" y="1192"/>
                </a:lnTo>
                <a:lnTo>
                  <a:pt x="1284" y="1194"/>
                </a:lnTo>
                <a:lnTo>
                  <a:pt x="1290" y="1196"/>
                </a:lnTo>
                <a:lnTo>
                  <a:pt x="1296" y="1196"/>
                </a:lnTo>
                <a:lnTo>
                  <a:pt x="1296" y="1196"/>
                </a:lnTo>
                <a:lnTo>
                  <a:pt x="1306" y="1196"/>
                </a:lnTo>
                <a:lnTo>
                  <a:pt x="1312" y="1194"/>
                </a:lnTo>
                <a:lnTo>
                  <a:pt x="1318" y="1188"/>
                </a:lnTo>
                <a:lnTo>
                  <a:pt x="1322" y="1182"/>
                </a:lnTo>
                <a:lnTo>
                  <a:pt x="1324" y="1172"/>
                </a:lnTo>
                <a:lnTo>
                  <a:pt x="1326" y="1162"/>
                </a:lnTo>
                <a:lnTo>
                  <a:pt x="1326" y="1132"/>
                </a:lnTo>
                <a:lnTo>
                  <a:pt x="1326" y="1132"/>
                </a:lnTo>
                <a:lnTo>
                  <a:pt x="1326" y="1114"/>
                </a:lnTo>
                <a:lnTo>
                  <a:pt x="1324" y="1092"/>
                </a:lnTo>
                <a:lnTo>
                  <a:pt x="1320" y="1082"/>
                </a:lnTo>
                <a:lnTo>
                  <a:pt x="1314" y="1076"/>
                </a:lnTo>
                <a:lnTo>
                  <a:pt x="1308" y="1070"/>
                </a:lnTo>
                <a:lnTo>
                  <a:pt x="1298" y="1068"/>
                </a:lnTo>
                <a:lnTo>
                  <a:pt x="1298" y="1068"/>
                </a:lnTo>
                <a:lnTo>
                  <a:pt x="1292" y="1068"/>
                </a:lnTo>
                <a:lnTo>
                  <a:pt x="1286" y="1072"/>
                </a:lnTo>
                <a:lnTo>
                  <a:pt x="1282" y="1076"/>
                </a:lnTo>
                <a:lnTo>
                  <a:pt x="1278" y="1080"/>
                </a:lnTo>
                <a:lnTo>
                  <a:pt x="1274" y="1092"/>
                </a:lnTo>
                <a:lnTo>
                  <a:pt x="1274" y="1104"/>
                </a:lnTo>
                <a:lnTo>
                  <a:pt x="1210" y="1104"/>
                </a:lnTo>
                <a:lnTo>
                  <a:pt x="1210" y="916"/>
                </a:lnTo>
                <a:lnTo>
                  <a:pt x="1380" y="916"/>
                </a:lnTo>
                <a:lnTo>
                  <a:pt x="1380" y="966"/>
                </a:lnTo>
                <a:lnTo>
                  <a:pt x="1274" y="966"/>
                </a:lnTo>
                <a:lnTo>
                  <a:pt x="1274" y="1046"/>
                </a:lnTo>
                <a:lnTo>
                  <a:pt x="1276" y="1048"/>
                </a:lnTo>
                <a:lnTo>
                  <a:pt x="1276" y="1048"/>
                </a:lnTo>
                <a:lnTo>
                  <a:pt x="1284" y="1038"/>
                </a:lnTo>
                <a:lnTo>
                  <a:pt x="1296" y="1032"/>
                </a:lnTo>
                <a:lnTo>
                  <a:pt x="1308" y="1028"/>
                </a:lnTo>
                <a:lnTo>
                  <a:pt x="1322" y="1026"/>
                </a:lnTo>
                <a:lnTo>
                  <a:pt x="1322" y="1026"/>
                </a:lnTo>
                <a:lnTo>
                  <a:pt x="1340" y="1028"/>
                </a:lnTo>
                <a:lnTo>
                  <a:pt x="1356" y="1032"/>
                </a:lnTo>
                <a:lnTo>
                  <a:pt x="1368" y="1042"/>
                </a:lnTo>
                <a:lnTo>
                  <a:pt x="1376" y="1054"/>
                </a:lnTo>
                <a:lnTo>
                  <a:pt x="1384" y="1068"/>
                </a:lnTo>
                <a:lnTo>
                  <a:pt x="1388" y="1086"/>
                </a:lnTo>
                <a:lnTo>
                  <a:pt x="1390" y="1108"/>
                </a:lnTo>
                <a:lnTo>
                  <a:pt x="1392" y="1132"/>
                </a:lnTo>
                <a:lnTo>
                  <a:pt x="1392" y="1132"/>
                </a:lnTo>
                <a:lnTo>
                  <a:pt x="1390" y="1162"/>
                </a:lnTo>
                <a:lnTo>
                  <a:pt x="1386" y="1186"/>
                </a:lnTo>
                <a:lnTo>
                  <a:pt x="1378" y="1206"/>
                </a:lnTo>
                <a:lnTo>
                  <a:pt x="1372" y="1214"/>
                </a:lnTo>
                <a:lnTo>
                  <a:pt x="1366" y="1222"/>
                </a:lnTo>
                <a:lnTo>
                  <a:pt x="1360" y="1226"/>
                </a:lnTo>
                <a:lnTo>
                  <a:pt x="1352" y="1232"/>
                </a:lnTo>
                <a:lnTo>
                  <a:pt x="1336" y="1238"/>
                </a:lnTo>
                <a:lnTo>
                  <a:pt x="1316" y="1242"/>
                </a:lnTo>
                <a:lnTo>
                  <a:pt x="1292" y="1244"/>
                </a:lnTo>
                <a:lnTo>
                  <a:pt x="1292" y="1244"/>
                </a:lnTo>
                <a:close/>
                <a:moveTo>
                  <a:pt x="1416" y="738"/>
                </a:moveTo>
                <a:lnTo>
                  <a:pt x="1416" y="692"/>
                </a:lnTo>
                <a:lnTo>
                  <a:pt x="1528" y="692"/>
                </a:lnTo>
                <a:lnTo>
                  <a:pt x="1528" y="738"/>
                </a:lnTo>
                <a:lnTo>
                  <a:pt x="1416" y="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 name="TextBox 19"/>
          <p:cNvSpPr txBox="1">
            <a:spLocks noChangeArrowheads="1"/>
          </p:cNvSpPr>
          <p:nvPr userDrawn="1"/>
        </p:nvSpPr>
        <p:spPr bwMode="auto">
          <a:xfrm>
            <a:off x="3263587" y="4337499"/>
            <a:ext cx="1074830"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a:t>
            </a:r>
          </a:p>
        </p:txBody>
      </p:sp>
      <p:grpSp>
        <p:nvGrpSpPr>
          <p:cNvPr id="65" name="Group 64"/>
          <p:cNvGrpSpPr/>
          <p:nvPr userDrawn="1"/>
        </p:nvGrpSpPr>
        <p:grpSpPr>
          <a:xfrm>
            <a:off x="3175937" y="3057528"/>
            <a:ext cx="1260000" cy="1260000"/>
            <a:chOff x="4918075" y="1443038"/>
            <a:chExt cx="2813050" cy="2813050"/>
          </a:xfrm>
          <a:solidFill>
            <a:srgbClr val="000000"/>
          </a:solidFill>
        </p:grpSpPr>
        <p:sp>
          <p:nvSpPr>
            <p:cNvPr id="66" name="Freeform 45"/>
            <p:cNvSpPr>
              <a:spLocks/>
            </p:cNvSpPr>
            <p:nvPr/>
          </p:nvSpPr>
          <p:spPr bwMode="auto">
            <a:xfrm>
              <a:off x="6851650" y="2535238"/>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6"/>
            <p:cNvSpPr>
              <a:spLocks/>
            </p:cNvSpPr>
            <p:nvPr/>
          </p:nvSpPr>
          <p:spPr bwMode="auto">
            <a:xfrm>
              <a:off x="6905625" y="2960688"/>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7"/>
            <p:cNvSpPr>
              <a:spLocks noEditPoints="1"/>
            </p:cNvSpPr>
            <p:nvPr/>
          </p:nvSpPr>
          <p:spPr bwMode="auto">
            <a:xfrm>
              <a:off x="4918075" y="1443038"/>
              <a:ext cx="2813050" cy="2813050"/>
            </a:xfrm>
            <a:custGeom>
              <a:avLst/>
              <a:gdLst>
                <a:gd name="T0" fmla="*/ 1732 w 1772"/>
                <a:gd name="T1" fmla="*/ 622 h 1772"/>
                <a:gd name="T2" fmla="*/ 1570 w 1772"/>
                <a:gd name="T3" fmla="*/ 322 h 1772"/>
                <a:gd name="T4" fmla="*/ 1308 w 1772"/>
                <a:gd name="T5" fmla="*/ 108 h 1772"/>
                <a:gd name="T6" fmla="*/ 976 w 1772"/>
                <a:gd name="T7" fmla="*/ 4 h 1772"/>
                <a:gd name="T8" fmla="*/ 664 w 1772"/>
                <a:gd name="T9" fmla="*/ 28 h 1772"/>
                <a:gd name="T10" fmla="*/ 356 w 1772"/>
                <a:gd name="T11" fmla="*/ 176 h 1772"/>
                <a:gd name="T12" fmla="*/ 128 w 1772"/>
                <a:gd name="T13" fmla="*/ 426 h 1772"/>
                <a:gd name="T14" fmla="*/ 10 w 1772"/>
                <a:gd name="T15" fmla="*/ 752 h 1772"/>
                <a:gd name="T16" fmla="*/ 18 w 1772"/>
                <a:gd name="T17" fmla="*/ 1064 h 1772"/>
                <a:gd name="T18" fmla="*/ 152 w 1772"/>
                <a:gd name="T19" fmla="*/ 1382 h 1772"/>
                <a:gd name="T20" fmla="*/ 390 w 1772"/>
                <a:gd name="T21" fmla="*/ 1620 h 1772"/>
                <a:gd name="T22" fmla="*/ 708 w 1772"/>
                <a:gd name="T23" fmla="*/ 1754 h 1772"/>
                <a:gd name="T24" fmla="*/ 1020 w 1772"/>
                <a:gd name="T25" fmla="*/ 1762 h 1772"/>
                <a:gd name="T26" fmla="*/ 1346 w 1772"/>
                <a:gd name="T27" fmla="*/ 1644 h 1772"/>
                <a:gd name="T28" fmla="*/ 1596 w 1772"/>
                <a:gd name="T29" fmla="*/ 1416 h 1772"/>
                <a:gd name="T30" fmla="*/ 1744 w 1772"/>
                <a:gd name="T31" fmla="*/ 1108 h 1772"/>
                <a:gd name="T32" fmla="*/ 672 w 1772"/>
                <a:gd name="T33" fmla="*/ 612 h 1772"/>
                <a:gd name="T34" fmla="*/ 772 w 1772"/>
                <a:gd name="T35" fmla="*/ 514 h 1772"/>
                <a:gd name="T36" fmla="*/ 870 w 1772"/>
                <a:gd name="T37" fmla="*/ 592 h 1772"/>
                <a:gd name="T38" fmla="*/ 810 w 1772"/>
                <a:gd name="T39" fmla="*/ 704 h 1772"/>
                <a:gd name="T40" fmla="*/ 690 w 1772"/>
                <a:gd name="T41" fmla="*/ 668 h 1772"/>
                <a:gd name="T42" fmla="*/ 1018 w 1772"/>
                <a:gd name="T43" fmla="*/ 570 h 1772"/>
                <a:gd name="T44" fmla="*/ 1056 w 1772"/>
                <a:gd name="T45" fmla="*/ 606 h 1772"/>
                <a:gd name="T46" fmla="*/ 1160 w 1772"/>
                <a:gd name="T47" fmla="*/ 602 h 1772"/>
                <a:gd name="T48" fmla="*/ 1222 w 1772"/>
                <a:gd name="T49" fmla="*/ 530 h 1772"/>
                <a:gd name="T50" fmla="*/ 1322 w 1772"/>
                <a:gd name="T51" fmla="*/ 554 h 1772"/>
                <a:gd name="T52" fmla="*/ 1264 w 1772"/>
                <a:gd name="T53" fmla="*/ 580 h 1772"/>
                <a:gd name="T54" fmla="*/ 1224 w 1772"/>
                <a:gd name="T55" fmla="*/ 580 h 1772"/>
                <a:gd name="T56" fmla="*/ 1252 w 1772"/>
                <a:gd name="T57" fmla="*/ 646 h 1772"/>
                <a:gd name="T58" fmla="*/ 1316 w 1772"/>
                <a:gd name="T59" fmla="*/ 664 h 1772"/>
                <a:gd name="T60" fmla="*/ 1334 w 1772"/>
                <a:gd name="T61" fmla="*/ 790 h 1772"/>
                <a:gd name="T62" fmla="*/ 1242 w 1772"/>
                <a:gd name="T63" fmla="*/ 854 h 1772"/>
                <a:gd name="T64" fmla="*/ 1168 w 1772"/>
                <a:gd name="T65" fmla="*/ 810 h 1772"/>
                <a:gd name="T66" fmla="*/ 1364 w 1772"/>
                <a:gd name="T67" fmla="*/ 1158 h 1772"/>
                <a:gd name="T68" fmla="*/ 1364 w 1772"/>
                <a:gd name="T69" fmla="*/ 912 h 1772"/>
                <a:gd name="T70" fmla="*/ 1114 w 1772"/>
                <a:gd name="T71" fmla="*/ 1012 h 1772"/>
                <a:gd name="T72" fmla="*/ 1100 w 1772"/>
                <a:gd name="T73" fmla="*/ 954 h 1772"/>
                <a:gd name="T74" fmla="*/ 1066 w 1772"/>
                <a:gd name="T75" fmla="*/ 1000 h 1772"/>
                <a:gd name="T76" fmla="*/ 1050 w 1772"/>
                <a:gd name="T77" fmla="*/ 914 h 1772"/>
                <a:gd name="T78" fmla="*/ 1168 w 1772"/>
                <a:gd name="T79" fmla="*/ 938 h 1772"/>
                <a:gd name="T80" fmla="*/ 1168 w 1772"/>
                <a:gd name="T81" fmla="*/ 1044 h 1772"/>
                <a:gd name="T82" fmla="*/ 996 w 1772"/>
                <a:gd name="T83" fmla="*/ 1230 h 1772"/>
                <a:gd name="T84" fmla="*/ 528 w 1772"/>
                <a:gd name="T85" fmla="*/ 610 h 1772"/>
                <a:gd name="T86" fmla="*/ 428 w 1772"/>
                <a:gd name="T87" fmla="*/ 710 h 1772"/>
                <a:gd name="T88" fmla="*/ 328 w 1772"/>
                <a:gd name="T89" fmla="*/ 630 h 1772"/>
                <a:gd name="T90" fmla="*/ 388 w 1772"/>
                <a:gd name="T91" fmla="*/ 516 h 1772"/>
                <a:gd name="T92" fmla="*/ 510 w 1772"/>
                <a:gd name="T93" fmla="*/ 552 h 1772"/>
                <a:gd name="T94" fmla="*/ 548 w 1772"/>
                <a:gd name="T95" fmla="*/ 750 h 1772"/>
                <a:gd name="T96" fmla="*/ 536 w 1772"/>
                <a:gd name="T97" fmla="*/ 1000 h 1772"/>
                <a:gd name="T98" fmla="*/ 470 w 1772"/>
                <a:gd name="T99" fmla="*/ 1236 h 1772"/>
                <a:gd name="T100" fmla="*/ 412 w 1772"/>
                <a:gd name="T101" fmla="*/ 1210 h 1772"/>
                <a:gd name="T102" fmla="*/ 364 w 1772"/>
                <a:gd name="T103" fmla="*/ 1220 h 1772"/>
                <a:gd name="T104" fmla="*/ 302 w 1772"/>
                <a:gd name="T105" fmla="*/ 982 h 1772"/>
                <a:gd name="T106" fmla="*/ 788 w 1772"/>
                <a:gd name="T107" fmla="*/ 1214 h 1772"/>
                <a:gd name="T108" fmla="*/ 730 w 1772"/>
                <a:gd name="T109" fmla="*/ 1240 h 1772"/>
                <a:gd name="T110" fmla="*/ 652 w 1772"/>
                <a:gd name="T111" fmla="*/ 1052 h 1772"/>
                <a:gd name="T112" fmla="*/ 624 w 1772"/>
                <a:gd name="T113" fmla="*/ 1008 h 1772"/>
                <a:gd name="T114" fmla="*/ 784 w 1772"/>
                <a:gd name="T115" fmla="*/ 748 h 1772"/>
                <a:gd name="T116" fmla="*/ 922 w 1772"/>
                <a:gd name="T117" fmla="*/ 1040 h 1772"/>
                <a:gd name="T118" fmla="*/ 838 w 1772"/>
                <a:gd name="T119" fmla="*/ 1224 h 1772"/>
                <a:gd name="T120" fmla="*/ 788 w 1772"/>
                <a:gd name="T121" fmla="*/ 1214 h 1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72" h="1772">
                  <a:moveTo>
                    <a:pt x="1772" y="886"/>
                  </a:moveTo>
                  <a:lnTo>
                    <a:pt x="1772" y="886"/>
                  </a:lnTo>
                  <a:lnTo>
                    <a:pt x="1770" y="840"/>
                  </a:lnTo>
                  <a:lnTo>
                    <a:pt x="1768" y="796"/>
                  </a:lnTo>
                  <a:lnTo>
                    <a:pt x="1762" y="752"/>
                  </a:lnTo>
                  <a:lnTo>
                    <a:pt x="1754" y="708"/>
                  </a:lnTo>
                  <a:lnTo>
                    <a:pt x="1744" y="664"/>
                  </a:lnTo>
                  <a:lnTo>
                    <a:pt x="1732" y="622"/>
                  </a:lnTo>
                  <a:lnTo>
                    <a:pt x="1718" y="582"/>
                  </a:lnTo>
                  <a:lnTo>
                    <a:pt x="1702" y="542"/>
                  </a:lnTo>
                  <a:lnTo>
                    <a:pt x="1684" y="502"/>
                  </a:lnTo>
                  <a:lnTo>
                    <a:pt x="1664" y="464"/>
                  </a:lnTo>
                  <a:lnTo>
                    <a:pt x="1644" y="426"/>
                  </a:lnTo>
                  <a:lnTo>
                    <a:pt x="1620" y="390"/>
                  </a:lnTo>
                  <a:lnTo>
                    <a:pt x="1596" y="356"/>
                  </a:lnTo>
                  <a:lnTo>
                    <a:pt x="1570" y="322"/>
                  </a:lnTo>
                  <a:lnTo>
                    <a:pt x="1542" y="290"/>
                  </a:lnTo>
                  <a:lnTo>
                    <a:pt x="1512" y="260"/>
                  </a:lnTo>
                  <a:lnTo>
                    <a:pt x="1482" y="230"/>
                  </a:lnTo>
                  <a:lnTo>
                    <a:pt x="1450" y="202"/>
                  </a:lnTo>
                  <a:lnTo>
                    <a:pt x="1416" y="176"/>
                  </a:lnTo>
                  <a:lnTo>
                    <a:pt x="1382" y="152"/>
                  </a:lnTo>
                  <a:lnTo>
                    <a:pt x="1346" y="128"/>
                  </a:lnTo>
                  <a:lnTo>
                    <a:pt x="1308" y="108"/>
                  </a:lnTo>
                  <a:lnTo>
                    <a:pt x="1270" y="88"/>
                  </a:lnTo>
                  <a:lnTo>
                    <a:pt x="1230" y="70"/>
                  </a:lnTo>
                  <a:lnTo>
                    <a:pt x="1190" y="54"/>
                  </a:lnTo>
                  <a:lnTo>
                    <a:pt x="1150" y="40"/>
                  </a:lnTo>
                  <a:lnTo>
                    <a:pt x="1108" y="28"/>
                  </a:lnTo>
                  <a:lnTo>
                    <a:pt x="1064" y="18"/>
                  </a:lnTo>
                  <a:lnTo>
                    <a:pt x="1020" y="10"/>
                  </a:lnTo>
                  <a:lnTo>
                    <a:pt x="976" y="4"/>
                  </a:lnTo>
                  <a:lnTo>
                    <a:pt x="932" y="2"/>
                  </a:lnTo>
                  <a:lnTo>
                    <a:pt x="886" y="0"/>
                  </a:lnTo>
                  <a:lnTo>
                    <a:pt x="886" y="0"/>
                  </a:lnTo>
                  <a:lnTo>
                    <a:pt x="840" y="2"/>
                  </a:lnTo>
                  <a:lnTo>
                    <a:pt x="796" y="4"/>
                  </a:lnTo>
                  <a:lnTo>
                    <a:pt x="752" y="10"/>
                  </a:lnTo>
                  <a:lnTo>
                    <a:pt x="708" y="18"/>
                  </a:lnTo>
                  <a:lnTo>
                    <a:pt x="664" y="28"/>
                  </a:lnTo>
                  <a:lnTo>
                    <a:pt x="622" y="40"/>
                  </a:lnTo>
                  <a:lnTo>
                    <a:pt x="582" y="54"/>
                  </a:lnTo>
                  <a:lnTo>
                    <a:pt x="542" y="70"/>
                  </a:lnTo>
                  <a:lnTo>
                    <a:pt x="502" y="88"/>
                  </a:lnTo>
                  <a:lnTo>
                    <a:pt x="464" y="108"/>
                  </a:lnTo>
                  <a:lnTo>
                    <a:pt x="426" y="128"/>
                  </a:lnTo>
                  <a:lnTo>
                    <a:pt x="390" y="152"/>
                  </a:lnTo>
                  <a:lnTo>
                    <a:pt x="356" y="176"/>
                  </a:lnTo>
                  <a:lnTo>
                    <a:pt x="322" y="202"/>
                  </a:lnTo>
                  <a:lnTo>
                    <a:pt x="290" y="230"/>
                  </a:lnTo>
                  <a:lnTo>
                    <a:pt x="260" y="260"/>
                  </a:lnTo>
                  <a:lnTo>
                    <a:pt x="230" y="290"/>
                  </a:lnTo>
                  <a:lnTo>
                    <a:pt x="202" y="322"/>
                  </a:lnTo>
                  <a:lnTo>
                    <a:pt x="176" y="356"/>
                  </a:lnTo>
                  <a:lnTo>
                    <a:pt x="152" y="390"/>
                  </a:lnTo>
                  <a:lnTo>
                    <a:pt x="128" y="426"/>
                  </a:lnTo>
                  <a:lnTo>
                    <a:pt x="108" y="464"/>
                  </a:lnTo>
                  <a:lnTo>
                    <a:pt x="88" y="502"/>
                  </a:lnTo>
                  <a:lnTo>
                    <a:pt x="70" y="542"/>
                  </a:lnTo>
                  <a:lnTo>
                    <a:pt x="54" y="582"/>
                  </a:lnTo>
                  <a:lnTo>
                    <a:pt x="40" y="622"/>
                  </a:lnTo>
                  <a:lnTo>
                    <a:pt x="28" y="664"/>
                  </a:lnTo>
                  <a:lnTo>
                    <a:pt x="18" y="708"/>
                  </a:lnTo>
                  <a:lnTo>
                    <a:pt x="10" y="752"/>
                  </a:lnTo>
                  <a:lnTo>
                    <a:pt x="4" y="796"/>
                  </a:lnTo>
                  <a:lnTo>
                    <a:pt x="2" y="840"/>
                  </a:lnTo>
                  <a:lnTo>
                    <a:pt x="0" y="886"/>
                  </a:lnTo>
                  <a:lnTo>
                    <a:pt x="0" y="886"/>
                  </a:lnTo>
                  <a:lnTo>
                    <a:pt x="2" y="932"/>
                  </a:lnTo>
                  <a:lnTo>
                    <a:pt x="4" y="976"/>
                  </a:lnTo>
                  <a:lnTo>
                    <a:pt x="10" y="1020"/>
                  </a:lnTo>
                  <a:lnTo>
                    <a:pt x="18" y="1064"/>
                  </a:lnTo>
                  <a:lnTo>
                    <a:pt x="28" y="1108"/>
                  </a:lnTo>
                  <a:lnTo>
                    <a:pt x="40" y="1150"/>
                  </a:lnTo>
                  <a:lnTo>
                    <a:pt x="54" y="1190"/>
                  </a:lnTo>
                  <a:lnTo>
                    <a:pt x="70" y="1230"/>
                  </a:lnTo>
                  <a:lnTo>
                    <a:pt x="88" y="1270"/>
                  </a:lnTo>
                  <a:lnTo>
                    <a:pt x="108" y="1308"/>
                  </a:lnTo>
                  <a:lnTo>
                    <a:pt x="128" y="1346"/>
                  </a:lnTo>
                  <a:lnTo>
                    <a:pt x="152" y="1382"/>
                  </a:lnTo>
                  <a:lnTo>
                    <a:pt x="176" y="1416"/>
                  </a:lnTo>
                  <a:lnTo>
                    <a:pt x="202" y="1450"/>
                  </a:lnTo>
                  <a:lnTo>
                    <a:pt x="230" y="1482"/>
                  </a:lnTo>
                  <a:lnTo>
                    <a:pt x="260" y="1512"/>
                  </a:lnTo>
                  <a:lnTo>
                    <a:pt x="290" y="1542"/>
                  </a:lnTo>
                  <a:lnTo>
                    <a:pt x="322" y="1570"/>
                  </a:lnTo>
                  <a:lnTo>
                    <a:pt x="356" y="1596"/>
                  </a:lnTo>
                  <a:lnTo>
                    <a:pt x="390" y="1620"/>
                  </a:lnTo>
                  <a:lnTo>
                    <a:pt x="426" y="1644"/>
                  </a:lnTo>
                  <a:lnTo>
                    <a:pt x="464" y="1664"/>
                  </a:lnTo>
                  <a:lnTo>
                    <a:pt x="502" y="1684"/>
                  </a:lnTo>
                  <a:lnTo>
                    <a:pt x="542" y="1702"/>
                  </a:lnTo>
                  <a:lnTo>
                    <a:pt x="582" y="1718"/>
                  </a:lnTo>
                  <a:lnTo>
                    <a:pt x="622" y="1732"/>
                  </a:lnTo>
                  <a:lnTo>
                    <a:pt x="664" y="1744"/>
                  </a:lnTo>
                  <a:lnTo>
                    <a:pt x="708" y="1754"/>
                  </a:lnTo>
                  <a:lnTo>
                    <a:pt x="752" y="1762"/>
                  </a:lnTo>
                  <a:lnTo>
                    <a:pt x="796" y="1768"/>
                  </a:lnTo>
                  <a:lnTo>
                    <a:pt x="840" y="1770"/>
                  </a:lnTo>
                  <a:lnTo>
                    <a:pt x="886" y="1772"/>
                  </a:lnTo>
                  <a:lnTo>
                    <a:pt x="886" y="1772"/>
                  </a:lnTo>
                  <a:lnTo>
                    <a:pt x="932" y="1770"/>
                  </a:lnTo>
                  <a:lnTo>
                    <a:pt x="976" y="1768"/>
                  </a:lnTo>
                  <a:lnTo>
                    <a:pt x="1020" y="1762"/>
                  </a:lnTo>
                  <a:lnTo>
                    <a:pt x="1064" y="1754"/>
                  </a:lnTo>
                  <a:lnTo>
                    <a:pt x="1108" y="1744"/>
                  </a:lnTo>
                  <a:lnTo>
                    <a:pt x="1150" y="1732"/>
                  </a:lnTo>
                  <a:lnTo>
                    <a:pt x="1190" y="1718"/>
                  </a:lnTo>
                  <a:lnTo>
                    <a:pt x="1230" y="1702"/>
                  </a:lnTo>
                  <a:lnTo>
                    <a:pt x="1270" y="1684"/>
                  </a:lnTo>
                  <a:lnTo>
                    <a:pt x="1308" y="1664"/>
                  </a:lnTo>
                  <a:lnTo>
                    <a:pt x="1346" y="1644"/>
                  </a:lnTo>
                  <a:lnTo>
                    <a:pt x="1382" y="1620"/>
                  </a:lnTo>
                  <a:lnTo>
                    <a:pt x="1416" y="1596"/>
                  </a:lnTo>
                  <a:lnTo>
                    <a:pt x="1450" y="1570"/>
                  </a:lnTo>
                  <a:lnTo>
                    <a:pt x="1482" y="1542"/>
                  </a:lnTo>
                  <a:lnTo>
                    <a:pt x="1512" y="1512"/>
                  </a:lnTo>
                  <a:lnTo>
                    <a:pt x="1542" y="1482"/>
                  </a:lnTo>
                  <a:lnTo>
                    <a:pt x="1570" y="1450"/>
                  </a:lnTo>
                  <a:lnTo>
                    <a:pt x="1596" y="1416"/>
                  </a:lnTo>
                  <a:lnTo>
                    <a:pt x="1620" y="1382"/>
                  </a:lnTo>
                  <a:lnTo>
                    <a:pt x="1644" y="1346"/>
                  </a:lnTo>
                  <a:lnTo>
                    <a:pt x="1664" y="1308"/>
                  </a:lnTo>
                  <a:lnTo>
                    <a:pt x="1684" y="1270"/>
                  </a:lnTo>
                  <a:lnTo>
                    <a:pt x="1702" y="1230"/>
                  </a:lnTo>
                  <a:lnTo>
                    <a:pt x="1718" y="1190"/>
                  </a:lnTo>
                  <a:lnTo>
                    <a:pt x="1732" y="1150"/>
                  </a:lnTo>
                  <a:lnTo>
                    <a:pt x="1744" y="1108"/>
                  </a:lnTo>
                  <a:lnTo>
                    <a:pt x="1754" y="1064"/>
                  </a:lnTo>
                  <a:lnTo>
                    <a:pt x="1762" y="1020"/>
                  </a:lnTo>
                  <a:lnTo>
                    <a:pt x="1768" y="976"/>
                  </a:lnTo>
                  <a:lnTo>
                    <a:pt x="1770" y="932"/>
                  </a:lnTo>
                  <a:lnTo>
                    <a:pt x="1772" y="886"/>
                  </a:lnTo>
                  <a:lnTo>
                    <a:pt x="1772" y="886"/>
                  </a:lnTo>
                  <a:close/>
                  <a:moveTo>
                    <a:pt x="672" y="612"/>
                  </a:moveTo>
                  <a:lnTo>
                    <a:pt x="672" y="612"/>
                  </a:lnTo>
                  <a:lnTo>
                    <a:pt x="674" y="592"/>
                  </a:lnTo>
                  <a:lnTo>
                    <a:pt x="680" y="574"/>
                  </a:lnTo>
                  <a:lnTo>
                    <a:pt x="690" y="558"/>
                  </a:lnTo>
                  <a:lnTo>
                    <a:pt x="702" y="542"/>
                  </a:lnTo>
                  <a:lnTo>
                    <a:pt x="716" y="530"/>
                  </a:lnTo>
                  <a:lnTo>
                    <a:pt x="734" y="522"/>
                  </a:lnTo>
                  <a:lnTo>
                    <a:pt x="752" y="516"/>
                  </a:lnTo>
                  <a:lnTo>
                    <a:pt x="772" y="514"/>
                  </a:lnTo>
                  <a:lnTo>
                    <a:pt x="772" y="514"/>
                  </a:lnTo>
                  <a:lnTo>
                    <a:pt x="792" y="516"/>
                  </a:lnTo>
                  <a:lnTo>
                    <a:pt x="810" y="522"/>
                  </a:lnTo>
                  <a:lnTo>
                    <a:pt x="828" y="530"/>
                  </a:lnTo>
                  <a:lnTo>
                    <a:pt x="842" y="542"/>
                  </a:lnTo>
                  <a:lnTo>
                    <a:pt x="854" y="558"/>
                  </a:lnTo>
                  <a:lnTo>
                    <a:pt x="864" y="574"/>
                  </a:lnTo>
                  <a:lnTo>
                    <a:pt x="870" y="592"/>
                  </a:lnTo>
                  <a:lnTo>
                    <a:pt x="872" y="612"/>
                  </a:lnTo>
                  <a:lnTo>
                    <a:pt x="872" y="612"/>
                  </a:lnTo>
                  <a:lnTo>
                    <a:pt x="870" y="632"/>
                  </a:lnTo>
                  <a:lnTo>
                    <a:pt x="864" y="652"/>
                  </a:lnTo>
                  <a:lnTo>
                    <a:pt x="854" y="668"/>
                  </a:lnTo>
                  <a:lnTo>
                    <a:pt x="842" y="684"/>
                  </a:lnTo>
                  <a:lnTo>
                    <a:pt x="828" y="696"/>
                  </a:lnTo>
                  <a:lnTo>
                    <a:pt x="810" y="704"/>
                  </a:lnTo>
                  <a:lnTo>
                    <a:pt x="792" y="710"/>
                  </a:lnTo>
                  <a:lnTo>
                    <a:pt x="772" y="712"/>
                  </a:lnTo>
                  <a:lnTo>
                    <a:pt x="772" y="712"/>
                  </a:lnTo>
                  <a:lnTo>
                    <a:pt x="752" y="710"/>
                  </a:lnTo>
                  <a:lnTo>
                    <a:pt x="734" y="704"/>
                  </a:lnTo>
                  <a:lnTo>
                    <a:pt x="716" y="696"/>
                  </a:lnTo>
                  <a:lnTo>
                    <a:pt x="702" y="684"/>
                  </a:lnTo>
                  <a:lnTo>
                    <a:pt x="690" y="668"/>
                  </a:lnTo>
                  <a:lnTo>
                    <a:pt x="680" y="652"/>
                  </a:lnTo>
                  <a:lnTo>
                    <a:pt x="674" y="632"/>
                  </a:lnTo>
                  <a:lnTo>
                    <a:pt x="672" y="612"/>
                  </a:lnTo>
                  <a:lnTo>
                    <a:pt x="672" y="612"/>
                  </a:lnTo>
                  <a:close/>
                  <a:moveTo>
                    <a:pt x="1002" y="640"/>
                  </a:moveTo>
                  <a:lnTo>
                    <a:pt x="1002" y="580"/>
                  </a:lnTo>
                  <a:lnTo>
                    <a:pt x="1002" y="580"/>
                  </a:lnTo>
                  <a:lnTo>
                    <a:pt x="1018" y="570"/>
                  </a:lnTo>
                  <a:lnTo>
                    <a:pt x="1034" y="560"/>
                  </a:lnTo>
                  <a:lnTo>
                    <a:pt x="1050" y="546"/>
                  </a:lnTo>
                  <a:lnTo>
                    <a:pt x="1064" y="532"/>
                  </a:lnTo>
                  <a:lnTo>
                    <a:pt x="1124" y="532"/>
                  </a:lnTo>
                  <a:lnTo>
                    <a:pt x="1124" y="850"/>
                  </a:lnTo>
                  <a:lnTo>
                    <a:pt x="1056" y="850"/>
                  </a:lnTo>
                  <a:lnTo>
                    <a:pt x="1056" y="606"/>
                  </a:lnTo>
                  <a:lnTo>
                    <a:pt x="1056" y="606"/>
                  </a:lnTo>
                  <a:lnTo>
                    <a:pt x="1030" y="624"/>
                  </a:lnTo>
                  <a:lnTo>
                    <a:pt x="1002" y="640"/>
                  </a:lnTo>
                  <a:lnTo>
                    <a:pt x="1002" y="640"/>
                  </a:lnTo>
                  <a:close/>
                  <a:moveTo>
                    <a:pt x="1154" y="718"/>
                  </a:moveTo>
                  <a:lnTo>
                    <a:pt x="1154" y="718"/>
                  </a:lnTo>
                  <a:lnTo>
                    <a:pt x="1154" y="674"/>
                  </a:lnTo>
                  <a:lnTo>
                    <a:pt x="1156" y="634"/>
                  </a:lnTo>
                  <a:lnTo>
                    <a:pt x="1160" y="602"/>
                  </a:lnTo>
                  <a:lnTo>
                    <a:pt x="1164" y="588"/>
                  </a:lnTo>
                  <a:lnTo>
                    <a:pt x="1168" y="576"/>
                  </a:lnTo>
                  <a:lnTo>
                    <a:pt x="1174" y="564"/>
                  </a:lnTo>
                  <a:lnTo>
                    <a:pt x="1180" y="554"/>
                  </a:lnTo>
                  <a:lnTo>
                    <a:pt x="1188" y="546"/>
                  </a:lnTo>
                  <a:lnTo>
                    <a:pt x="1198" y="540"/>
                  </a:lnTo>
                  <a:lnTo>
                    <a:pt x="1208" y="534"/>
                  </a:lnTo>
                  <a:lnTo>
                    <a:pt x="1222" y="530"/>
                  </a:lnTo>
                  <a:lnTo>
                    <a:pt x="1236" y="528"/>
                  </a:lnTo>
                  <a:lnTo>
                    <a:pt x="1252" y="528"/>
                  </a:lnTo>
                  <a:lnTo>
                    <a:pt x="1252" y="528"/>
                  </a:lnTo>
                  <a:lnTo>
                    <a:pt x="1268" y="528"/>
                  </a:lnTo>
                  <a:lnTo>
                    <a:pt x="1286" y="532"/>
                  </a:lnTo>
                  <a:lnTo>
                    <a:pt x="1300" y="536"/>
                  </a:lnTo>
                  <a:lnTo>
                    <a:pt x="1312" y="544"/>
                  </a:lnTo>
                  <a:lnTo>
                    <a:pt x="1322" y="554"/>
                  </a:lnTo>
                  <a:lnTo>
                    <a:pt x="1330" y="566"/>
                  </a:lnTo>
                  <a:lnTo>
                    <a:pt x="1334" y="582"/>
                  </a:lnTo>
                  <a:lnTo>
                    <a:pt x="1336" y="600"/>
                  </a:lnTo>
                  <a:lnTo>
                    <a:pt x="1268" y="600"/>
                  </a:lnTo>
                  <a:lnTo>
                    <a:pt x="1268" y="600"/>
                  </a:lnTo>
                  <a:lnTo>
                    <a:pt x="1268" y="590"/>
                  </a:lnTo>
                  <a:lnTo>
                    <a:pt x="1264" y="580"/>
                  </a:lnTo>
                  <a:lnTo>
                    <a:pt x="1264" y="580"/>
                  </a:lnTo>
                  <a:lnTo>
                    <a:pt x="1262" y="576"/>
                  </a:lnTo>
                  <a:lnTo>
                    <a:pt x="1258" y="574"/>
                  </a:lnTo>
                  <a:lnTo>
                    <a:pt x="1252" y="572"/>
                  </a:lnTo>
                  <a:lnTo>
                    <a:pt x="1246" y="572"/>
                  </a:lnTo>
                  <a:lnTo>
                    <a:pt x="1246" y="572"/>
                  </a:lnTo>
                  <a:lnTo>
                    <a:pt x="1236" y="572"/>
                  </a:lnTo>
                  <a:lnTo>
                    <a:pt x="1230" y="574"/>
                  </a:lnTo>
                  <a:lnTo>
                    <a:pt x="1224" y="580"/>
                  </a:lnTo>
                  <a:lnTo>
                    <a:pt x="1220" y="588"/>
                  </a:lnTo>
                  <a:lnTo>
                    <a:pt x="1218" y="600"/>
                  </a:lnTo>
                  <a:lnTo>
                    <a:pt x="1218" y="618"/>
                  </a:lnTo>
                  <a:lnTo>
                    <a:pt x="1216" y="666"/>
                  </a:lnTo>
                  <a:lnTo>
                    <a:pt x="1216" y="666"/>
                  </a:lnTo>
                  <a:lnTo>
                    <a:pt x="1228" y="656"/>
                  </a:lnTo>
                  <a:lnTo>
                    <a:pt x="1240" y="650"/>
                  </a:lnTo>
                  <a:lnTo>
                    <a:pt x="1252" y="646"/>
                  </a:lnTo>
                  <a:lnTo>
                    <a:pt x="1268" y="644"/>
                  </a:lnTo>
                  <a:lnTo>
                    <a:pt x="1268" y="644"/>
                  </a:lnTo>
                  <a:lnTo>
                    <a:pt x="1278" y="644"/>
                  </a:lnTo>
                  <a:lnTo>
                    <a:pt x="1288" y="646"/>
                  </a:lnTo>
                  <a:lnTo>
                    <a:pt x="1296" y="650"/>
                  </a:lnTo>
                  <a:lnTo>
                    <a:pt x="1304" y="654"/>
                  </a:lnTo>
                  <a:lnTo>
                    <a:pt x="1310" y="658"/>
                  </a:lnTo>
                  <a:lnTo>
                    <a:pt x="1316" y="664"/>
                  </a:lnTo>
                  <a:lnTo>
                    <a:pt x="1326" y="676"/>
                  </a:lnTo>
                  <a:lnTo>
                    <a:pt x="1332" y="692"/>
                  </a:lnTo>
                  <a:lnTo>
                    <a:pt x="1336" y="710"/>
                  </a:lnTo>
                  <a:lnTo>
                    <a:pt x="1338" y="728"/>
                  </a:lnTo>
                  <a:lnTo>
                    <a:pt x="1338" y="746"/>
                  </a:lnTo>
                  <a:lnTo>
                    <a:pt x="1338" y="746"/>
                  </a:lnTo>
                  <a:lnTo>
                    <a:pt x="1338" y="770"/>
                  </a:lnTo>
                  <a:lnTo>
                    <a:pt x="1334" y="790"/>
                  </a:lnTo>
                  <a:lnTo>
                    <a:pt x="1328" y="808"/>
                  </a:lnTo>
                  <a:lnTo>
                    <a:pt x="1318" y="824"/>
                  </a:lnTo>
                  <a:lnTo>
                    <a:pt x="1304" y="838"/>
                  </a:lnTo>
                  <a:lnTo>
                    <a:pt x="1296" y="842"/>
                  </a:lnTo>
                  <a:lnTo>
                    <a:pt x="1288" y="846"/>
                  </a:lnTo>
                  <a:lnTo>
                    <a:pt x="1268" y="852"/>
                  </a:lnTo>
                  <a:lnTo>
                    <a:pt x="1242" y="854"/>
                  </a:lnTo>
                  <a:lnTo>
                    <a:pt x="1242" y="854"/>
                  </a:lnTo>
                  <a:lnTo>
                    <a:pt x="1228" y="854"/>
                  </a:lnTo>
                  <a:lnTo>
                    <a:pt x="1216" y="850"/>
                  </a:lnTo>
                  <a:lnTo>
                    <a:pt x="1204" y="848"/>
                  </a:lnTo>
                  <a:lnTo>
                    <a:pt x="1194" y="842"/>
                  </a:lnTo>
                  <a:lnTo>
                    <a:pt x="1186" y="836"/>
                  </a:lnTo>
                  <a:lnTo>
                    <a:pt x="1178" y="828"/>
                  </a:lnTo>
                  <a:lnTo>
                    <a:pt x="1172" y="820"/>
                  </a:lnTo>
                  <a:lnTo>
                    <a:pt x="1168" y="810"/>
                  </a:lnTo>
                  <a:lnTo>
                    <a:pt x="1160" y="790"/>
                  </a:lnTo>
                  <a:lnTo>
                    <a:pt x="1156" y="766"/>
                  </a:lnTo>
                  <a:lnTo>
                    <a:pt x="1154" y="742"/>
                  </a:lnTo>
                  <a:lnTo>
                    <a:pt x="1154" y="718"/>
                  </a:lnTo>
                  <a:lnTo>
                    <a:pt x="1154" y="718"/>
                  </a:lnTo>
                  <a:close/>
                  <a:moveTo>
                    <a:pt x="1390" y="1108"/>
                  </a:moveTo>
                  <a:lnTo>
                    <a:pt x="1390" y="1158"/>
                  </a:lnTo>
                  <a:lnTo>
                    <a:pt x="1364" y="1158"/>
                  </a:lnTo>
                  <a:lnTo>
                    <a:pt x="1364" y="1230"/>
                  </a:lnTo>
                  <a:lnTo>
                    <a:pt x="1302" y="1230"/>
                  </a:lnTo>
                  <a:lnTo>
                    <a:pt x="1302" y="1158"/>
                  </a:lnTo>
                  <a:lnTo>
                    <a:pt x="1202" y="1158"/>
                  </a:lnTo>
                  <a:lnTo>
                    <a:pt x="1202" y="1094"/>
                  </a:lnTo>
                  <a:lnTo>
                    <a:pt x="1202" y="1094"/>
                  </a:lnTo>
                  <a:lnTo>
                    <a:pt x="1280" y="912"/>
                  </a:lnTo>
                  <a:lnTo>
                    <a:pt x="1364" y="912"/>
                  </a:lnTo>
                  <a:lnTo>
                    <a:pt x="1364" y="1108"/>
                  </a:lnTo>
                  <a:lnTo>
                    <a:pt x="1390" y="1108"/>
                  </a:lnTo>
                  <a:close/>
                  <a:moveTo>
                    <a:pt x="996" y="1174"/>
                  </a:moveTo>
                  <a:lnTo>
                    <a:pt x="996" y="1174"/>
                  </a:lnTo>
                  <a:lnTo>
                    <a:pt x="1058" y="1094"/>
                  </a:lnTo>
                  <a:lnTo>
                    <a:pt x="1096" y="1044"/>
                  </a:lnTo>
                  <a:lnTo>
                    <a:pt x="1106" y="1026"/>
                  </a:lnTo>
                  <a:lnTo>
                    <a:pt x="1114" y="1012"/>
                  </a:lnTo>
                  <a:lnTo>
                    <a:pt x="1116" y="1000"/>
                  </a:lnTo>
                  <a:lnTo>
                    <a:pt x="1118" y="986"/>
                  </a:lnTo>
                  <a:lnTo>
                    <a:pt x="1118" y="986"/>
                  </a:lnTo>
                  <a:lnTo>
                    <a:pt x="1116" y="974"/>
                  </a:lnTo>
                  <a:lnTo>
                    <a:pt x="1112" y="964"/>
                  </a:lnTo>
                  <a:lnTo>
                    <a:pt x="1110" y="960"/>
                  </a:lnTo>
                  <a:lnTo>
                    <a:pt x="1106" y="956"/>
                  </a:lnTo>
                  <a:lnTo>
                    <a:pt x="1100" y="954"/>
                  </a:lnTo>
                  <a:lnTo>
                    <a:pt x="1094" y="954"/>
                  </a:lnTo>
                  <a:lnTo>
                    <a:pt x="1094" y="954"/>
                  </a:lnTo>
                  <a:lnTo>
                    <a:pt x="1086" y="956"/>
                  </a:lnTo>
                  <a:lnTo>
                    <a:pt x="1078" y="958"/>
                  </a:lnTo>
                  <a:lnTo>
                    <a:pt x="1074" y="964"/>
                  </a:lnTo>
                  <a:lnTo>
                    <a:pt x="1070" y="970"/>
                  </a:lnTo>
                  <a:lnTo>
                    <a:pt x="1066" y="984"/>
                  </a:lnTo>
                  <a:lnTo>
                    <a:pt x="1066" y="1000"/>
                  </a:lnTo>
                  <a:lnTo>
                    <a:pt x="1002" y="1000"/>
                  </a:lnTo>
                  <a:lnTo>
                    <a:pt x="1002" y="1000"/>
                  </a:lnTo>
                  <a:lnTo>
                    <a:pt x="1002" y="978"/>
                  </a:lnTo>
                  <a:lnTo>
                    <a:pt x="1006" y="960"/>
                  </a:lnTo>
                  <a:lnTo>
                    <a:pt x="1012" y="944"/>
                  </a:lnTo>
                  <a:lnTo>
                    <a:pt x="1022" y="932"/>
                  </a:lnTo>
                  <a:lnTo>
                    <a:pt x="1034" y="922"/>
                  </a:lnTo>
                  <a:lnTo>
                    <a:pt x="1050" y="914"/>
                  </a:lnTo>
                  <a:lnTo>
                    <a:pt x="1068" y="910"/>
                  </a:lnTo>
                  <a:lnTo>
                    <a:pt x="1090" y="908"/>
                  </a:lnTo>
                  <a:lnTo>
                    <a:pt x="1090" y="908"/>
                  </a:lnTo>
                  <a:lnTo>
                    <a:pt x="1110" y="908"/>
                  </a:lnTo>
                  <a:lnTo>
                    <a:pt x="1128" y="912"/>
                  </a:lnTo>
                  <a:lnTo>
                    <a:pt x="1142" y="918"/>
                  </a:lnTo>
                  <a:lnTo>
                    <a:pt x="1156" y="926"/>
                  </a:lnTo>
                  <a:lnTo>
                    <a:pt x="1168" y="938"/>
                  </a:lnTo>
                  <a:lnTo>
                    <a:pt x="1176" y="952"/>
                  </a:lnTo>
                  <a:lnTo>
                    <a:pt x="1180" y="968"/>
                  </a:lnTo>
                  <a:lnTo>
                    <a:pt x="1182" y="990"/>
                  </a:lnTo>
                  <a:lnTo>
                    <a:pt x="1182" y="990"/>
                  </a:lnTo>
                  <a:lnTo>
                    <a:pt x="1182" y="1004"/>
                  </a:lnTo>
                  <a:lnTo>
                    <a:pt x="1178" y="1016"/>
                  </a:lnTo>
                  <a:lnTo>
                    <a:pt x="1174" y="1030"/>
                  </a:lnTo>
                  <a:lnTo>
                    <a:pt x="1168" y="1044"/>
                  </a:lnTo>
                  <a:lnTo>
                    <a:pt x="1154" y="1072"/>
                  </a:lnTo>
                  <a:lnTo>
                    <a:pt x="1136" y="1098"/>
                  </a:lnTo>
                  <a:lnTo>
                    <a:pt x="1116" y="1122"/>
                  </a:lnTo>
                  <a:lnTo>
                    <a:pt x="1098" y="1144"/>
                  </a:lnTo>
                  <a:lnTo>
                    <a:pt x="1064" y="1180"/>
                  </a:lnTo>
                  <a:lnTo>
                    <a:pt x="1186" y="1180"/>
                  </a:lnTo>
                  <a:lnTo>
                    <a:pt x="1186" y="1230"/>
                  </a:lnTo>
                  <a:lnTo>
                    <a:pt x="996" y="1230"/>
                  </a:lnTo>
                  <a:lnTo>
                    <a:pt x="996" y="1174"/>
                  </a:lnTo>
                  <a:close/>
                  <a:moveTo>
                    <a:pt x="1484" y="750"/>
                  </a:moveTo>
                  <a:lnTo>
                    <a:pt x="1372" y="750"/>
                  </a:lnTo>
                  <a:lnTo>
                    <a:pt x="1372" y="704"/>
                  </a:lnTo>
                  <a:lnTo>
                    <a:pt x="1484" y="704"/>
                  </a:lnTo>
                  <a:lnTo>
                    <a:pt x="1484" y="750"/>
                  </a:lnTo>
                  <a:close/>
                  <a:moveTo>
                    <a:pt x="528" y="610"/>
                  </a:moveTo>
                  <a:lnTo>
                    <a:pt x="528" y="610"/>
                  </a:lnTo>
                  <a:lnTo>
                    <a:pt x="526" y="630"/>
                  </a:lnTo>
                  <a:lnTo>
                    <a:pt x="520" y="648"/>
                  </a:lnTo>
                  <a:lnTo>
                    <a:pt x="510" y="666"/>
                  </a:lnTo>
                  <a:lnTo>
                    <a:pt x="498" y="680"/>
                  </a:lnTo>
                  <a:lnTo>
                    <a:pt x="484" y="692"/>
                  </a:lnTo>
                  <a:lnTo>
                    <a:pt x="466" y="702"/>
                  </a:lnTo>
                  <a:lnTo>
                    <a:pt x="448" y="708"/>
                  </a:lnTo>
                  <a:lnTo>
                    <a:pt x="428" y="710"/>
                  </a:lnTo>
                  <a:lnTo>
                    <a:pt x="428" y="710"/>
                  </a:lnTo>
                  <a:lnTo>
                    <a:pt x="406" y="708"/>
                  </a:lnTo>
                  <a:lnTo>
                    <a:pt x="388" y="702"/>
                  </a:lnTo>
                  <a:lnTo>
                    <a:pt x="370" y="692"/>
                  </a:lnTo>
                  <a:lnTo>
                    <a:pt x="356" y="680"/>
                  </a:lnTo>
                  <a:lnTo>
                    <a:pt x="344" y="666"/>
                  </a:lnTo>
                  <a:lnTo>
                    <a:pt x="334" y="648"/>
                  </a:lnTo>
                  <a:lnTo>
                    <a:pt x="328" y="630"/>
                  </a:lnTo>
                  <a:lnTo>
                    <a:pt x="326" y="610"/>
                  </a:lnTo>
                  <a:lnTo>
                    <a:pt x="326" y="610"/>
                  </a:lnTo>
                  <a:lnTo>
                    <a:pt x="328" y="588"/>
                  </a:lnTo>
                  <a:lnTo>
                    <a:pt x="334" y="570"/>
                  </a:lnTo>
                  <a:lnTo>
                    <a:pt x="344" y="552"/>
                  </a:lnTo>
                  <a:lnTo>
                    <a:pt x="356" y="538"/>
                  </a:lnTo>
                  <a:lnTo>
                    <a:pt x="370" y="526"/>
                  </a:lnTo>
                  <a:lnTo>
                    <a:pt x="388" y="516"/>
                  </a:lnTo>
                  <a:lnTo>
                    <a:pt x="406" y="510"/>
                  </a:lnTo>
                  <a:lnTo>
                    <a:pt x="428" y="508"/>
                  </a:lnTo>
                  <a:lnTo>
                    <a:pt x="428" y="508"/>
                  </a:lnTo>
                  <a:lnTo>
                    <a:pt x="448" y="510"/>
                  </a:lnTo>
                  <a:lnTo>
                    <a:pt x="466" y="516"/>
                  </a:lnTo>
                  <a:lnTo>
                    <a:pt x="484" y="526"/>
                  </a:lnTo>
                  <a:lnTo>
                    <a:pt x="498" y="538"/>
                  </a:lnTo>
                  <a:lnTo>
                    <a:pt x="510" y="552"/>
                  </a:lnTo>
                  <a:lnTo>
                    <a:pt x="520" y="570"/>
                  </a:lnTo>
                  <a:lnTo>
                    <a:pt x="526" y="588"/>
                  </a:lnTo>
                  <a:lnTo>
                    <a:pt x="528" y="610"/>
                  </a:lnTo>
                  <a:lnTo>
                    <a:pt x="528" y="610"/>
                  </a:lnTo>
                  <a:close/>
                  <a:moveTo>
                    <a:pt x="536" y="744"/>
                  </a:moveTo>
                  <a:lnTo>
                    <a:pt x="536" y="744"/>
                  </a:lnTo>
                  <a:lnTo>
                    <a:pt x="542" y="746"/>
                  </a:lnTo>
                  <a:lnTo>
                    <a:pt x="548" y="750"/>
                  </a:lnTo>
                  <a:lnTo>
                    <a:pt x="552" y="754"/>
                  </a:lnTo>
                  <a:lnTo>
                    <a:pt x="554" y="762"/>
                  </a:lnTo>
                  <a:lnTo>
                    <a:pt x="554" y="982"/>
                  </a:lnTo>
                  <a:lnTo>
                    <a:pt x="554" y="982"/>
                  </a:lnTo>
                  <a:lnTo>
                    <a:pt x="552" y="988"/>
                  </a:lnTo>
                  <a:lnTo>
                    <a:pt x="548" y="994"/>
                  </a:lnTo>
                  <a:lnTo>
                    <a:pt x="542" y="998"/>
                  </a:lnTo>
                  <a:lnTo>
                    <a:pt x="536" y="1000"/>
                  </a:lnTo>
                  <a:lnTo>
                    <a:pt x="496" y="1000"/>
                  </a:lnTo>
                  <a:lnTo>
                    <a:pt x="496" y="1210"/>
                  </a:lnTo>
                  <a:lnTo>
                    <a:pt x="496" y="1210"/>
                  </a:lnTo>
                  <a:lnTo>
                    <a:pt x="494" y="1220"/>
                  </a:lnTo>
                  <a:lnTo>
                    <a:pt x="488" y="1228"/>
                  </a:lnTo>
                  <a:lnTo>
                    <a:pt x="480" y="1234"/>
                  </a:lnTo>
                  <a:lnTo>
                    <a:pt x="470" y="1236"/>
                  </a:lnTo>
                  <a:lnTo>
                    <a:pt x="470" y="1236"/>
                  </a:lnTo>
                  <a:lnTo>
                    <a:pt x="460" y="1234"/>
                  </a:lnTo>
                  <a:lnTo>
                    <a:pt x="452" y="1228"/>
                  </a:lnTo>
                  <a:lnTo>
                    <a:pt x="448" y="1220"/>
                  </a:lnTo>
                  <a:lnTo>
                    <a:pt x="446" y="1210"/>
                  </a:lnTo>
                  <a:lnTo>
                    <a:pt x="446" y="1000"/>
                  </a:lnTo>
                  <a:lnTo>
                    <a:pt x="412" y="1000"/>
                  </a:lnTo>
                  <a:lnTo>
                    <a:pt x="412" y="1210"/>
                  </a:lnTo>
                  <a:lnTo>
                    <a:pt x="412" y="1210"/>
                  </a:lnTo>
                  <a:lnTo>
                    <a:pt x="410" y="1220"/>
                  </a:lnTo>
                  <a:lnTo>
                    <a:pt x="404" y="1228"/>
                  </a:lnTo>
                  <a:lnTo>
                    <a:pt x="396" y="1234"/>
                  </a:lnTo>
                  <a:lnTo>
                    <a:pt x="386" y="1236"/>
                  </a:lnTo>
                  <a:lnTo>
                    <a:pt x="386" y="1236"/>
                  </a:lnTo>
                  <a:lnTo>
                    <a:pt x="376" y="1234"/>
                  </a:lnTo>
                  <a:lnTo>
                    <a:pt x="368" y="1228"/>
                  </a:lnTo>
                  <a:lnTo>
                    <a:pt x="364" y="1220"/>
                  </a:lnTo>
                  <a:lnTo>
                    <a:pt x="362" y="1210"/>
                  </a:lnTo>
                  <a:lnTo>
                    <a:pt x="362" y="1000"/>
                  </a:lnTo>
                  <a:lnTo>
                    <a:pt x="318" y="1000"/>
                  </a:lnTo>
                  <a:lnTo>
                    <a:pt x="318" y="1000"/>
                  </a:lnTo>
                  <a:lnTo>
                    <a:pt x="312" y="998"/>
                  </a:lnTo>
                  <a:lnTo>
                    <a:pt x="306" y="994"/>
                  </a:lnTo>
                  <a:lnTo>
                    <a:pt x="302" y="988"/>
                  </a:lnTo>
                  <a:lnTo>
                    <a:pt x="302" y="982"/>
                  </a:lnTo>
                  <a:lnTo>
                    <a:pt x="302" y="762"/>
                  </a:lnTo>
                  <a:lnTo>
                    <a:pt x="302" y="762"/>
                  </a:lnTo>
                  <a:lnTo>
                    <a:pt x="302" y="754"/>
                  </a:lnTo>
                  <a:lnTo>
                    <a:pt x="306" y="750"/>
                  </a:lnTo>
                  <a:lnTo>
                    <a:pt x="312" y="746"/>
                  </a:lnTo>
                  <a:lnTo>
                    <a:pt x="318" y="744"/>
                  </a:lnTo>
                  <a:lnTo>
                    <a:pt x="536" y="744"/>
                  </a:lnTo>
                  <a:close/>
                  <a:moveTo>
                    <a:pt x="788" y="1214"/>
                  </a:moveTo>
                  <a:lnTo>
                    <a:pt x="788" y="1052"/>
                  </a:lnTo>
                  <a:lnTo>
                    <a:pt x="756" y="1052"/>
                  </a:lnTo>
                  <a:lnTo>
                    <a:pt x="756" y="1214"/>
                  </a:lnTo>
                  <a:lnTo>
                    <a:pt x="756" y="1214"/>
                  </a:lnTo>
                  <a:lnTo>
                    <a:pt x="754" y="1224"/>
                  </a:lnTo>
                  <a:lnTo>
                    <a:pt x="748" y="1232"/>
                  </a:lnTo>
                  <a:lnTo>
                    <a:pt x="740" y="1238"/>
                  </a:lnTo>
                  <a:lnTo>
                    <a:pt x="730" y="1240"/>
                  </a:lnTo>
                  <a:lnTo>
                    <a:pt x="730" y="1240"/>
                  </a:lnTo>
                  <a:lnTo>
                    <a:pt x="720" y="1238"/>
                  </a:lnTo>
                  <a:lnTo>
                    <a:pt x="712" y="1232"/>
                  </a:lnTo>
                  <a:lnTo>
                    <a:pt x="706" y="1224"/>
                  </a:lnTo>
                  <a:lnTo>
                    <a:pt x="704" y="1214"/>
                  </a:lnTo>
                  <a:lnTo>
                    <a:pt x="704" y="1052"/>
                  </a:lnTo>
                  <a:lnTo>
                    <a:pt x="652" y="1052"/>
                  </a:lnTo>
                  <a:lnTo>
                    <a:pt x="652" y="1052"/>
                  </a:lnTo>
                  <a:lnTo>
                    <a:pt x="642" y="1052"/>
                  </a:lnTo>
                  <a:lnTo>
                    <a:pt x="634" y="1050"/>
                  </a:lnTo>
                  <a:lnTo>
                    <a:pt x="628" y="1046"/>
                  </a:lnTo>
                  <a:lnTo>
                    <a:pt x="622" y="1040"/>
                  </a:lnTo>
                  <a:lnTo>
                    <a:pt x="620" y="1032"/>
                  </a:lnTo>
                  <a:lnTo>
                    <a:pt x="618" y="1026"/>
                  </a:lnTo>
                  <a:lnTo>
                    <a:pt x="620" y="1018"/>
                  </a:lnTo>
                  <a:lnTo>
                    <a:pt x="624" y="1008"/>
                  </a:lnTo>
                  <a:lnTo>
                    <a:pt x="750" y="762"/>
                  </a:lnTo>
                  <a:lnTo>
                    <a:pt x="750" y="762"/>
                  </a:lnTo>
                  <a:lnTo>
                    <a:pt x="754" y="754"/>
                  </a:lnTo>
                  <a:lnTo>
                    <a:pt x="760" y="748"/>
                  </a:lnTo>
                  <a:lnTo>
                    <a:pt x="766" y="744"/>
                  </a:lnTo>
                  <a:lnTo>
                    <a:pt x="772" y="742"/>
                  </a:lnTo>
                  <a:lnTo>
                    <a:pt x="778" y="744"/>
                  </a:lnTo>
                  <a:lnTo>
                    <a:pt x="784" y="748"/>
                  </a:lnTo>
                  <a:lnTo>
                    <a:pt x="790" y="754"/>
                  </a:lnTo>
                  <a:lnTo>
                    <a:pt x="794" y="762"/>
                  </a:lnTo>
                  <a:lnTo>
                    <a:pt x="920" y="1008"/>
                  </a:lnTo>
                  <a:lnTo>
                    <a:pt x="920" y="1008"/>
                  </a:lnTo>
                  <a:lnTo>
                    <a:pt x="924" y="1018"/>
                  </a:lnTo>
                  <a:lnTo>
                    <a:pt x="924" y="1026"/>
                  </a:lnTo>
                  <a:lnTo>
                    <a:pt x="924" y="1032"/>
                  </a:lnTo>
                  <a:lnTo>
                    <a:pt x="922" y="1040"/>
                  </a:lnTo>
                  <a:lnTo>
                    <a:pt x="916" y="1046"/>
                  </a:lnTo>
                  <a:lnTo>
                    <a:pt x="910" y="1050"/>
                  </a:lnTo>
                  <a:lnTo>
                    <a:pt x="902" y="1052"/>
                  </a:lnTo>
                  <a:lnTo>
                    <a:pt x="892" y="1052"/>
                  </a:lnTo>
                  <a:lnTo>
                    <a:pt x="840" y="1052"/>
                  </a:lnTo>
                  <a:lnTo>
                    <a:pt x="840" y="1214"/>
                  </a:lnTo>
                  <a:lnTo>
                    <a:pt x="840" y="1214"/>
                  </a:lnTo>
                  <a:lnTo>
                    <a:pt x="838" y="1224"/>
                  </a:lnTo>
                  <a:lnTo>
                    <a:pt x="832" y="1232"/>
                  </a:lnTo>
                  <a:lnTo>
                    <a:pt x="824" y="1238"/>
                  </a:lnTo>
                  <a:lnTo>
                    <a:pt x="814" y="1240"/>
                  </a:lnTo>
                  <a:lnTo>
                    <a:pt x="814" y="1240"/>
                  </a:lnTo>
                  <a:lnTo>
                    <a:pt x="804" y="1238"/>
                  </a:lnTo>
                  <a:lnTo>
                    <a:pt x="796" y="1232"/>
                  </a:lnTo>
                  <a:lnTo>
                    <a:pt x="790" y="1224"/>
                  </a:lnTo>
                  <a:lnTo>
                    <a:pt x="788" y="1214"/>
                  </a:lnTo>
                  <a:lnTo>
                    <a:pt x="788" y="12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9" name="TextBox 20"/>
          <p:cNvSpPr txBox="1">
            <a:spLocks noChangeArrowheads="1"/>
          </p:cNvSpPr>
          <p:nvPr userDrawn="1"/>
        </p:nvSpPr>
        <p:spPr bwMode="auto">
          <a:xfrm>
            <a:off x="7632791" y="4337496"/>
            <a:ext cx="107814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a:t>
            </a:r>
          </a:p>
        </p:txBody>
      </p:sp>
      <p:grpSp>
        <p:nvGrpSpPr>
          <p:cNvPr id="70" name="Group 69"/>
          <p:cNvGrpSpPr/>
          <p:nvPr userDrawn="1"/>
        </p:nvGrpSpPr>
        <p:grpSpPr>
          <a:xfrm>
            <a:off x="7542293" y="3057528"/>
            <a:ext cx="1260000" cy="1260000"/>
            <a:chOff x="552450" y="3895725"/>
            <a:chExt cx="2806699" cy="2806700"/>
          </a:xfrm>
          <a:solidFill>
            <a:srgbClr val="000000"/>
          </a:solidFill>
        </p:grpSpPr>
        <p:sp>
          <p:nvSpPr>
            <p:cNvPr id="71" name="Freeform 15"/>
            <p:cNvSpPr>
              <a:spLocks/>
            </p:cNvSpPr>
            <p:nvPr/>
          </p:nvSpPr>
          <p:spPr bwMode="auto">
            <a:xfrm>
              <a:off x="2479675" y="4984750"/>
              <a:ext cx="88900" cy="184150"/>
            </a:xfrm>
            <a:custGeom>
              <a:avLst/>
              <a:gdLst>
                <a:gd name="T0" fmla="*/ 26 w 56"/>
                <a:gd name="T1" fmla="*/ 116 h 116"/>
                <a:gd name="T2" fmla="*/ 26 w 56"/>
                <a:gd name="T3" fmla="*/ 116 h 116"/>
                <a:gd name="T4" fmla="*/ 34 w 56"/>
                <a:gd name="T5" fmla="*/ 116 h 116"/>
                <a:gd name="T6" fmla="*/ 40 w 56"/>
                <a:gd name="T7" fmla="*/ 114 h 116"/>
                <a:gd name="T8" fmla="*/ 44 w 56"/>
                <a:gd name="T9" fmla="*/ 110 h 116"/>
                <a:gd name="T10" fmla="*/ 48 w 56"/>
                <a:gd name="T11" fmla="*/ 104 h 116"/>
                <a:gd name="T12" fmla="*/ 52 w 56"/>
                <a:gd name="T13" fmla="*/ 96 h 116"/>
                <a:gd name="T14" fmla="*/ 54 w 56"/>
                <a:gd name="T15" fmla="*/ 86 h 116"/>
                <a:gd name="T16" fmla="*/ 56 w 56"/>
                <a:gd name="T17" fmla="*/ 56 h 116"/>
                <a:gd name="T18" fmla="*/ 56 w 56"/>
                <a:gd name="T19" fmla="*/ 56 h 116"/>
                <a:gd name="T20" fmla="*/ 54 w 56"/>
                <a:gd name="T21" fmla="*/ 30 h 116"/>
                <a:gd name="T22" fmla="*/ 52 w 56"/>
                <a:gd name="T23" fmla="*/ 22 h 116"/>
                <a:gd name="T24" fmla="*/ 50 w 56"/>
                <a:gd name="T25" fmla="*/ 14 h 116"/>
                <a:gd name="T26" fmla="*/ 46 w 56"/>
                <a:gd name="T27" fmla="*/ 8 h 116"/>
                <a:gd name="T28" fmla="*/ 42 w 56"/>
                <a:gd name="T29" fmla="*/ 2 h 116"/>
                <a:gd name="T30" fmla="*/ 34 w 56"/>
                <a:gd name="T31" fmla="*/ 0 h 116"/>
                <a:gd name="T32" fmla="*/ 26 w 56"/>
                <a:gd name="T33" fmla="*/ 0 h 116"/>
                <a:gd name="T34" fmla="*/ 26 w 56"/>
                <a:gd name="T35" fmla="*/ 0 h 116"/>
                <a:gd name="T36" fmla="*/ 18 w 56"/>
                <a:gd name="T37" fmla="*/ 0 h 116"/>
                <a:gd name="T38" fmla="*/ 12 w 56"/>
                <a:gd name="T39" fmla="*/ 4 h 116"/>
                <a:gd name="T40" fmla="*/ 8 w 56"/>
                <a:gd name="T41" fmla="*/ 8 h 116"/>
                <a:gd name="T42" fmla="*/ 4 w 56"/>
                <a:gd name="T43" fmla="*/ 16 h 116"/>
                <a:gd name="T44" fmla="*/ 2 w 56"/>
                <a:gd name="T45" fmla="*/ 24 h 116"/>
                <a:gd name="T46" fmla="*/ 0 w 56"/>
                <a:gd name="T47" fmla="*/ 36 h 116"/>
                <a:gd name="T48" fmla="*/ 0 w 56"/>
                <a:gd name="T49" fmla="*/ 62 h 116"/>
                <a:gd name="T50" fmla="*/ 0 w 56"/>
                <a:gd name="T51" fmla="*/ 62 h 116"/>
                <a:gd name="T52" fmla="*/ 0 w 56"/>
                <a:gd name="T53" fmla="*/ 78 h 116"/>
                <a:gd name="T54" fmla="*/ 4 w 56"/>
                <a:gd name="T55" fmla="*/ 96 h 116"/>
                <a:gd name="T56" fmla="*/ 6 w 56"/>
                <a:gd name="T57" fmla="*/ 104 h 116"/>
                <a:gd name="T58" fmla="*/ 12 w 56"/>
                <a:gd name="T59" fmla="*/ 110 h 116"/>
                <a:gd name="T60" fmla="*/ 18 w 56"/>
                <a:gd name="T61" fmla="*/ 116 h 116"/>
                <a:gd name="T62" fmla="*/ 26 w 56"/>
                <a:gd name="T63" fmla="*/ 116 h 116"/>
                <a:gd name="T64" fmla="*/ 26 w 56"/>
                <a:gd name="T6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16">
                  <a:moveTo>
                    <a:pt x="26" y="116"/>
                  </a:moveTo>
                  <a:lnTo>
                    <a:pt x="26" y="116"/>
                  </a:lnTo>
                  <a:lnTo>
                    <a:pt x="34" y="116"/>
                  </a:lnTo>
                  <a:lnTo>
                    <a:pt x="40" y="114"/>
                  </a:lnTo>
                  <a:lnTo>
                    <a:pt x="44" y="110"/>
                  </a:lnTo>
                  <a:lnTo>
                    <a:pt x="48" y="104"/>
                  </a:lnTo>
                  <a:lnTo>
                    <a:pt x="52" y="96"/>
                  </a:lnTo>
                  <a:lnTo>
                    <a:pt x="54" y="86"/>
                  </a:lnTo>
                  <a:lnTo>
                    <a:pt x="56" y="56"/>
                  </a:lnTo>
                  <a:lnTo>
                    <a:pt x="56" y="56"/>
                  </a:lnTo>
                  <a:lnTo>
                    <a:pt x="54" y="30"/>
                  </a:lnTo>
                  <a:lnTo>
                    <a:pt x="52" y="22"/>
                  </a:lnTo>
                  <a:lnTo>
                    <a:pt x="50" y="14"/>
                  </a:lnTo>
                  <a:lnTo>
                    <a:pt x="46" y="8"/>
                  </a:lnTo>
                  <a:lnTo>
                    <a:pt x="42" y="2"/>
                  </a:lnTo>
                  <a:lnTo>
                    <a:pt x="34" y="0"/>
                  </a:lnTo>
                  <a:lnTo>
                    <a:pt x="26" y="0"/>
                  </a:lnTo>
                  <a:lnTo>
                    <a:pt x="26" y="0"/>
                  </a:lnTo>
                  <a:lnTo>
                    <a:pt x="18" y="0"/>
                  </a:lnTo>
                  <a:lnTo>
                    <a:pt x="12" y="4"/>
                  </a:lnTo>
                  <a:lnTo>
                    <a:pt x="8" y="8"/>
                  </a:lnTo>
                  <a:lnTo>
                    <a:pt x="4" y="16"/>
                  </a:lnTo>
                  <a:lnTo>
                    <a:pt x="2" y="24"/>
                  </a:lnTo>
                  <a:lnTo>
                    <a:pt x="0" y="36"/>
                  </a:lnTo>
                  <a:lnTo>
                    <a:pt x="0" y="62"/>
                  </a:lnTo>
                  <a:lnTo>
                    <a:pt x="0" y="62"/>
                  </a:lnTo>
                  <a:lnTo>
                    <a:pt x="0" y="78"/>
                  </a:lnTo>
                  <a:lnTo>
                    <a:pt x="4" y="96"/>
                  </a:lnTo>
                  <a:lnTo>
                    <a:pt x="6" y="104"/>
                  </a:lnTo>
                  <a:lnTo>
                    <a:pt x="12" y="110"/>
                  </a:lnTo>
                  <a:lnTo>
                    <a:pt x="18" y="116"/>
                  </a:lnTo>
                  <a:lnTo>
                    <a:pt x="26" y="116"/>
                  </a:lnTo>
                  <a:lnTo>
                    <a:pt x="26" y="1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16"/>
            <p:cNvSpPr>
              <a:spLocks noEditPoints="1"/>
            </p:cNvSpPr>
            <p:nvPr/>
          </p:nvSpPr>
          <p:spPr bwMode="auto">
            <a:xfrm>
              <a:off x="552450" y="3895725"/>
              <a:ext cx="2806699" cy="2806700"/>
            </a:xfrm>
            <a:custGeom>
              <a:avLst/>
              <a:gdLst>
                <a:gd name="T0" fmla="*/ 580 w 1768"/>
                <a:gd name="T1" fmla="*/ 54 h 1768"/>
                <a:gd name="T2" fmla="*/ 258 w 1768"/>
                <a:gd name="T3" fmla="*/ 258 h 1768"/>
                <a:gd name="T4" fmla="*/ 54 w 1768"/>
                <a:gd name="T5" fmla="*/ 580 h 1768"/>
                <a:gd name="T6" fmla="*/ 0 w 1768"/>
                <a:gd name="T7" fmla="*/ 930 h 1768"/>
                <a:gd name="T8" fmla="*/ 106 w 1768"/>
                <a:gd name="T9" fmla="*/ 1306 h 1768"/>
                <a:gd name="T10" fmla="*/ 354 w 1768"/>
                <a:gd name="T11" fmla="*/ 1592 h 1768"/>
                <a:gd name="T12" fmla="*/ 706 w 1768"/>
                <a:gd name="T13" fmla="*/ 1750 h 1768"/>
                <a:gd name="T14" fmla="*/ 1062 w 1768"/>
                <a:gd name="T15" fmla="*/ 1750 h 1768"/>
                <a:gd name="T16" fmla="*/ 1412 w 1768"/>
                <a:gd name="T17" fmla="*/ 1592 h 1768"/>
                <a:gd name="T18" fmla="*/ 1662 w 1768"/>
                <a:gd name="T19" fmla="*/ 1306 h 1768"/>
                <a:gd name="T20" fmla="*/ 1766 w 1768"/>
                <a:gd name="T21" fmla="*/ 930 h 1768"/>
                <a:gd name="T22" fmla="*/ 1714 w 1768"/>
                <a:gd name="T23" fmla="*/ 580 h 1768"/>
                <a:gd name="T24" fmla="*/ 1508 w 1768"/>
                <a:gd name="T25" fmla="*/ 258 h 1768"/>
                <a:gd name="T26" fmla="*/ 1188 w 1768"/>
                <a:gd name="T27" fmla="*/ 54 h 1768"/>
                <a:gd name="T28" fmla="*/ 1246 w 1768"/>
                <a:gd name="T29" fmla="*/ 528 h 1768"/>
                <a:gd name="T30" fmla="*/ 1330 w 1768"/>
                <a:gd name="T31" fmla="*/ 600 h 1768"/>
                <a:gd name="T32" fmla="*/ 1242 w 1768"/>
                <a:gd name="T33" fmla="*/ 570 h 1768"/>
                <a:gd name="T34" fmla="*/ 1212 w 1768"/>
                <a:gd name="T35" fmla="*/ 664 h 1768"/>
                <a:gd name="T36" fmla="*/ 1298 w 1768"/>
                <a:gd name="T37" fmla="*/ 652 h 1768"/>
                <a:gd name="T38" fmla="*/ 1328 w 1768"/>
                <a:gd name="T39" fmla="*/ 786 h 1768"/>
                <a:gd name="T40" fmla="*/ 1212 w 1768"/>
                <a:gd name="T41" fmla="*/ 846 h 1768"/>
                <a:gd name="T42" fmla="*/ 1152 w 1768"/>
                <a:gd name="T43" fmla="*/ 738 h 1768"/>
                <a:gd name="T44" fmla="*/ 1178 w 1768"/>
                <a:gd name="T45" fmla="*/ 554 h 1768"/>
                <a:gd name="T46" fmla="*/ 772 w 1768"/>
                <a:gd name="T47" fmla="*/ 506 h 1768"/>
                <a:gd name="T48" fmla="*/ 876 w 1768"/>
                <a:gd name="T49" fmla="*/ 610 h 1768"/>
                <a:gd name="T50" fmla="*/ 772 w 1768"/>
                <a:gd name="T51" fmla="*/ 716 h 1768"/>
                <a:gd name="T52" fmla="*/ 668 w 1768"/>
                <a:gd name="T53" fmla="*/ 610 h 1768"/>
                <a:gd name="T54" fmla="*/ 772 w 1768"/>
                <a:gd name="T55" fmla="*/ 506 h 1768"/>
                <a:gd name="T56" fmla="*/ 522 w 1768"/>
                <a:gd name="T57" fmla="*/ 590 h 1768"/>
                <a:gd name="T58" fmla="*/ 440 w 1768"/>
                <a:gd name="T59" fmla="*/ 714 h 1768"/>
                <a:gd name="T60" fmla="*/ 318 w 1768"/>
                <a:gd name="T61" fmla="*/ 632 h 1768"/>
                <a:gd name="T62" fmla="*/ 398 w 1768"/>
                <a:gd name="T63" fmla="*/ 508 h 1768"/>
                <a:gd name="T64" fmla="*/ 524 w 1768"/>
                <a:gd name="T65" fmla="*/ 1014 h 1768"/>
                <a:gd name="T66" fmla="*/ 456 w 1768"/>
                <a:gd name="T67" fmla="*/ 1260 h 1768"/>
                <a:gd name="T68" fmla="*/ 398 w 1768"/>
                <a:gd name="T69" fmla="*/ 1254 h 1768"/>
                <a:gd name="T70" fmla="*/ 316 w 1768"/>
                <a:gd name="T71" fmla="*/ 1014 h 1768"/>
                <a:gd name="T72" fmla="*/ 290 w 1768"/>
                <a:gd name="T73" fmla="*/ 768 h 1768"/>
                <a:gd name="T74" fmla="*/ 544 w 1768"/>
                <a:gd name="T75" fmla="*/ 760 h 1768"/>
                <a:gd name="T76" fmla="*/ 906 w 1768"/>
                <a:gd name="T77" fmla="*/ 1066 h 1768"/>
                <a:gd name="T78" fmla="*/ 808 w 1768"/>
                <a:gd name="T79" fmla="*/ 1260 h 1768"/>
                <a:gd name="T80" fmla="*/ 750 w 1768"/>
                <a:gd name="T81" fmla="*/ 1254 h 1768"/>
                <a:gd name="T82" fmla="*/ 638 w 1768"/>
                <a:gd name="T83" fmla="*/ 1066 h 1768"/>
                <a:gd name="T84" fmla="*/ 612 w 1768"/>
                <a:gd name="T85" fmla="*/ 1034 h 1768"/>
                <a:gd name="T86" fmla="*/ 780 w 1768"/>
                <a:gd name="T87" fmla="*/ 746 h 1768"/>
                <a:gd name="T88" fmla="*/ 928 w 1768"/>
                <a:gd name="T89" fmla="*/ 1054 h 1768"/>
                <a:gd name="T90" fmla="*/ 1118 w 1768"/>
                <a:gd name="T91" fmla="*/ 844 h 1768"/>
                <a:gd name="T92" fmla="*/ 1064 w 1768"/>
                <a:gd name="T93" fmla="*/ 1236 h 1768"/>
                <a:gd name="T94" fmla="*/ 1064 w 1768"/>
                <a:gd name="T95" fmla="*/ 1146 h 1768"/>
                <a:gd name="T96" fmla="*/ 1108 w 1768"/>
                <a:gd name="T97" fmla="*/ 1186 h 1768"/>
                <a:gd name="T98" fmla="*/ 1114 w 1768"/>
                <a:gd name="T99" fmla="*/ 1106 h 1768"/>
                <a:gd name="T100" fmla="*/ 1104 w 1768"/>
                <a:gd name="T101" fmla="*/ 1036 h 1768"/>
                <a:gd name="T102" fmla="*/ 1104 w 1768"/>
                <a:gd name="T103" fmla="*/ 962 h 1768"/>
                <a:gd name="T104" fmla="*/ 1066 w 1768"/>
                <a:gd name="T105" fmla="*/ 994 h 1768"/>
                <a:gd name="T106" fmla="*/ 1052 w 1768"/>
                <a:gd name="T107" fmla="*/ 916 h 1768"/>
                <a:gd name="T108" fmla="*/ 1176 w 1768"/>
                <a:gd name="T109" fmla="*/ 958 h 1768"/>
                <a:gd name="T110" fmla="*/ 1148 w 1768"/>
                <a:gd name="T111" fmla="*/ 1064 h 1768"/>
                <a:gd name="T112" fmla="*/ 1184 w 1768"/>
                <a:gd name="T113" fmla="*/ 1118 h 1768"/>
                <a:gd name="T114" fmla="*/ 1110 w 1768"/>
                <a:gd name="T115" fmla="*/ 1236 h 1768"/>
                <a:gd name="T116" fmla="*/ 1206 w 1768"/>
                <a:gd name="T117" fmla="*/ 1096 h 1768"/>
                <a:gd name="T118" fmla="*/ 1384 w 1768"/>
                <a:gd name="T119" fmla="*/ 70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08"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08"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46" y="528"/>
                  </a:moveTo>
                  <a:lnTo>
                    <a:pt x="1246" y="528"/>
                  </a:lnTo>
                  <a:lnTo>
                    <a:pt x="1264" y="528"/>
                  </a:lnTo>
                  <a:lnTo>
                    <a:pt x="1280" y="532"/>
                  </a:lnTo>
                  <a:lnTo>
                    <a:pt x="1294" y="536"/>
                  </a:lnTo>
                  <a:lnTo>
                    <a:pt x="1306" y="544"/>
                  </a:lnTo>
                  <a:lnTo>
                    <a:pt x="1316" y="554"/>
                  </a:lnTo>
                  <a:lnTo>
                    <a:pt x="1324" y="566"/>
                  </a:lnTo>
                  <a:lnTo>
                    <a:pt x="1328" y="582"/>
                  </a:lnTo>
                  <a:lnTo>
                    <a:pt x="1330" y="600"/>
                  </a:lnTo>
                  <a:lnTo>
                    <a:pt x="1264" y="600"/>
                  </a:lnTo>
                  <a:lnTo>
                    <a:pt x="1264" y="600"/>
                  </a:lnTo>
                  <a:lnTo>
                    <a:pt x="1262" y="588"/>
                  </a:lnTo>
                  <a:lnTo>
                    <a:pt x="1260" y="580"/>
                  </a:lnTo>
                  <a:lnTo>
                    <a:pt x="1260" y="580"/>
                  </a:lnTo>
                  <a:lnTo>
                    <a:pt x="1256" y="576"/>
                  </a:lnTo>
                  <a:lnTo>
                    <a:pt x="1252" y="572"/>
                  </a:lnTo>
                  <a:lnTo>
                    <a:pt x="1248" y="572"/>
                  </a:lnTo>
                  <a:lnTo>
                    <a:pt x="1242" y="570"/>
                  </a:lnTo>
                  <a:lnTo>
                    <a:pt x="1242" y="570"/>
                  </a:lnTo>
                  <a:lnTo>
                    <a:pt x="1232" y="572"/>
                  </a:lnTo>
                  <a:lnTo>
                    <a:pt x="1226" y="574"/>
                  </a:lnTo>
                  <a:lnTo>
                    <a:pt x="1220" y="580"/>
                  </a:lnTo>
                  <a:lnTo>
                    <a:pt x="1216" y="588"/>
                  </a:lnTo>
                  <a:lnTo>
                    <a:pt x="1214" y="600"/>
                  </a:lnTo>
                  <a:lnTo>
                    <a:pt x="1214" y="616"/>
                  </a:lnTo>
                  <a:lnTo>
                    <a:pt x="1212" y="664"/>
                  </a:lnTo>
                  <a:lnTo>
                    <a:pt x="1212" y="664"/>
                  </a:lnTo>
                  <a:lnTo>
                    <a:pt x="1224" y="654"/>
                  </a:lnTo>
                  <a:lnTo>
                    <a:pt x="1236" y="648"/>
                  </a:lnTo>
                  <a:lnTo>
                    <a:pt x="1248" y="644"/>
                  </a:lnTo>
                  <a:lnTo>
                    <a:pt x="1262" y="642"/>
                  </a:lnTo>
                  <a:lnTo>
                    <a:pt x="1262" y="642"/>
                  </a:lnTo>
                  <a:lnTo>
                    <a:pt x="1274" y="644"/>
                  </a:lnTo>
                  <a:lnTo>
                    <a:pt x="1282" y="644"/>
                  </a:lnTo>
                  <a:lnTo>
                    <a:pt x="1290" y="648"/>
                  </a:lnTo>
                  <a:lnTo>
                    <a:pt x="1298" y="652"/>
                  </a:lnTo>
                  <a:lnTo>
                    <a:pt x="1310" y="662"/>
                  </a:lnTo>
                  <a:lnTo>
                    <a:pt x="1320" y="674"/>
                  </a:lnTo>
                  <a:lnTo>
                    <a:pt x="1326" y="690"/>
                  </a:lnTo>
                  <a:lnTo>
                    <a:pt x="1330" y="706"/>
                  </a:lnTo>
                  <a:lnTo>
                    <a:pt x="1332" y="724"/>
                  </a:lnTo>
                  <a:lnTo>
                    <a:pt x="1332" y="742"/>
                  </a:lnTo>
                  <a:lnTo>
                    <a:pt x="1332" y="742"/>
                  </a:lnTo>
                  <a:lnTo>
                    <a:pt x="1332" y="766"/>
                  </a:lnTo>
                  <a:lnTo>
                    <a:pt x="1328" y="786"/>
                  </a:lnTo>
                  <a:lnTo>
                    <a:pt x="1322" y="804"/>
                  </a:lnTo>
                  <a:lnTo>
                    <a:pt x="1312" y="820"/>
                  </a:lnTo>
                  <a:lnTo>
                    <a:pt x="1298" y="832"/>
                  </a:lnTo>
                  <a:lnTo>
                    <a:pt x="1282" y="840"/>
                  </a:lnTo>
                  <a:lnTo>
                    <a:pt x="1262" y="846"/>
                  </a:lnTo>
                  <a:lnTo>
                    <a:pt x="1238" y="848"/>
                  </a:lnTo>
                  <a:lnTo>
                    <a:pt x="1238" y="848"/>
                  </a:lnTo>
                  <a:lnTo>
                    <a:pt x="1224" y="848"/>
                  </a:lnTo>
                  <a:lnTo>
                    <a:pt x="1212" y="846"/>
                  </a:lnTo>
                  <a:lnTo>
                    <a:pt x="1200" y="842"/>
                  </a:lnTo>
                  <a:lnTo>
                    <a:pt x="1190" y="836"/>
                  </a:lnTo>
                  <a:lnTo>
                    <a:pt x="1182" y="830"/>
                  </a:lnTo>
                  <a:lnTo>
                    <a:pt x="1174" y="824"/>
                  </a:lnTo>
                  <a:lnTo>
                    <a:pt x="1168" y="814"/>
                  </a:lnTo>
                  <a:lnTo>
                    <a:pt x="1164" y="806"/>
                  </a:lnTo>
                  <a:lnTo>
                    <a:pt x="1158" y="786"/>
                  </a:lnTo>
                  <a:lnTo>
                    <a:pt x="1154" y="762"/>
                  </a:lnTo>
                  <a:lnTo>
                    <a:pt x="1152" y="738"/>
                  </a:lnTo>
                  <a:lnTo>
                    <a:pt x="1150" y="714"/>
                  </a:lnTo>
                  <a:lnTo>
                    <a:pt x="1150" y="714"/>
                  </a:lnTo>
                  <a:lnTo>
                    <a:pt x="1152" y="670"/>
                  </a:lnTo>
                  <a:lnTo>
                    <a:pt x="1154" y="632"/>
                  </a:lnTo>
                  <a:lnTo>
                    <a:pt x="1158" y="600"/>
                  </a:lnTo>
                  <a:lnTo>
                    <a:pt x="1162" y="586"/>
                  </a:lnTo>
                  <a:lnTo>
                    <a:pt x="1166" y="574"/>
                  </a:lnTo>
                  <a:lnTo>
                    <a:pt x="1170" y="564"/>
                  </a:lnTo>
                  <a:lnTo>
                    <a:pt x="1178" y="554"/>
                  </a:lnTo>
                  <a:lnTo>
                    <a:pt x="1186" y="546"/>
                  </a:lnTo>
                  <a:lnTo>
                    <a:pt x="1194" y="540"/>
                  </a:lnTo>
                  <a:lnTo>
                    <a:pt x="1204" y="534"/>
                  </a:lnTo>
                  <a:lnTo>
                    <a:pt x="1218" y="530"/>
                  </a:lnTo>
                  <a:lnTo>
                    <a:pt x="1232" y="528"/>
                  </a:lnTo>
                  <a:lnTo>
                    <a:pt x="1246" y="528"/>
                  </a:lnTo>
                  <a:lnTo>
                    <a:pt x="1246" y="528"/>
                  </a:lnTo>
                  <a:close/>
                  <a:moveTo>
                    <a:pt x="772" y="506"/>
                  </a:moveTo>
                  <a:lnTo>
                    <a:pt x="772" y="506"/>
                  </a:lnTo>
                  <a:lnTo>
                    <a:pt x="794" y="508"/>
                  </a:lnTo>
                  <a:lnTo>
                    <a:pt x="812" y="514"/>
                  </a:lnTo>
                  <a:lnTo>
                    <a:pt x="830" y="524"/>
                  </a:lnTo>
                  <a:lnTo>
                    <a:pt x="846" y="538"/>
                  </a:lnTo>
                  <a:lnTo>
                    <a:pt x="858" y="552"/>
                  </a:lnTo>
                  <a:lnTo>
                    <a:pt x="868" y="570"/>
                  </a:lnTo>
                  <a:lnTo>
                    <a:pt x="874" y="590"/>
                  </a:lnTo>
                  <a:lnTo>
                    <a:pt x="876" y="610"/>
                  </a:lnTo>
                  <a:lnTo>
                    <a:pt x="876" y="610"/>
                  </a:lnTo>
                  <a:lnTo>
                    <a:pt x="874" y="632"/>
                  </a:lnTo>
                  <a:lnTo>
                    <a:pt x="868" y="652"/>
                  </a:lnTo>
                  <a:lnTo>
                    <a:pt x="858" y="670"/>
                  </a:lnTo>
                  <a:lnTo>
                    <a:pt x="846" y="684"/>
                  </a:lnTo>
                  <a:lnTo>
                    <a:pt x="830" y="698"/>
                  </a:lnTo>
                  <a:lnTo>
                    <a:pt x="812" y="706"/>
                  </a:lnTo>
                  <a:lnTo>
                    <a:pt x="794" y="714"/>
                  </a:lnTo>
                  <a:lnTo>
                    <a:pt x="772" y="716"/>
                  </a:lnTo>
                  <a:lnTo>
                    <a:pt x="772" y="716"/>
                  </a:lnTo>
                  <a:lnTo>
                    <a:pt x="752" y="714"/>
                  </a:lnTo>
                  <a:lnTo>
                    <a:pt x="732" y="706"/>
                  </a:lnTo>
                  <a:lnTo>
                    <a:pt x="714" y="698"/>
                  </a:lnTo>
                  <a:lnTo>
                    <a:pt x="698" y="684"/>
                  </a:lnTo>
                  <a:lnTo>
                    <a:pt x="686" y="670"/>
                  </a:lnTo>
                  <a:lnTo>
                    <a:pt x="676" y="652"/>
                  </a:lnTo>
                  <a:lnTo>
                    <a:pt x="670" y="632"/>
                  </a:lnTo>
                  <a:lnTo>
                    <a:pt x="668" y="610"/>
                  </a:lnTo>
                  <a:lnTo>
                    <a:pt x="668" y="610"/>
                  </a:lnTo>
                  <a:lnTo>
                    <a:pt x="670" y="590"/>
                  </a:lnTo>
                  <a:lnTo>
                    <a:pt x="676" y="570"/>
                  </a:lnTo>
                  <a:lnTo>
                    <a:pt x="686" y="552"/>
                  </a:lnTo>
                  <a:lnTo>
                    <a:pt x="698" y="538"/>
                  </a:lnTo>
                  <a:lnTo>
                    <a:pt x="714" y="524"/>
                  </a:lnTo>
                  <a:lnTo>
                    <a:pt x="732" y="514"/>
                  </a:lnTo>
                  <a:lnTo>
                    <a:pt x="752" y="508"/>
                  </a:lnTo>
                  <a:lnTo>
                    <a:pt x="772" y="506"/>
                  </a:lnTo>
                  <a:lnTo>
                    <a:pt x="772" y="506"/>
                  </a:lnTo>
                  <a:close/>
                  <a:moveTo>
                    <a:pt x="420" y="506"/>
                  </a:moveTo>
                  <a:lnTo>
                    <a:pt x="420" y="506"/>
                  </a:lnTo>
                  <a:lnTo>
                    <a:pt x="440" y="508"/>
                  </a:lnTo>
                  <a:lnTo>
                    <a:pt x="460" y="514"/>
                  </a:lnTo>
                  <a:lnTo>
                    <a:pt x="478" y="524"/>
                  </a:lnTo>
                  <a:lnTo>
                    <a:pt x="494" y="538"/>
                  </a:lnTo>
                  <a:lnTo>
                    <a:pt x="506" y="552"/>
                  </a:lnTo>
                  <a:lnTo>
                    <a:pt x="516" y="570"/>
                  </a:lnTo>
                  <a:lnTo>
                    <a:pt x="522" y="590"/>
                  </a:lnTo>
                  <a:lnTo>
                    <a:pt x="524" y="610"/>
                  </a:lnTo>
                  <a:lnTo>
                    <a:pt x="524" y="610"/>
                  </a:lnTo>
                  <a:lnTo>
                    <a:pt x="522" y="632"/>
                  </a:lnTo>
                  <a:lnTo>
                    <a:pt x="516" y="652"/>
                  </a:lnTo>
                  <a:lnTo>
                    <a:pt x="506" y="670"/>
                  </a:lnTo>
                  <a:lnTo>
                    <a:pt x="494" y="684"/>
                  </a:lnTo>
                  <a:lnTo>
                    <a:pt x="478" y="698"/>
                  </a:lnTo>
                  <a:lnTo>
                    <a:pt x="460" y="706"/>
                  </a:lnTo>
                  <a:lnTo>
                    <a:pt x="440" y="714"/>
                  </a:lnTo>
                  <a:lnTo>
                    <a:pt x="420" y="716"/>
                  </a:lnTo>
                  <a:lnTo>
                    <a:pt x="420" y="716"/>
                  </a:lnTo>
                  <a:lnTo>
                    <a:pt x="398" y="714"/>
                  </a:lnTo>
                  <a:lnTo>
                    <a:pt x="380" y="706"/>
                  </a:lnTo>
                  <a:lnTo>
                    <a:pt x="362" y="698"/>
                  </a:lnTo>
                  <a:lnTo>
                    <a:pt x="346" y="684"/>
                  </a:lnTo>
                  <a:lnTo>
                    <a:pt x="334" y="670"/>
                  </a:lnTo>
                  <a:lnTo>
                    <a:pt x="324" y="652"/>
                  </a:lnTo>
                  <a:lnTo>
                    <a:pt x="318" y="632"/>
                  </a:lnTo>
                  <a:lnTo>
                    <a:pt x="316" y="610"/>
                  </a:lnTo>
                  <a:lnTo>
                    <a:pt x="316" y="610"/>
                  </a:lnTo>
                  <a:lnTo>
                    <a:pt x="318" y="590"/>
                  </a:lnTo>
                  <a:lnTo>
                    <a:pt x="324" y="570"/>
                  </a:lnTo>
                  <a:lnTo>
                    <a:pt x="334" y="552"/>
                  </a:lnTo>
                  <a:lnTo>
                    <a:pt x="346" y="538"/>
                  </a:lnTo>
                  <a:lnTo>
                    <a:pt x="362" y="524"/>
                  </a:lnTo>
                  <a:lnTo>
                    <a:pt x="380" y="514"/>
                  </a:lnTo>
                  <a:lnTo>
                    <a:pt x="398" y="508"/>
                  </a:lnTo>
                  <a:lnTo>
                    <a:pt x="420" y="506"/>
                  </a:lnTo>
                  <a:lnTo>
                    <a:pt x="420" y="506"/>
                  </a:lnTo>
                  <a:close/>
                  <a:moveTo>
                    <a:pt x="550" y="988"/>
                  </a:moveTo>
                  <a:lnTo>
                    <a:pt x="550" y="988"/>
                  </a:lnTo>
                  <a:lnTo>
                    <a:pt x="548" y="998"/>
                  </a:lnTo>
                  <a:lnTo>
                    <a:pt x="544" y="1006"/>
                  </a:lnTo>
                  <a:lnTo>
                    <a:pt x="544" y="1006"/>
                  </a:lnTo>
                  <a:lnTo>
                    <a:pt x="534" y="1012"/>
                  </a:lnTo>
                  <a:lnTo>
                    <a:pt x="524" y="1014"/>
                  </a:lnTo>
                  <a:lnTo>
                    <a:pt x="492" y="1014"/>
                  </a:lnTo>
                  <a:lnTo>
                    <a:pt x="492" y="1234"/>
                  </a:lnTo>
                  <a:lnTo>
                    <a:pt x="492" y="1234"/>
                  </a:lnTo>
                  <a:lnTo>
                    <a:pt x="490" y="1246"/>
                  </a:lnTo>
                  <a:lnTo>
                    <a:pt x="484" y="1254"/>
                  </a:lnTo>
                  <a:lnTo>
                    <a:pt x="476" y="1260"/>
                  </a:lnTo>
                  <a:lnTo>
                    <a:pt x="466" y="1262"/>
                  </a:lnTo>
                  <a:lnTo>
                    <a:pt x="466" y="1262"/>
                  </a:lnTo>
                  <a:lnTo>
                    <a:pt x="456" y="1260"/>
                  </a:lnTo>
                  <a:lnTo>
                    <a:pt x="446" y="1254"/>
                  </a:lnTo>
                  <a:lnTo>
                    <a:pt x="442" y="1246"/>
                  </a:lnTo>
                  <a:lnTo>
                    <a:pt x="440" y="1234"/>
                  </a:lnTo>
                  <a:lnTo>
                    <a:pt x="440" y="1014"/>
                  </a:lnTo>
                  <a:lnTo>
                    <a:pt x="404" y="1014"/>
                  </a:lnTo>
                  <a:lnTo>
                    <a:pt x="404" y="1234"/>
                  </a:lnTo>
                  <a:lnTo>
                    <a:pt x="404" y="1234"/>
                  </a:lnTo>
                  <a:lnTo>
                    <a:pt x="402" y="1246"/>
                  </a:lnTo>
                  <a:lnTo>
                    <a:pt x="398" y="1254"/>
                  </a:lnTo>
                  <a:lnTo>
                    <a:pt x="388" y="1260"/>
                  </a:lnTo>
                  <a:lnTo>
                    <a:pt x="378" y="1262"/>
                  </a:lnTo>
                  <a:lnTo>
                    <a:pt x="378" y="1262"/>
                  </a:lnTo>
                  <a:lnTo>
                    <a:pt x="368" y="1260"/>
                  </a:lnTo>
                  <a:lnTo>
                    <a:pt x="360" y="1254"/>
                  </a:lnTo>
                  <a:lnTo>
                    <a:pt x="354" y="1246"/>
                  </a:lnTo>
                  <a:lnTo>
                    <a:pt x="352" y="1234"/>
                  </a:lnTo>
                  <a:lnTo>
                    <a:pt x="352" y="1014"/>
                  </a:lnTo>
                  <a:lnTo>
                    <a:pt x="316" y="1014"/>
                  </a:lnTo>
                  <a:lnTo>
                    <a:pt x="316" y="1014"/>
                  </a:lnTo>
                  <a:lnTo>
                    <a:pt x="306" y="1012"/>
                  </a:lnTo>
                  <a:lnTo>
                    <a:pt x="296" y="1006"/>
                  </a:lnTo>
                  <a:lnTo>
                    <a:pt x="296" y="1006"/>
                  </a:lnTo>
                  <a:lnTo>
                    <a:pt x="290" y="998"/>
                  </a:lnTo>
                  <a:lnTo>
                    <a:pt x="288" y="988"/>
                  </a:lnTo>
                  <a:lnTo>
                    <a:pt x="288" y="778"/>
                  </a:lnTo>
                  <a:lnTo>
                    <a:pt x="288" y="778"/>
                  </a:lnTo>
                  <a:lnTo>
                    <a:pt x="290" y="768"/>
                  </a:lnTo>
                  <a:lnTo>
                    <a:pt x="296" y="760"/>
                  </a:lnTo>
                  <a:lnTo>
                    <a:pt x="296" y="760"/>
                  </a:lnTo>
                  <a:lnTo>
                    <a:pt x="306" y="754"/>
                  </a:lnTo>
                  <a:lnTo>
                    <a:pt x="316" y="752"/>
                  </a:lnTo>
                  <a:lnTo>
                    <a:pt x="524" y="752"/>
                  </a:lnTo>
                  <a:lnTo>
                    <a:pt x="524" y="752"/>
                  </a:lnTo>
                  <a:lnTo>
                    <a:pt x="534" y="754"/>
                  </a:lnTo>
                  <a:lnTo>
                    <a:pt x="544" y="760"/>
                  </a:lnTo>
                  <a:lnTo>
                    <a:pt x="544" y="760"/>
                  </a:lnTo>
                  <a:lnTo>
                    <a:pt x="548" y="768"/>
                  </a:lnTo>
                  <a:lnTo>
                    <a:pt x="550" y="778"/>
                  </a:lnTo>
                  <a:lnTo>
                    <a:pt x="550" y="988"/>
                  </a:lnTo>
                  <a:close/>
                  <a:moveTo>
                    <a:pt x="928" y="1054"/>
                  </a:moveTo>
                  <a:lnTo>
                    <a:pt x="928" y="1054"/>
                  </a:lnTo>
                  <a:lnTo>
                    <a:pt x="924" y="1060"/>
                  </a:lnTo>
                  <a:lnTo>
                    <a:pt x="918" y="1064"/>
                  </a:lnTo>
                  <a:lnTo>
                    <a:pt x="912" y="1066"/>
                  </a:lnTo>
                  <a:lnTo>
                    <a:pt x="906" y="1066"/>
                  </a:lnTo>
                  <a:lnTo>
                    <a:pt x="844" y="1066"/>
                  </a:lnTo>
                  <a:lnTo>
                    <a:pt x="844" y="1234"/>
                  </a:lnTo>
                  <a:lnTo>
                    <a:pt x="844" y="1234"/>
                  </a:lnTo>
                  <a:lnTo>
                    <a:pt x="842" y="1246"/>
                  </a:lnTo>
                  <a:lnTo>
                    <a:pt x="838" y="1254"/>
                  </a:lnTo>
                  <a:lnTo>
                    <a:pt x="828" y="1260"/>
                  </a:lnTo>
                  <a:lnTo>
                    <a:pt x="818" y="1262"/>
                  </a:lnTo>
                  <a:lnTo>
                    <a:pt x="818" y="1262"/>
                  </a:lnTo>
                  <a:lnTo>
                    <a:pt x="808" y="1260"/>
                  </a:lnTo>
                  <a:lnTo>
                    <a:pt x="800" y="1254"/>
                  </a:lnTo>
                  <a:lnTo>
                    <a:pt x="794" y="1246"/>
                  </a:lnTo>
                  <a:lnTo>
                    <a:pt x="792" y="1234"/>
                  </a:lnTo>
                  <a:lnTo>
                    <a:pt x="792" y="1066"/>
                  </a:lnTo>
                  <a:lnTo>
                    <a:pt x="758" y="1066"/>
                  </a:lnTo>
                  <a:lnTo>
                    <a:pt x="758" y="1234"/>
                  </a:lnTo>
                  <a:lnTo>
                    <a:pt x="758" y="1234"/>
                  </a:lnTo>
                  <a:lnTo>
                    <a:pt x="756" y="1246"/>
                  </a:lnTo>
                  <a:lnTo>
                    <a:pt x="750" y="1254"/>
                  </a:lnTo>
                  <a:lnTo>
                    <a:pt x="740" y="1260"/>
                  </a:lnTo>
                  <a:lnTo>
                    <a:pt x="730" y="1262"/>
                  </a:lnTo>
                  <a:lnTo>
                    <a:pt x="730" y="1262"/>
                  </a:lnTo>
                  <a:lnTo>
                    <a:pt x="720" y="1260"/>
                  </a:lnTo>
                  <a:lnTo>
                    <a:pt x="712" y="1254"/>
                  </a:lnTo>
                  <a:lnTo>
                    <a:pt x="706" y="1246"/>
                  </a:lnTo>
                  <a:lnTo>
                    <a:pt x="704" y="1234"/>
                  </a:lnTo>
                  <a:lnTo>
                    <a:pt x="704" y="1066"/>
                  </a:lnTo>
                  <a:lnTo>
                    <a:pt x="638" y="1066"/>
                  </a:lnTo>
                  <a:lnTo>
                    <a:pt x="638" y="1066"/>
                  </a:lnTo>
                  <a:lnTo>
                    <a:pt x="632" y="1066"/>
                  </a:lnTo>
                  <a:lnTo>
                    <a:pt x="626" y="1064"/>
                  </a:lnTo>
                  <a:lnTo>
                    <a:pt x="620" y="1060"/>
                  </a:lnTo>
                  <a:lnTo>
                    <a:pt x="616" y="1054"/>
                  </a:lnTo>
                  <a:lnTo>
                    <a:pt x="616" y="1054"/>
                  </a:lnTo>
                  <a:lnTo>
                    <a:pt x="614" y="1048"/>
                  </a:lnTo>
                  <a:lnTo>
                    <a:pt x="612" y="1042"/>
                  </a:lnTo>
                  <a:lnTo>
                    <a:pt x="612" y="1034"/>
                  </a:lnTo>
                  <a:lnTo>
                    <a:pt x="614" y="1028"/>
                  </a:lnTo>
                  <a:lnTo>
                    <a:pt x="748" y="760"/>
                  </a:lnTo>
                  <a:lnTo>
                    <a:pt x="748" y="760"/>
                  </a:lnTo>
                  <a:lnTo>
                    <a:pt x="752" y="754"/>
                  </a:lnTo>
                  <a:lnTo>
                    <a:pt x="758" y="748"/>
                  </a:lnTo>
                  <a:lnTo>
                    <a:pt x="764" y="746"/>
                  </a:lnTo>
                  <a:lnTo>
                    <a:pt x="772" y="744"/>
                  </a:lnTo>
                  <a:lnTo>
                    <a:pt x="772" y="744"/>
                  </a:lnTo>
                  <a:lnTo>
                    <a:pt x="780" y="746"/>
                  </a:lnTo>
                  <a:lnTo>
                    <a:pt x="786" y="748"/>
                  </a:lnTo>
                  <a:lnTo>
                    <a:pt x="792" y="754"/>
                  </a:lnTo>
                  <a:lnTo>
                    <a:pt x="796" y="760"/>
                  </a:lnTo>
                  <a:lnTo>
                    <a:pt x="930" y="1028"/>
                  </a:lnTo>
                  <a:lnTo>
                    <a:pt x="930" y="1028"/>
                  </a:lnTo>
                  <a:lnTo>
                    <a:pt x="932" y="1034"/>
                  </a:lnTo>
                  <a:lnTo>
                    <a:pt x="932" y="1042"/>
                  </a:lnTo>
                  <a:lnTo>
                    <a:pt x="932" y="1048"/>
                  </a:lnTo>
                  <a:lnTo>
                    <a:pt x="928" y="1054"/>
                  </a:lnTo>
                  <a:lnTo>
                    <a:pt x="928" y="1054"/>
                  </a:lnTo>
                  <a:close/>
                  <a:moveTo>
                    <a:pt x="996" y="580"/>
                  </a:moveTo>
                  <a:lnTo>
                    <a:pt x="996" y="580"/>
                  </a:lnTo>
                  <a:lnTo>
                    <a:pt x="1014" y="570"/>
                  </a:lnTo>
                  <a:lnTo>
                    <a:pt x="1030" y="560"/>
                  </a:lnTo>
                  <a:lnTo>
                    <a:pt x="1044" y="546"/>
                  </a:lnTo>
                  <a:lnTo>
                    <a:pt x="1058" y="532"/>
                  </a:lnTo>
                  <a:lnTo>
                    <a:pt x="1118" y="532"/>
                  </a:lnTo>
                  <a:lnTo>
                    <a:pt x="1118" y="844"/>
                  </a:lnTo>
                  <a:lnTo>
                    <a:pt x="1050" y="844"/>
                  </a:lnTo>
                  <a:lnTo>
                    <a:pt x="1050" y="604"/>
                  </a:lnTo>
                  <a:lnTo>
                    <a:pt x="1050" y="604"/>
                  </a:lnTo>
                  <a:lnTo>
                    <a:pt x="1024" y="622"/>
                  </a:lnTo>
                  <a:lnTo>
                    <a:pt x="996" y="638"/>
                  </a:lnTo>
                  <a:lnTo>
                    <a:pt x="996" y="580"/>
                  </a:lnTo>
                  <a:close/>
                  <a:moveTo>
                    <a:pt x="1086" y="1236"/>
                  </a:moveTo>
                  <a:lnTo>
                    <a:pt x="1086" y="1236"/>
                  </a:lnTo>
                  <a:lnTo>
                    <a:pt x="1064" y="1236"/>
                  </a:lnTo>
                  <a:lnTo>
                    <a:pt x="1046" y="1232"/>
                  </a:lnTo>
                  <a:lnTo>
                    <a:pt x="1032" y="1226"/>
                  </a:lnTo>
                  <a:lnTo>
                    <a:pt x="1020" y="1216"/>
                  </a:lnTo>
                  <a:lnTo>
                    <a:pt x="1010" y="1204"/>
                  </a:lnTo>
                  <a:lnTo>
                    <a:pt x="1004" y="1190"/>
                  </a:lnTo>
                  <a:lnTo>
                    <a:pt x="1000" y="1170"/>
                  </a:lnTo>
                  <a:lnTo>
                    <a:pt x="1000" y="1146"/>
                  </a:lnTo>
                  <a:lnTo>
                    <a:pt x="1064" y="1146"/>
                  </a:lnTo>
                  <a:lnTo>
                    <a:pt x="1064" y="1146"/>
                  </a:lnTo>
                  <a:lnTo>
                    <a:pt x="1064" y="1162"/>
                  </a:lnTo>
                  <a:lnTo>
                    <a:pt x="1066" y="1176"/>
                  </a:lnTo>
                  <a:lnTo>
                    <a:pt x="1070" y="1182"/>
                  </a:lnTo>
                  <a:lnTo>
                    <a:pt x="1074" y="1186"/>
                  </a:lnTo>
                  <a:lnTo>
                    <a:pt x="1080" y="1190"/>
                  </a:lnTo>
                  <a:lnTo>
                    <a:pt x="1090" y="1190"/>
                  </a:lnTo>
                  <a:lnTo>
                    <a:pt x="1090" y="1190"/>
                  </a:lnTo>
                  <a:lnTo>
                    <a:pt x="1100" y="1188"/>
                  </a:lnTo>
                  <a:lnTo>
                    <a:pt x="1108" y="1186"/>
                  </a:lnTo>
                  <a:lnTo>
                    <a:pt x="1112" y="1180"/>
                  </a:lnTo>
                  <a:lnTo>
                    <a:pt x="1116" y="1174"/>
                  </a:lnTo>
                  <a:lnTo>
                    <a:pt x="1120" y="1166"/>
                  </a:lnTo>
                  <a:lnTo>
                    <a:pt x="1120" y="1158"/>
                  </a:lnTo>
                  <a:lnTo>
                    <a:pt x="1122" y="1142"/>
                  </a:lnTo>
                  <a:lnTo>
                    <a:pt x="1122" y="1142"/>
                  </a:lnTo>
                  <a:lnTo>
                    <a:pt x="1120" y="1126"/>
                  </a:lnTo>
                  <a:lnTo>
                    <a:pt x="1118" y="1114"/>
                  </a:lnTo>
                  <a:lnTo>
                    <a:pt x="1114" y="1106"/>
                  </a:lnTo>
                  <a:lnTo>
                    <a:pt x="1108" y="1100"/>
                  </a:lnTo>
                  <a:lnTo>
                    <a:pt x="1100" y="1096"/>
                  </a:lnTo>
                  <a:lnTo>
                    <a:pt x="1090" y="1094"/>
                  </a:lnTo>
                  <a:lnTo>
                    <a:pt x="1062" y="1092"/>
                  </a:lnTo>
                  <a:lnTo>
                    <a:pt x="1062" y="1042"/>
                  </a:lnTo>
                  <a:lnTo>
                    <a:pt x="1062" y="1042"/>
                  </a:lnTo>
                  <a:lnTo>
                    <a:pt x="1088" y="1042"/>
                  </a:lnTo>
                  <a:lnTo>
                    <a:pt x="1098" y="1040"/>
                  </a:lnTo>
                  <a:lnTo>
                    <a:pt x="1104" y="1036"/>
                  </a:lnTo>
                  <a:lnTo>
                    <a:pt x="1110" y="1030"/>
                  </a:lnTo>
                  <a:lnTo>
                    <a:pt x="1114" y="1022"/>
                  </a:lnTo>
                  <a:lnTo>
                    <a:pt x="1116" y="1010"/>
                  </a:lnTo>
                  <a:lnTo>
                    <a:pt x="1116" y="996"/>
                  </a:lnTo>
                  <a:lnTo>
                    <a:pt x="1116" y="996"/>
                  </a:lnTo>
                  <a:lnTo>
                    <a:pt x="1116" y="982"/>
                  </a:lnTo>
                  <a:lnTo>
                    <a:pt x="1112" y="970"/>
                  </a:lnTo>
                  <a:lnTo>
                    <a:pt x="1110" y="966"/>
                  </a:lnTo>
                  <a:lnTo>
                    <a:pt x="1104" y="962"/>
                  </a:lnTo>
                  <a:lnTo>
                    <a:pt x="1100" y="958"/>
                  </a:lnTo>
                  <a:lnTo>
                    <a:pt x="1092" y="958"/>
                  </a:lnTo>
                  <a:lnTo>
                    <a:pt x="1092" y="958"/>
                  </a:lnTo>
                  <a:lnTo>
                    <a:pt x="1084" y="958"/>
                  </a:lnTo>
                  <a:lnTo>
                    <a:pt x="1078" y="962"/>
                  </a:lnTo>
                  <a:lnTo>
                    <a:pt x="1074" y="964"/>
                  </a:lnTo>
                  <a:lnTo>
                    <a:pt x="1070" y="970"/>
                  </a:lnTo>
                  <a:lnTo>
                    <a:pt x="1068" y="982"/>
                  </a:lnTo>
                  <a:lnTo>
                    <a:pt x="1066" y="994"/>
                  </a:lnTo>
                  <a:lnTo>
                    <a:pt x="1002" y="994"/>
                  </a:lnTo>
                  <a:lnTo>
                    <a:pt x="1002" y="994"/>
                  </a:lnTo>
                  <a:lnTo>
                    <a:pt x="1004" y="972"/>
                  </a:lnTo>
                  <a:lnTo>
                    <a:pt x="1008" y="954"/>
                  </a:lnTo>
                  <a:lnTo>
                    <a:pt x="1016" y="940"/>
                  </a:lnTo>
                  <a:lnTo>
                    <a:pt x="1024" y="928"/>
                  </a:lnTo>
                  <a:lnTo>
                    <a:pt x="1024" y="928"/>
                  </a:lnTo>
                  <a:lnTo>
                    <a:pt x="1038" y="920"/>
                  </a:lnTo>
                  <a:lnTo>
                    <a:pt x="1052" y="916"/>
                  </a:lnTo>
                  <a:lnTo>
                    <a:pt x="1072" y="912"/>
                  </a:lnTo>
                  <a:lnTo>
                    <a:pt x="1094" y="912"/>
                  </a:lnTo>
                  <a:lnTo>
                    <a:pt x="1094" y="912"/>
                  </a:lnTo>
                  <a:lnTo>
                    <a:pt x="1114" y="912"/>
                  </a:lnTo>
                  <a:lnTo>
                    <a:pt x="1132" y="916"/>
                  </a:lnTo>
                  <a:lnTo>
                    <a:pt x="1146" y="922"/>
                  </a:lnTo>
                  <a:lnTo>
                    <a:pt x="1160" y="932"/>
                  </a:lnTo>
                  <a:lnTo>
                    <a:pt x="1168" y="942"/>
                  </a:lnTo>
                  <a:lnTo>
                    <a:pt x="1176" y="958"/>
                  </a:lnTo>
                  <a:lnTo>
                    <a:pt x="1178" y="976"/>
                  </a:lnTo>
                  <a:lnTo>
                    <a:pt x="1180" y="996"/>
                  </a:lnTo>
                  <a:lnTo>
                    <a:pt x="1180" y="996"/>
                  </a:lnTo>
                  <a:lnTo>
                    <a:pt x="1178" y="1018"/>
                  </a:lnTo>
                  <a:lnTo>
                    <a:pt x="1176" y="1030"/>
                  </a:lnTo>
                  <a:lnTo>
                    <a:pt x="1172" y="1040"/>
                  </a:lnTo>
                  <a:lnTo>
                    <a:pt x="1166" y="1050"/>
                  </a:lnTo>
                  <a:lnTo>
                    <a:pt x="1158" y="1058"/>
                  </a:lnTo>
                  <a:lnTo>
                    <a:pt x="1148" y="1064"/>
                  </a:lnTo>
                  <a:lnTo>
                    <a:pt x="1138" y="1066"/>
                  </a:lnTo>
                  <a:lnTo>
                    <a:pt x="1138" y="1068"/>
                  </a:lnTo>
                  <a:lnTo>
                    <a:pt x="1138" y="1068"/>
                  </a:lnTo>
                  <a:lnTo>
                    <a:pt x="1152" y="1072"/>
                  </a:lnTo>
                  <a:lnTo>
                    <a:pt x="1162" y="1078"/>
                  </a:lnTo>
                  <a:lnTo>
                    <a:pt x="1170" y="1086"/>
                  </a:lnTo>
                  <a:lnTo>
                    <a:pt x="1176" y="1094"/>
                  </a:lnTo>
                  <a:lnTo>
                    <a:pt x="1180" y="1106"/>
                  </a:lnTo>
                  <a:lnTo>
                    <a:pt x="1184" y="1118"/>
                  </a:lnTo>
                  <a:lnTo>
                    <a:pt x="1186" y="1144"/>
                  </a:lnTo>
                  <a:lnTo>
                    <a:pt x="1186" y="1144"/>
                  </a:lnTo>
                  <a:lnTo>
                    <a:pt x="1184" y="1168"/>
                  </a:lnTo>
                  <a:lnTo>
                    <a:pt x="1178" y="1186"/>
                  </a:lnTo>
                  <a:lnTo>
                    <a:pt x="1170" y="1202"/>
                  </a:lnTo>
                  <a:lnTo>
                    <a:pt x="1160" y="1214"/>
                  </a:lnTo>
                  <a:lnTo>
                    <a:pt x="1146" y="1224"/>
                  </a:lnTo>
                  <a:lnTo>
                    <a:pt x="1128" y="1232"/>
                  </a:lnTo>
                  <a:lnTo>
                    <a:pt x="1110" y="1236"/>
                  </a:lnTo>
                  <a:lnTo>
                    <a:pt x="1086" y="1236"/>
                  </a:lnTo>
                  <a:lnTo>
                    <a:pt x="1086" y="1236"/>
                  </a:lnTo>
                  <a:close/>
                  <a:moveTo>
                    <a:pt x="1390" y="1160"/>
                  </a:moveTo>
                  <a:lnTo>
                    <a:pt x="1366" y="1160"/>
                  </a:lnTo>
                  <a:lnTo>
                    <a:pt x="1366" y="1232"/>
                  </a:lnTo>
                  <a:lnTo>
                    <a:pt x="1304" y="1232"/>
                  </a:lnTo>
                  <a:lnTo>
                    <a:pt x="1304" y="1160"/>
                  </a:lnTo>
                  <a:lnTo>
                    <a:pt x="1206" y="1160"/>
                  </a:lnTo>
                  <a:lnTo>
                    <a:pt x="1206" y="1096"/>
                  </a:lnTo>
                  <a:lnTo>
                    <a:pt x="1206" y="1096"/>
                  </a:lnTo>
                  <a:lnTo>
                    <a:pt x="1282" y="916"/>
                  </a:lnTo>
                  <a:lnTo>
                    <a:pt x="1366" y="916"/>
                  </a:lnTo>
                  <a:lnTo>
                    <a:pt x="1366" y="1112"/>
                  </a:lnTo>
                  <a:lnTo>
                    <a:pt x="1390" y="1112"/>
                  </a:lnTo>
                  <a:lnTo>
                    <a:pt x="1390" y="1160"/>
                  </a:lnTo>
                  <a:close/>
                  <a:moveTo>
                    <a:pt x="1494" y="748"/>
                  </a:moveTo>
                  <a:lnTo>
                    <a:pt x="1384" y="748"/>
                  </a:lnTo>
                  <a:lnTo>
                    <a:pt x="1384" y="702"/>
                  </a:lnTo>
                  <a:lnTo>
                    <a:pt x="1494" y="702"/>
                  </a:lnTo>
                  <a:lnTo>
                    <a:pt x="1494" y="74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17"/>
            <p:cNvSpPr>
              <a:spLocks/>
            </p:cNvSpPr>
            <p:nvPr/>
          </p:nvSpPr>
          <p:spPr bwMode="auto">
            <a:xfrm>
              <a:off x="2543175" y="5419725"/>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4" name="TextBox 22"/>
          <p:cNvSpPr txBox="1">
            <a:spLocks noChangeArrowheads="1"/>
          </p:cNvSpPr>
          <p:nvPr userDrawn="1"/>
        </p:nvSpPr>
        <p:spPr bwMode="auto">
          <a:xfrm>
            <a:off x="10566199" y="4337495"/>
            <a:ext cx="103194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Male</a:t>
            </a:r>
          </a:p>
        </p:txBody>
      </p:sp>
      <p:grpSp>
        <p:nvGrpSpPr>
          <p:cNvPr id="75" name="Group 74"/>
          <p:cNvGrpSpPr/>
          <p:nvPr userDrawn="1"/>
        </p:nvGrpSpPr>
        <p:grpSpPr>
          <a:xfrm>
            <a:off x="10453197" y="3057528"/>
            <a:ext cx="1260000" cy="1260000"/>
            <a:chOff x="5253038" y="1635125"/>
            <a:chExt cx="2806700" cy="2806700"/>
          </a:xfrm>
          <a:solidFill>
            <a:srgbClr val="000000"/>
          </a:solidFill>
        </p:grpSpPr>
        <p:sp>
          <p:nvSpPr>
            <p:cNvPr id="76" name="Freeform 39"/>
            <p:cNvSpPr>
              <a:spLocks/>
            </p:cNvSpPr>
            <p:nvPr/>
          </p:nvSpPr>
          <p:spPr bwMode="auto">
            <a:xfrm>
              <a:off x="7094538" y="314325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40"/>
            <p:cNvSpPr>
              <a:spLocks/>
            </p:cNvSpPr>
            <p:nvPr/>
          </p:nvSpPr>
          <p:spPr bwMode="auto">
            <a:xfrm>
              <a:off x="7046913" y="2711450"/>
              <a:ext cx="88900" cy="190500"/>
            </a:xfrm>
            <a:custGeom>
              <a:avLst/>
              <a:gdLst>
                <a:gd name="T0" fmla="*/ 56 w 56"/>
                <a:gd name="T1" fmla="*/ 58 h 120"/>
                <a:gd name="T2" fmla="*/ 56 w 56"/>
                <a:gd name="T3" fmla="*/ 58 h 120"/>
                <a:gd name="T4" fmla="*/ 56 w 56"/>
                <a:gd name="T5" fmla="*/ 32 h 120"/>
                <a:gd name="T6" fmla="*/ 54 w 56"/>
                <a:gd name="T7" fmla="*/ 22 h 120"/>
                <a:gd name="T8" fmla="*/ 50 w 56"/>
                <a:gd name="T9" fmla="*/ 14 h 120"/>
                <a:gd name="T10" fmla="*/ 46 w 56"/>
                <a:gd name="T11" fmla="*/ 8 h 120"/>
                <a:gd name="T12" fmla="*/ 42 w 56"/>
                <a:gd name="T13" fmla="*/ 4 h 120"/>
                <a:gd name="T14" fmla="*/ 36 w 56"/>
                <a:gd name="T15" fmla="*/ 2 h 120"/>
                <a:gd name="T16" fmla="*/ 28 w 56"/>
                <a:gd name="T17" fmla="*/ 0 h 120"/>
                <a:gd name="T18" fmla="*/ 28 w 56"/>
                <a:gd name="T19" fmla="*/ 0 h 120"/>
                <a:gd name="T20" fmla="*/ 18 w 56"/>
                <a:gd name="T21" fmla="*/ 2 h 120"/>
                <a:gd name="T22" fmla="*/ 12 w 56"/>
                <a:gd name="T23" fmla="*/ 4 h 120"/>
                <a:gd name="T24" fmla="*/ 8 w 56"/>
                <a:gd name="T25" fmla="*/ 10 h 120"/>
                <a:gd name="T26" fmla="*/ 4 w 56"/>
                <a:gd name="T27" fmla="*/ 18 h 120"/>
                <a:gd name="T28" fmla="*/ 2 w 56"/>
                <a:gd name="T29" fmla="*/ 26 h 120"/>
                <a:gd name="T30" fmla="*/ 0 w 56"/>
                <a:gd name="T31" fmla="*/ 38 h 120"/>
                <a:gd name="T32" fmla="*/ 0 w 56"/>
                <a:gd name="T33" fmla="*/ 64 h 120"/>
                <a:gd name="T34" fmla="*/ 0 w 56"/>
                <a:gd name="T35" fmla="*/ 64 h 120"/>
                <a:gd name="T36" fmla="*/ 0 w 56"/>
                <a:gd name="T37" fmla="*/ 80 h 120"/>
                <a:gd name="T38" fmla="*/ 4 w 56"/>
                <a:gd name="T39" fmla="*/ 100 h 120"/>
                <a:gd name="T40" fmla="*/ 6 w 56"/>
                <a:gd name="T41" fmla="*/ 108 h 120"/>
                <a:gd name="T42" fmla="*/ 12 w 56"/>
                <a:gd name="T43" fmla="*/ 114 h 120"/>
                <a:gd name="T44" fmla="*/ 18 w 56"/>
                <a:gd name="T45" fmla="*/ 118 h 120"/>
                <a:gd name="T46" fmla="*/ 26 w 56"/>
                <a:gd name="T47" fmla="*/ 120 h 120"/>
                <a:gd name="T48" fmla="*/ 26 w 56"/>
                <a:gd name="T49" fmla="*/ 120 h 120"/>
                <a:gd name="T50" fmla="*/ 34 w 56"/>
                <a:gd name="T51" fmla="*/ 120 h 120"/>
                <a:gd name="T52" fmla="*/ 40 w 56"/>
                <a:gd name="T53" fmla="*/ 118 h 120"/>
                <a:gd name="T54" fmla="*/ 46 w 56"/>
                <a:gd name="T55" fmla="*/ 114 h 120"/>
                <a:gd name="T56" fmla="*/ 50 w 56"/>
                <a:gd name="T57" fmla="*/ 108 h 120"/>
                <a:gd name="T58" fmla="*/ 52 w 56"/>
                <a:gd name="T59" fmla="*/ 100 h 120"/>
                <a:gd name="T60" fmla="*/ 54 w 56"/>
                <a:gd name="T61" fmla="*/ 88 h 120"/>
                <a:gd name="T62" fmla="*/ 56 w 56"/>
                <a:gd name="T63" fmla="*/ 58 h 120"/>
                <a:gd name="T64" fmla="*/ 56 w 56"/>
                <a:gd name="T65" fmla="*/ 5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56" y="58"/>
                  </a:moveTo>
                  <a:lnTo>
                    <a:pt x="56" y="58"/>
                  </a:lnTo>
                  <a:lnTo>
                    <a:pt x="56" y="32"/>
                  </a:lnTo>
                  <a:lnTo>
                    <a:pt x="54" y="22"/>
                  </a:lnTo>
                  <a:lnTo>
                    <a:pt x="50" y="14"/>
                  </a:lnTo>
                  <a:lnTo>
                    <a:pt x="46" y="8"/>
                  </a:lnTo>
                  <a:lnTo>
                    <a:pt x="42" y="4"/>
                  </a:lnTo>
                  <a:lnTo>
                    <a:pt x="36" y="2"/>
                  </a:lnTo>
                  <a:lnTo>
                    <a:pt x="28" y="0"/>
                  </a:lnTo>
                  <a:lnTo>
                    <a:pt x="28" y="0"/>
                  </a:lnTo>
                  <a:lnTo>
                    <a:pt x="18" y="2"/>
                  </a:lnTo>
                  <a:lnTo>
                    <a:pt x="12" y="4"/>
                  </a:lnTo>
                  <a:lnTo>
                    <a:pt x="8" y="10"/>
                  </a:lnTo>
                  <a:lnTo>
                    <a:pt x="4" y="18"/>
                  </a:lnTo>
                  <a:lnTo>
                    <a:pt x="2" y="26"/>
                  </a:lnTo>
                  <a:lnTo>
                    <a:pt x="0" y="38"/>
                  </a:lnTo>
                  <a:lnTo>
                    <a:pt x="0" y="64"/>
                  </a:lnTo>
                  <a:lnTo>
                    <a:pt x="0" y="64"/>
                  </a:lnTo>
                  <a:lnTo>
                    <a:pt x="0" y="80"/>
                  </a:lnTo>
                  <a:lnTo>
                    <a:pt x="4" y="100"/>
                  </a:lnTo>
                  <a:lnTo>
                    <a:pt x="6" y="108"/>
                  </a:lnTo>
                  <a:lnTo>
                    <a:pt x="12" y="114"/>
                  </a:lnTo>
                  <a:lnTo>
                    <a:pt x="18" y="118"/>
                  </a:lnTo>
                  <a:lnTo>
                    <a:pt x="26" y="120"/>
                  </a:lnTo>
                  <a:lnTo>
                    <a:pt x="26" y="120"/>
                  </a:lnTo>
                  <a:lnTo>
                    <a:pt x="34" y="120"/>
                  </a:lnTo>
                  <a:lnTo>
                    <a:pt x="40" y="118"/>
                  </a:lnTo>
                  <a:lnTo>
                    <a:pt x="46" y="114"/>
                  </a:lnTo>
                  <a:lnTo>
                    <a:pt x="50" y="108"/>
                  </a:lnTo>
                  <a:lnTo>
                    <a:pt x="52" y="100"/>
                  </a:lnTo>
                  <a:lnTo>
                    <a:pt x="54" y="88"/>
                  </a:lnTo>
                  <a:lnTo>
                    <a:pt x="56" y="58"/>
                  </a:lnTo>
                  <a:lnTo>
                    <a:pt x="56" y="5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41"/>
            <p:cNvSpPr>
              <a:spLocks noEditPoints="1"/>
            </p:cNvSpPr>
            <p:nvPr/>
          </p:nvSpPr>
          <p:spPr bwMode="auto">
            <a:xfrm>
              <a:off x="5253038" y="1635125"/>
              <a:ext cx="2806700" cy="2806700"/>
            </a:xfrm>
            <a:custGeom>
              <a:avLst/>
              <a:gdLst>
                <a:gd name="T0" fmla="*/ 622 w 1768"/>
                <a:gd name="T1" fmla="*/ 40 h 1768"/>
                <a:gd name="T2" fmla="*/ 322 w 1768"/>
                <a:gd name="T3" fmla="*/ 202 h 1768"/>
                <a:gd name="T4" fmla="*/ 106 w 1768"/>
                <a:gd name="T5" fmla="*/ 462 h 1768"/>
                <a:gd name="T6" fmla="*/ 4 w 1768"/>
                <a:gd name="T7" fmla="*/ 794 h 1768"/>
                <a:gd name="T8" fmla="*/ 28 w 1768"/>
                <a:gd name="T9" fmla="*/ 1104 h 1768"/>
                <a:gd name="T10" fmla="*/ 176 w 1768"/>
                <a:gd name="T11" fmla="*/ 1412 h 1768"/>
                <a:gd name="T12" fmla="*/ 426 w 1768"/>
                <a:gd name="T13" fmla="*/ 1640 h 1768"/>
                <a:gd name="T14" fmla="*/ 750 w 1768"/>
                <a:gd name="T15" fmla="*/ 1758 h 1768"/>
                <a:gd name="T16" fmla="*/ 1062 w 1768"/>
                <a:gd name="T17" fmla="*/ 1750 h 1768"/>
                <a:gd name="T18" fmla="*/ 1378 w 1768"/>
                <a:gd name="T19" fmla="*/ 1618 h 1768"/>
                <a:gd name="T20" fmla="*/ 1618 w 1768"/>
                <a:gd name="T21" fmla="*/ 1378 h 1768"/>
                <a:gd name="T22" fmla="*/ 1750 w 1768"/>
                <a:gd name="T23" fmla="*/ 1062 h 1768"/>
                <a:gd name="T24" fmla="*/ 1758 w 1768"/>
                <a:gd name="T25" fmla="*/ 750 h 1768"/>
                <a:gd name="T26" fmla="*/ 1640 w 1768"/>
                <a:gd name="T27" fmla="*/ 426 h 1768"/>
                <a:gd name="T28" fmla="*/ 1414 w 1768"/>
                <a:gd name="T29" fmla="*/ 176 h 1768"/>
                <a:gd name="T30" fmla="*/ 1106 w 1768"/>
                <a:gd name="T31" fmla="*/ 28 h 1768"/>
                <a:gd name="T32" fmla="*/ 594 w 1768"/>
                <a:gd name="T33" fmla="*/ 406 h 1768"/>
                <a:gd name="T34" fmla="*/ 688 w 1768"/>
                <a:gd name="T35" fmla="*/ 446 h 1768"/>
                <a:gd name="T36" fmla="*/ 728 w 1768"/>
                <a:gd name="T37" fmla="*/ 540 h 1768"/>
                <a:gd name="T38" fmla="*/ 696 w 1768"/>
                <a:gd name="T39" fmla="*/ 626 h 1768"/>
                <a:gd name="T40" fmla="*/ 608 w 1768"/>
                <a:gd name="T41" fmla="*/ 674 h 1768"/>
                <a:gd name="T42" fmla="*/ 518 w 1768"/>
                <a:gd name="T43" fmla="*/ 652 h 1768"/>
                <a:gd name="T44" fmla="*/ 462 w 1768"/>
                <a:gd name="T45" fmla="*/ 568 h 1768"/>
                <a:gd name="T46" fmla="*/ 476 w 1768"/>
                <a:gd name="T47" fmla="*/ 476 h 1768"/>
                <a:gd name="T48" fmla="*/ 554 w 1768"/>
                <a:gd name="T49" fmla="*/ 412 h 1768"/>
                <a:gd name="T50" fmla="*/ 760 w 1768"/>
                <a:gd name="T51" fmla="*/ 1036 h 1768"/>
                <a:gd name="T52" fmla="*/ 684 w 1768"/>
                <a:gd name="T53" fmla="*/ 1342 h 1768"/>
                <a:gd name="T54" fmla="*/ 656 w 1768"/>
                <a:gd name="T55" fmla="*/ 1374 h 1768"/>
                <a:gd name="T56" fmla="*/ 620 w 1768"/>
                <a:gd name="T57" fmla="*/ 1356 h 1768"/>
                <a:gd name="T58" fmla="*/ 568 w 1768"/>
                <a:gd name="T59" fmla="*/ 1356 h 1768"/>
                <a:gd name="T60" fmla="*/ 530 w 1768"/>
                <a:gd name="T61" fmla="*/ 1374 h 1768"/>
                <a:gd name="T62" fmla="*/ 504 w 1768"/>
                <a:gd name="T63" fmla="*/ 1062 h 1768"/>
                <a:gd name="T64" fmla="*/ 428 w 1768"/>
                <a:gd name="T65" fmla="*/ 1036 h 1768"/>
                <a:gd name="T66" fmla="*/ 436 w 1768"/>
                <a:gd name="T67" fmla="*/ 738 h 1768"/>
                <a:gd name="T68" fmla="*/ 736 w 1768"/>
                <a:gd name="T69" fmla="*/ 730 h 1768"/>
                <a:gd name="T70" fmla="*/ 910 w 1768"/>
                <a:gd name="T71" fmla="*/ 572 h 1768"/>
                <a:gd name="T72" fmla="*/ 962 w 1768"/>
                <a:gd name="T73" fmla="*/ 840 h 1768"/>
                <a:gd name="T74" fmla="*/ 974 w 1768"/>
                <a:gd name="T75" fmla="*/ 1226 h 1768"/>
                <a:gd name="T76" fmla="*/ 972 w 1768"/>
                <a:gd name="T77" fmla="*/ 1138 h 1768"/>
                <a:gd name="T78" fmla="*/ 1000 w 1768"/>
                <a:gd name="T79" fmla="*/ 1180 h 1768"/>
                <a:gd name="T80" fmla="*/ 1030 w 1768"/>
                <a:gd name="T81" fmla="*/ 1132 h 1768"/>
                <a:gd name="T82" fmla="*/ 972 w 1768"/>
                <a:gd name="T83" fmla="*/ 1082 h 1768"/>
                <a:gd name="T84" fmla="*/ 1026 w 1768"/>
                <a:gd name="T85" fmla="*/ 1000 h 1768"/>
                <a:gd name="T86" fmla="*/ 1002 w 1768"/>
                <a:gd name="T87" fmla="*/ 948 h 1768"/>
                <a:gd name="T88" fmla="*/ 912 w 1768"/>
                <a:gd name="T89" fmla="*/ 984 h 1768"/>
                <a:gd name="T90" fmla="*/ 962 w 1768"/>
                <a:gd name="T91" fmla="*/ 904 h 1768"/>
                <a:gd name="T92" fmla="*/ 1078 w 1768"/>
                <a:gd name="T93" fmla="*/ 932 h 1768"/>
                <a:gd name="T94" fmla="*/ 1076 w 1768"/>
                <a:gd name="T95" fmla="*/ 1040 h 1768"/>
                <a:gd name="T96" fmla="*/ 1080 w 1768"/>
                <a:gd name="T97" fmla="*/ 1076 h 1768"/>
                <a:gd name="T98" fmla="*/ 1080 w 1768"/>
                <a:gd name="T99" fmla="*/ 1194 h 1768"/>
                <a:gd name="T100" fmla="*/ 1066 w 1768"/>
                <a:gd name="T101" fmla="*/ 708 h 1768"/>
                <a:gd name="T102" fmla="*/ 1100 w 1768"/>
                <a:gd name="T103" fmla="*/ 536 h 1768"/>
                <a:gd name="T104" fmla="*/ 1198 w 1768"/>
                <a:gd name="T105" fmla="*/ 522 h 1768"/>
                <a:gd name="T106" fmla="*/ 1180 w 1768"/>
                <a:gd name="T107" fmla="*/ 592 h 1768"/>
                <a:gd name="T108" fmla="*/ 1158 w 1768"/>
                <a:gd name="T109" fmla="*/ 562 h 1768"/>
                <a:gd name="T110" fmla="*/ 1128 w 1768"/>
                <a:gd name="T111" fmla="*/ 656 h 1768"/>
                <a:gd name="T112" fmla="*/ 1208 w 1768"/>
                <a:gd name="T113" fmla="*/ 640 h 1768"/>
                <a:gd name="T114" fmla="*/ 1250 w 1768"/>
                <a:gd name="T115" fmla="*/ 736 h 1768"/>
                <a:gd name="T116" fmla="*/ 1200 w 1768"/>
                <a:gd name="T117" fmla="*/ 836 h 1768"/>
                <a:gd name="T118" fmla="*/ 1098 w 1768"/>
                <a:gd name="T119" fmla="*/ 826 h 1768"/>
                <a:gd name="T120" fmla="*/ 1066 w 1768"/>
                <a:gd name="T121" fmla="*/ 708 h 1768"/>
                <a:gd name="T122" fmla="*/ 1110 w 1768"/>
                <a:gd name="T123" fmla="*/ 1086 h 1768"/>
                <a:gd name="T124" fmla="*/ 1282 w 1768"/>
                <a:gd name="T125" fmla="*/ 694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2"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2"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8"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8" y="40"/>
                  </a:lnTo>
                  <a:lnTo>
                    <a:pt x="1106" y="28"/>
                  </a:lnTo>
                  <a:lnTo>
                    <a:pt x="1062" y="18"/>
                  </a:lnTo>
                  <a:lnTo>
                    <a:pt x="1018" y="10"/>
                  </a:lnTo>
                  <a:lnTo>
                    <a:pt x="974" y="4"/>
                  </a:lnTo>
                  <a:lnTo>
                    <a:pt x="930" y="0"/>
                  </a:lnTo>
                  <a:lnTo>
                    <a:pt x="884" y="0"/>
                  </a:lnTo>
                  <a:lnTo>
                    <a:pt x="884" y="0"/>
                  </a:lnTo>
                  <a:close/>
                  <a:moveTo>
                    <a:pt x="594" y="406"/>
                  </a:moveTo>
                  <a:lnTo>
                    <a:pt x="594" y="406"/>
                  </a:lnTo>
                  <a:lnTo>
                    <a:pt x="608" y="408"/>
                  </a:lnTo>
                  <a:lnTo>
                    <a:pt x="620" y="410"/>
                  </a:lnTo>
                  <a:lnTo>
                    <a:pt x="634" y="412"/>
                  </a:lnTo>
                  <a:lnTo>
                    <a:pt x="646" y="416"/>
                  </a:lnTo>
                  <a:lnTo>
                    <a:pt x="658" y="422"/>
                  </a:lnTo>
                  <a:lnTo>
                    <a:pt x="668" y="430"/>
                  </a:lnTo>
                  <a:lnTo>
                    <a:pt x="678" y="436"/>
                  </a:lnTo>
                  <a:lnTo>
                    <a:pt x="688" y="446"/>
                  </a:lnTo>
                  <a:lnTo>
                    <a:pt x="696" y="456"/>
                  </a:lnTo>
                  <a:lnTo>
                    <a:pt x="704" y="466"/>
                  </a:lnTo>
                  <a:lnTo>
                    <a:pt x="712" y="476"/>
                  </a:lnTo>
                  <a:lnTo>
                    <a:pt x="716" y="488"/>
                  </a:lnTo>
                  <a:lnTo>
                    <a:pt x="722" y="500"/>
                  </a:lnTo>
                  <a:lnTo>
                    <a:pt x="724" y="514"/>
                  </a:lnTo>
                  <a:lnTo>
                    <a:pt x="726" y="526"/>
                  </a:lnTo>
                  <a:lnTo>
                    <a:pt x="728" y="540"/>
                  </a:lnTo>
                  <a:lnTo>
                    <a:pt x="728" y="540"/>
                  </a:lnTo>
                  <a:lnTo>
                    <a:pt x="726" y="554"/>
                  </a:lnTo>
                  <a:lnTo>
                    <a:pt x="724" y="568"/>
                  </a:lnTo>
                  <a:lnTo>
                    <a:pt x="722" y="580"/>
                  </a:lnTo>
                  <a:lnTo>
                    <a:pt x="716" y="592"/>
                  </a:lnTo>
                  <a:lnTo>
                    <a:pt x="712" y="604"/>
                  </a:lnTo>
                  <a:lnTo>
                    <a:pt x="704" y="616"/>
                  </a:lnTo>
                  <a:lnTo>
                    <a:pt x="696" y="626"/>
                  </a:lnTo>
                  <a:lnTo>
                    <a:pt x="688" y="636"/>
                  </a:lnTo>
                  <a:lnTo>
                    <a:pt x="678" y="644"/>
                  </a:lnTo>
                  <a:lnTo>
                    <a:pt x="668" y="652"/>
                  </a:lnTo>
                  <a:lnTo>
                    <a:pt x="658" y="658"/>
                  </a:lnTo>
                  <a:lnTo>
                    <a:pt x="646" y="664"/>
                  </a:lnTo>
                  <a:lnTo>
                    <a:pt x="634" y="668"/>
                  </a:lnTo>
                  <a:lnTo>
                    <a:pt x="620" y="672"/>
                  </a:lnTo>
                  <a:lnTo>
                    <a:pt x="608" y="674"/>
                  </a:lnTo>
                  <a:lnTo>
                    <a:pt x="594" y="674"/>
                  </a:lnTo>
                  <a:lnTo>
                    <a:pt x="594" y="674"/>
                  </a:lnTo>
                  <a:lnTo>
                    <a:pt x="580" y="674"/>
                  </a:lnTo>
                  <a:lnTo>
                    <a:pt x="566" y="672"/>
                  </a:lnTo>
                  <a:lnTo>
                    <a:pt x="554" y="668"/>
                  </a:lnTo>
                  <a:lnTo>
                    <a:pt x="542" y="664"/>
                  </a:lnTo>
                  <a:lnTo>
                    <a:pt x="530" y="658"/>
                  </a:lnTo>
                  <a:lnTo>
                    <a:pt x="518" y="652"/>
                  </a:lnTo>
                  <a:lnTo>
                    <a:pt x="508" y="644"/>
                  </a:lnTo>
                  <a:lnTo>
                    <a:pt x="498" y="636"/>
                  </a:lnTo>
                  <a:lnTo>
                    <a:pt x="490" y="626"/>
                  </a:lnTo>
                  <a:lnTo>
                    <a:pt x="482" y="616"/>
                  </a:lnTo>
                  <a:lnTo>
                    <a:pt x="476" y="604"/>
                  </a:lnTo>
                  <a:lnTo>
                    <a:pt x="470" y="592"/>
                  </a:lnTo>
                  <a:lnTo>
                    <a:pt x="466" y="580"/>
                  </a:lnTo>
                  <a:lnTo>
                    <a:pt x="462" y="568"/>
                  </a:lnTo>
                  <a:lnTo>
                    <a:pt x="460" y="554"/>
                  </a:lnTo>
                  <a:lnTo>
                    <a:pt x="460" y="540"/>
                  </a:lnTo>
                  <a:lnTo>
                    <a:pt x="460" y="540"/>
                  </a:lnTo>
                  <a:lnTo>
                    <a:pt x="460" y="526"/>
                  </a:lnTo>
                  <a:lnTo>
                    <a:pt x="462" y="514"/>
                  </a:lnTo>
                  <a:lnTo>
                    <a:pt x="466" y="500"/>
                  </a:lnTo>
                  <a:lnTo>
                    <a:pt x="470" y="488"/>
                  </a:lnTo>
                  <a:lnTo>
                    <a:pt x="476" y="476"/>
                  </a:lnTo>
                  <a:lnTo>
                    <a:pt x="482" y="466"/>
                  </a:lnTo>
                  <a:lnTo>
                    <a:pt x="490" y="456"/>
                  </a:lnTo>
                  <a:lnTo>
                    <a:pt x="498" y="446"/>
                  </a:lnTo>
                  <a:lnTo>
                    <a:pt x="508" y="436"/>
                  </a:lnTo>
                  <a:lnTo>
                    <a:pt x="518" y="430"/>
                  </a:lnTo>
                  <a:lnTo>
                    <a:pt x="530" y="422"/>
                  </a:lnTo>
                  <a:lnTo>
                    <a:pt x="542" y="416"/>
                  </a:lnTo>
                  <a:lnTo>
                    <a:pt x="554" y="412"/>
                  </a:lnTo>
                  <a:lnTo>
                    <a:pt x="566" y="410"/>
                  </a:lnTo>
                  <a:lnTo>
                    <a:pt x="580" y="408"/>
                  </a:lnTo>
                  <a:lnTo>
                    <a:pt x="594" y="406"/>
                  </a:lnTo>
                  <a:lnTo>
                    <a:pt x="594" y="406"/>
                  </a:lnTo>
                  <a:close/>
                  <a:moveTo>
                    <a:pt x="762" y="1018"/>
                  </a:moveTo>
                  <a:lnTo>
                    <a:pt x="762" y="1018"/>
                  </a:lnTo>
                  <a:lnTo>
                    <a:pt x="762" y="1028"/>
                  </a:lnTo>
                  <a:lnTo>
                    <a:pt x="760" y="1036"/>
                  </a:lnTo>
                  <a:lnTo>
                    <a:pt x="756" y="1044"/>
                  </a:lnTo>
                  <a:lnTo>
                    <a:pt x="750" y="1050"/>
                  </a:lnTo>
                  <a:lnTo>
                    <a:pt x="744" y="1056"/>
                  </a:lnTo>
                  <a:lnTo>
                    <a:pt x="736" y="1060"/>
                  </a:lnTo>
                  <a:lnTo>
                    <a:pt x="728" y="1062"/>
                  </a:lnTo>
                  <a:lnTo>
                    <a:pt x="718" y="1062"/>
                  </a:lnTo>
                  <a:lnTo>
                    <a:pt x="684" y="1062"/>
                  </a:lnTo>
                  <a:lnTo>
                    <a:pt x="684" y="1342"/>
                  </a:lnTo>
                  <a:lnTo>
                    <a:pt x="684" y="1342"/>
                  </a:lnTo>
                  <a:lnTo>
                    <a:pt x="682" y="1350"/>
                  </a:lnTo>
                  <a:lnTo>
                    <a:pt x="680" y="1356"/>
                  </a:lnTo>
                  <a:lnTo>
                    <a:pt x="678" y="1360"/>
                  </a:lnTo>
                  <a:lnTo>
                    <a:pt x="674" y="1366"/>
                  </a:lnTo>
                  <a:lnTo>
                    <a:pt x="668" y="1370"/>
                  </a:lnTo>
                  <a:lnTo>
                    <a:pt x="662" y="1372"/>
                  </a:lnTo>
                  <a:lnTo>
                    <a:pt x="656" y="1374"/>
                  </a:lnTo>
                  <a:lnTo>
                    <a:pt x="650" y="1376"/>
                  </a:lnTo>
                  <a:lnTo>
                    <a:pt x="650" y="1376"/>
                  </a:lnTo>
                  <a:lnTo>
                    <a:pt x="644" y="1374"/>
                  </a:lnTo>
                  <a:lnTo>
                    <a:pt x="638" y="1372"/>
                  </a:lnTo>
                  <a:lnTo>
                    <a:pt x="632" y="1370"/>
                  </a:lnTo>
                  <a:lnTo>
                    <a:pt x="626" y="1366"/>
                  </a:lnTo>
                  <a:lnTo>
                    <a:pt x="622" y="1360"/>
                  </a:lnTo>
                  <a:lnTo>
                    <a:pt x="620" y="1356"/>
                  </a:lnTo>
                  <a:lnTo>
                    <a:pt x="618" y="1350"/>
                  </a:lnTo>
                  <a:lnTo>
                    <a:pt x="618" y="1342"/>
                  </a:lnTo>
                  <a:lnTo>
                    <a:pt x="618" y="1062"/>
                  </a:lnTo>
                  <a:lnTo>
                    <a:pt x="570" y="1062"/>
                  </a:lnTo>
                  <a:lnTo>
                    <a:pt x="570" y="1342"/>
                  </a:lnTo>
                  <a:lnTo>
                    <a:pt x="570" y="1342"/>
                  </a:lnTo>
                  <a:lnTo>
                    <a:pt x="568" y="1350"/>
                  </a:lnTo>
                  <a:lnTo>
                    <a:pt x="568" y="1356"/>
                  </a:lnTo>
                  <a:lnTo>
                    <a:pt x="564" y="1360"/>
                  </a:lnTo>
                  <a:lnTo>
                    <a:pt x="560" y="1366"/>
                  </a:lnTo>
                  <a:lnTo>
                    <a:pt x="556" y="1370"/>
                  </a:lnTo>
                  <a:lnTo>
                    <a:pt x="550" y="1372"/>
                  </a:lnTo>
                  <a:lnTo>
                    <a:pt x="544" y="1374"/>
                  </a:lnTo>
                  <a:lnTo>
                    <a:pt x="536" y="1376"/>
                  </a:lnTo>
                  <a:lnTo>
                    <a:pt x="536" y="1376"/>
                  </a:lnTo>
                  <a:lnTo>
                    <a:pt x="530" y="1374"/>
                  </a:lnTo>
                  <a:lnTo>
                    <a:pt x="524" y="1372"/>
                  </a:lnTo>
                  <a:lnTo>
                    <a:pt x="518" y="1370"/>
                  </a:lnTo>
                  <a:lnTo>
                    <a:pt x="514" y="1366"/>
                  </a:lnTo>
                  <a:lnTo>
                    <a:pt x="510" y="1360"/>
                  </a:lnTo>
                  <a:lnTo>
                    <a:pt x="506" y="1356"/>
                  </a:lnTo>
                  <a:lnTo>
                    <a:pt x="504" y="1350"/>
                  </a:lnTo>
                  <a:lnTo>
                    <a:pt x="504" y="1342"/>
                  </a:lnTo>
                  <a:lnTo>
                    <a:pt x="504" y="1062"/>
                  </a:lnTo>
                  <a:lnTo>
                    <a:pt x="468" y="1062"/>
                  </a:lnTo>
                  <a:lnTo>
                    <a:pt x="468" y="1062"/>
                  </a:lnTo>
                  <a:lnTo>
                    <a:pt x="458" y="1062"/>
                  </a:lnTo>
                  <a:lnTo>
                    <a:pt x="450" y="1060"/>
                  </a:lnTo>
                  <a:lnTo>
                    <a:pt x="444" y="1056"/>
                  </a:lnTo>
                  <a:lnTo>
                    <a:pt x="436" y="1050"/>
                  </a:lnTo>
                  <a:lnTo>
                    <a:pt x="432" y="1044"/>
                  </a:lnTo>
                  <a:lnTo>
                    <a:pt x="428" y="1036"/>
                  </a:lnTo>
                  <a:lnTo>
                    <a:pt x="424" y="1028"/>
                  </a:lnTo>
                  <a:lnTo>
                    <a:pt x="424" y="1018"/>
                  </a:lnTo>
                  <a:lnTo>
                    <a:pt x="424" y="770"/>
                  </a:lnTo>
                  <a:lnTo>
                    <a:pt x="424" y="770"/>
                  </a:lnTo>
                  <a:lnTo>
                    <a:pt x="424" y="762"/>
                  </a:lnTo>
                  <a:lnTo>
                    <a:pt x="428" y="752"/>
                  </a:lnTo>
                  <a:lnTo>
                    <a:pt x="432" y="746"/>
                  </a:lnTo>
                  <a:lnTo>
                    <a:pt x="436" y="738"/>
                  </a:lnTo>
                  <a:lnTo>
                    <a:pt x="444" y="734"/>
                  </a:lnTo>
                  <a:lnTo>
                    <a:pt x="450" y="730"/>
                  </a:lnTo>
                  <a:lnTo>
                    <a:pt x="458" y="728"/>
                  </a:lnTo>
                  <a:lnTo>
                    <a:pt x="468" y="726"/>
                  </a:lnTo>
                  <a:lnTo>
                    <a:pt x="718" y="726"/>
                  </a:lnTo>
                  <a:lnTo>
                    <a:pt x="718" y="726"/>
                  </a:lnTo>
                  <a:lnTo>
                    <a:pt x="728" y="728"/>
                  </a:lnTo>
                  <a:lnTo>
                    <a:pt x="736" y="730"/>
                  </a:lnTo>
                  <a:lnTo>
                    <a:pt x="744" y="734"/>
                  </a:lnTo>
                  <a:lnTo>
                    <a:pt x="750" y="738"/>
                  </a:lnTo>
                  <a:lnTo>
                    <a:pt x="756" y="746"/>
                  </a:lnTo>
                  <a:lnTo>
                    <a:pt x="760" y="752"/>
                  </a:lnTo>
                  <a:lnTo>
                    <a:pt x="762" y="762"/>
                  </a:lnTo>
                  <a:lnTo>
                    <a:pt x="762" y="770"/>
                  </a:lnTo>
                  <a:lnTo>
                    <a:pt x="762" y="1018"/>
                  </a:lnTo>
                  <a:close/>
                  <a:moveTo>
                    <a:pt x="910" y="572"/>
                  </a:moveTo>
                  <a:lnTo>
                    <a:pt x="910" y="572"/>
                  </a:lnTo>
                  <a:lnTo>
                    <a:pt x="926" y="562"/>
                  </a:lnTo>
                  <a:lnTo>
                    <a:pt x="942" y="550"/>
                  </a:lnTo>
                  <a:lnTo>
                    <a:pt x="958" y="538"/>
                  </a:lnTo>
                  <a:lnTo>
                    <a:pt x="970" y="522"/>
                  </a:lnTo>
                  <a:lnTo>
                    <a:pt x="1032" y="522"/>
                  </a:lnTo>
                  <a:lnTo>
                    <a:pt x="1032" y="840"/>
                  </a:lnTo>
                  <a:lnTo>
                    <a:pt x="962" y="840"/>
                  </a:lnTo>
                  <a:lnTo>
                    <a:pt x="962" y="596"/>
                  </a:lnTo>
                  <a:lnTo>
                    <a:pt x="962" y="596"/>
                  </a:lnTo>
                  <a:lnTo>
                    <a:pt x="936" y="614"/>
                  </a:lnTo>
                  <a:lnTo>
                    <a:pt x="910" y="632"/>
                  </a:lnTo>
                  <a:lnTo>
                    <a:pt x="910" y="572"/>
                  </a:lnTo>
                  <a:close/>
                  <a:moveTo>
                    <a:pt x="996" y="1228"/>
                  </a:moveTo>
                  <a:lnTo>
                    <a:pt x="996" y="1228"/>
                  </a:lnTo>
                  <a:lnTo>
                    <a:pt x="974" y="1226"/>
                  </a:lnTo>
                  <a:lnTo>
                    <a:pt x="956" y="1222"/>
                  </a:lnTo>
                  <a:lnTo>
                    <a:pt x="940" y="1216"/>
                  </a:lnTo>
                  <a:lnTo>
                    <a:pt x="928" y="1208"/>
                  </a:lnTo>
                  <a:lnTo>
                    <a:pt x="920" y="1196"/>
                  </a:lnTo>
                  <a:lnTo>
                    <a:pt x="914" y="1180"/>
                  </a:lnTo>
                  <a:lnTo>
                    <a:pt x="910" y="1160"/>
                  </a:lnTo>
                  <a:lnTo>
                    <a:pt x="908" y="1138"/>
                  </a:lnTo>
                  <a:lnTo>
                    <a:pt x="972" y="1138"/>
                  </a:lnTo>
                  <a:lnTo>
                    <a:pt x="972" y="1138"/>
                  </a:lnTo>
                  <a:lnTo>
                    <a:pt x="972" y="1152"/>
                  </a:lnTo>
                  <a:lnTo>
                    <a:pt x="974" y="1160"/>
                  </a:lnTo>
                  <a:lnTo>
                    <a:pt x="976" y="1166"/>
                  </a:lnTo>
                  <a:lnTo>
                    <a:pt x="978" y="1172"/>
                  </a:lnTo>
                  <a:lnTo>
                    <a:pt x="984" y="1178"/>
                  </a:lnTo>
                  <a:lnTo>
                    <a:pt x="990" y="1180"/>
                  </a:lnTo>
                  <a:lnTo>
                    <a:pt x="1000" y="1180"/>
                  </a:lnTo>
                  <a:lnTo>
                    <a:pt x="1000" y="1180"/>
                  </a:lnTo>
                  <a:lnTo>
                    <a:pt x="1010" y="1180"/>
                  </a:lnTo>
                  <a:lnTo>
                    <a:pt x="1016" y="1176"/>
                  </a:lnTo>
                  <a:lnTo>
                    <a:pt x="1022" y="1172"/>
                  </a:lnTo>
                  <a:lnTo>
                    <a:pt x="1026" y="1164"/>
                  </a:lnTo>
                  <a:lnTo>
                    <a:pt x="1028" y="1158"/>
                  </a:lnTo>
                  <a:lnTo>
                    <a:pt x="1030" y="1148"/>
                  </a:lnTo>
                  <a:lnTo>
                    <a:pt x="1030" y="1132"/>
                  </a:lnTo>
                  <a:lnTo>
                    <a:pt x="1030" y="1132"/>
                  </a:lnTo>
                  <a:lnTo>
                    <a:pt x="1030" y="1116"/>
                  </a:lnTo>
                  <a:lnTo>
                    <a:pt x="1028" y="1104"/>
                  </a:lnTo>
                  <a:lnTo>
                    <a:pt x="1024" y="1096"/>
                  </a:lnTo>
                  <a:lnTo>
                    <a:pt x="1018" y="1090"/>
                  </a:lnTo>
                  <a:lnTo>
                    <a:pt x="1010" y="1086"/>
                  </a:lnTo>
                  <a:lnTo>
                    <a:pt x="1000" y="1084"/>
                  </a:lnTo>
                  <a:lnTo>
                    <a:pt x="972" y="1082"/>
                  </a:lnTo>
                  <a:lnTo>
                    <a:pt x="972" y="1032"/>
                  </a:lnTo>
                  <a:lnTo>
                    <a:pt x="972" y="1032"/>
                  </a:lnTo>
                  <a:lnTo>
                    <a:pt x="998" y="1032"/>
                  </a:lnTo>
                  <a:lnTo>
                    <a:pt x="1008" y="1030"/>
                  </a:lnTo>
                  <a:lnTo>
                    <a:pt x="1014" y="1026"/>
                  </a:lnTo>
                  <a:lnTo>
                    <a:pt x="1020" y="1020"/>
                  </a:lnTo>
                  <a:lnTo>
                    <a:pt x="1024" y="1012"/>
                  </a:lnTo>
                  <a:lnTo>
                    <a:pt x="1026" y="1000"/>
                  </a:lnTo>
                  <a:lnTo>
                    <a:pt x="1026" y="986"/>
                  </a:lnTo>
                  <a:lnTo>
                    <a:pt x="1026" y="986"/>
                  </a:lnTo>
                  <a:lnTo>
                    <a:pt x="1026" y="972"/>
                  </a:lnTo>
                  <a:lnTo>
                    <a:pt x="1022" y="960"/>
                  </a:lnTo>
                  <a:lnTo>
                    <a:pt x="1018" y="954"/>
                  </a:lnTo>
                  <a:lnTo>
                    <a:pt x="1014" y="950"/>
                  </a:lnTo>
                  <a:lnTo>
                    <a:pt x="1008" y="948"/>
                  </a:lnTo>
                  <a:lnTo>
                    <a:pt x="1002" y="948"/>
                  </a:lnTo>
                  <a:lnTo>
                    <a:pt x="1002" y="948"/>
                  </a:lnTo>
                  <a:lnTo>
                    <a:pt x="994" y="948"/>
                  </a:lnTo>
                  <a:lnTo>
                    <a:pt x="988" y="950"/>
                  </a:lnTo>
                  <a:lnTo>
                    <a:pt x="984" y="954"/>
                  </a:lnTo>
                  <a:lnTo>
                    <a:pt x="980" y="960"/>
                  </a:lnTo>
                  <a:lnTo>
                    <a:pt x="976" y="970"/>
                  </a:lnTo>
                  <a:lnTo>
                    <a:pt x="976" y="984"/>
                  </a:lnTo>
                  <a:lnTo>
                    <a:pt x="912" y="984"/>
                  </a:lnTo>
                  <a:lnTo>
                    <a:pt x="912" y="984"/>
                  </a:lnTo>
                  <a:lnTo>
                    <a:pt x="914" y="962"/>
                  </a:lnTo>
                  <a:lnTo>
                    <a:pt x="918" y="944"/>
                  </a:lnTo>
                  <a:lnTo>
                    <a:pt x="924" y="930"/>
                  </a:lnTo>
                  <a:lnTo>
                    <a:pt x="934" y="918"/>
                  </a:lnTo>
                  <a:lnTo>
                    <a:pt x="934" y="918"/>
                  </a:lnTo>
                  <a:lnTo>
                    <a:pt x="946" y="910"/>
                  </a:lnTo>
                  <a:lnTo>
                    <a:pt x="962" y="904"/>
                  </a:lnTo>
                  <a:lnTo>
                    <a:pt x="980" y="902"/>
                  </a:lnTo>
                  <a:lnTo>
                    <a:pt x="1004" y="900"/>
                  </a:lnTo>
                  <a:lnTo>
                    <a:pt x="1004" y="900"/>
                  </a:lnTo>
                  <a:lnTo>
                    <a:pt x="1024" y="902"/>
                  </a:lnTo>
                  <a:lnTo>
                    <a:pt x="1042" y="906"/>
                  </a:lnTo>
                  <a:lnTo>
                    <a:pt x="1056" y="912"/>
                  </a:lnTo>
                  <a:lnTo>
                    <a:pt x="1068" y="920"/>
                  </a:lnTo>
                  <a:lnTo>
                    <a:pt x="1078" y="932"/>
                  </a:lnTo>
                  <a:lnTo>
                    <a:pt x="1086" y="946"/>
                  </a:lnTo>
                  <a:lnTo>
                    <a:pt x="1088" y="964"/>
                  </a:lnTo>
                  <a:lnTo>
                    <a:pt x="1090" y="986"/>
                  </a:lnTo>
                  <a:lnTo>
                    <a:pt x="1090" y="986"/>
                  </a:lnTo>
                  <a:lnTo>
                    <a:pt x="1088" y="1008"/>
                  </a:lnTo>
                  <a:lnTo>
                    <a:pt x="1086" y="1020"/>
                  </a:lnTo>
                  <a:lnTo>
                    <a:pt x="1082" y="1030"/>
                  </a:lnTo>
                  <a:lnTo>
                    <a:pt x="1076" y="1040"/>
                  </a:lnTo>
                  <a:lnTo>
                    <a:pt x="1068" y="1048"/>
                  </a:lnTo>
                  <a:lnTo>
                    <a:pt x="1058" y="1054"/>
                  </a:lnTo>
                  <a:lnTo>
                    <a:pt x="1046" y="1056"/>
                  </a:lnTo>
                  <a:lnTo>
                    <a:pt x="1046" y="1058"/>
                  </a:lnTo>
                  <a:lnTo>
                    <a:pt x="1046" y="1058"/>
                  </a:lnTo>
                  <a:lnTo>
                    <a:pt x="1060" y="1062"/>
                  </a:lnTo>
                  <a:lnTo>
                    <a:pt x="1072" y="1068"/>
                  </a:lnTo>
                  <a:lnTo>
                    <a:pt x="1080" y="1076"/>
                  </a:lnTo>
                  <a:lnTo>
                    <a:pt x="1086" y="1086"/>
                  </a:lnTo>
                  <a:lnTo>
                    <a:pt x="1090" y="1096"/>
                  </a:lnTo>
                  <a:lnTo>
                    <a:pt x="1094" y="1108"/>
                  </a:lnTo>
                  <a:lnTo>
                    <a:pt x="1096" y="1134"/>
                  </a:lnTo>
                  <a:lnTo>
                    <a:pt x="1096" y="1134"/>
                  </a:lnTo>
                  <a:lnTo>
                    <a:pt x="1094" y="1158"/>
                  </a:lnTo>
                  <a:lnTo>
                    <a:pt x="1088" y="1178"/>
                  </a:lnTo>
                  <a:lnTo>
                    <a:pt x="1080" y="1194"/>
                  </a:lnTo>
                  <a:lnTo>
                    <a:pt x="1070" y="1206"/>
                  </a:lnTo>
                  <a:lnTo>
                    <a:pt x="1056" y="1216"/>
                  </a:lnTo>
                  <a:lnTo>
                    <a:pt x="1038" y="1222"/>
                  </a:lnTo>
                  <a:lnTo>
                    <a:pt x="1018" y="1226"/>
                  </a:lnTo>
                  <a:lnTo>
                    <a:pt x="996" y="1228"/>
                  </a:lnTo>
                  <a:lnTo>
                    <a:pt x="996" y="1228"/>
                  </a:lnTo>
                  <a:close/>
                  <a:moveTo>
                    <a:pt x="1066" y="708"/>
                  </a:moveTo>
                  <a:lnTo>
                    <a:pt x="1066" y="708"/>
                  </a:lnTo>
                  <a:lnTo>
                    <a:pt x="1066" y="664"/>
                  </a:lnTo>
                  <a:lnTo>
                    <a:pt x="1068" y="626"/>
                  </a:lnTo>
                  <a:lnTo>
                    <a:pt x="1072" y="592"/>
                  </a:lnTo>
                  <a:lnTo>
                    <a:pt x="1076" y="578"/>
                  </a:lnTo>
                  <a:lnTo>
                    <a:pt x="1080" y="566"/>
                  </a:lnTo>
                  <a:lnTo>
                    <a:pt x="1086" y="554"/>
                  </a:lnTo>
                  <a:lnTo>
                    <a:pt x="1092" y="544"/>
                  </a:lnTo>
                  <a:lnTo>
                    <a:pt x="1100" y="536"/>
                  </a:lnTo>
                  <a:lnTo>
                    <a:pt x="1110" y="530"/>
                  </a:lnTo>
                  <a:lnTo>
                    <a:pt x="1120" y="524"/>
                  </a:lnTo>
                  <a:lnTo>
                    <a:pt x="1134" y="522"/>
                  </a:lnTo>
                  <a:lnTo>
                    <a:pt x="1148" y="518"/>
                  </a:lnTo>
                  <a:lnTo>
                    <a:pt x="1164" y="518"/>
                  </a:lnTo>
                  <a:lnTo>
                    <a:pt x="1164" y="518"/>
                  </a:lnTo>
                  <a:lnTo>
                    <a:pt x="1180" y="520"/>
                  </a:lnTo>
                  <a:lnTo>
                    <a:pt x="1198" y="522"/>
                  </a:lnTo>
                  <a:lnTo>
                    <a:pt x="1212" y="528"/>
                  </a:lnTo>
                  <a:lnTo>
                    <a:pt x="1224" y="534"/>
                  </a:lnTo>
                  <a:lnTo>
                    <a:pt x="1234" y="544"/>
                  </a:lnTo>
                  <a:lnTo>
                    <a:pt x="1242" y="558"/>
                  </a:lnTo>
                  <a:lnTo>
                    <a:pt x="1246" y="572"/>
                  </a:lnTo>
                  <a:lnTo>
                    <a:pt x="1248" y="592"/>
                  </a:lnTo>
                  <a:lnTo>
                    <a:pt x="1180" y="592"/>
                  </a:lnTo>
                  <a:lnTo>
                    <a:pt x="1180" y="592"/>
                  </a:lnTo>
                  <a:lnTo>
                    <a:pt x="1180" y="580"/>
                  </a:lnTo>
                  <a:lnTo>
                    <a:pt x="1176" y="570"/>
                  </a:lnTo>
                  <a:lnTo>
                    <a:pt x="1176" y="570"/>
                  </a:lnTo>
                  <a:lnTo>
                    <a:pt x="1174" y="566"/>
                  </a:lnTo>
                  <a:lnTo>
                    <a:pt x="1170" y="564"/>
                  </a:lnTo>
                  <a:lnTo>
                    <a:pt x="1164" y="562"/>
                  </a:lnTo>
                  <a:lnTo>
                    <a:pt x="1158" y="562"/>
                  </a:lnTo>
                  <a:lnTo>
                    <a:pt x="1158" y="562"/>
                  </a:lnTo>
                  <a:lnTo>
                    <a:pt x="1148" y="562"/>
                  </a:lnTo>
                  <a:lnTo>
                    <a:pt x="1142" y="566"/>
                  </a:lnTo>
                  <a:lnTo>
                    <a:pt x="1136" y="570"/>
                  </a:lnTo>
                  <a:lnTo>
                    <a:pt x="1132" y="580"/>
                  </a:lnTo>
                  <a:lnTo>
                    <a:pt x="1130" y="592"/>
                  </a:lnTo>
                  <a:lnTo>
                    <a:pt x="1130" y="608"/>
                  </a:lnTo>
                  <a:lnTo>
                    <a:pt x="1128" y="656"/>
                  </a:lnTo>
                  <a:lnTo>
                    <a:pt x="1128" y="656"/>
                  </a:lnTo>
                  <a:lnTo>
                    <a:pt x="1140" y="646"/>
                  </a:lnTo>
                  <a:lnTo>
                    <a:pt x="1152" y="640"/>
                  </a:lnTo>
                  <a:lnTo>
                    <a:pt x="1164" y="636"/>
                  </a:lnTo>
                  <a:lnTo>
                    <a:pt x="1180" y="634"/>
                  </a:lnTo>
                  <a:lnTo>
                    <a:pt x="1180" y="634"/>
                  </a:lnTo>
                  <a:lnTo>
                    <a:pt x="1190" y="636"/>
                  </a:lnTo>
                  <a:lnTo>
                    <a:pt x="1200" y="638"/>
                  </a:lnTo>
                  <a:lnTo>
                    <a:pt x="1208" y="640"/>
                  </a:lnTo>
                  <a:lnTo>
                    <a:pt x="1216" y="644"/>
                  </a:lnTo>
                  <a:lnTo>
                    <a:pt x="1222" y="648"/>
                  </a:lnTo>
                  <a:lnTo>
                    <a:pt x="1228" y="654"/>
                  </a:lnTo>
                  <a:lnTo>
                    <a:pt x="1238" y="668"/>
                  </a:lnTo>
                  <a:lnTo>
                    <a:pt x="1244" y="682"/>
                  </a:lnTo>
                  <a:lnTo>
                    <a:pt x="1248" y="700"/>
                  </a:lnTo>
                  <a:lnTo>
                    <a:pt x="1250" y="718"/>
                  </a:lnTo>
                  <a:lnTo>
                    <a:pt x="1250" y="736"/>
                  </a:lnTo>
                  <a:lnTo>
                    <a:pt x="1250" y="736"/>
                  </a:lnTo>
                  <a:lnTo>
                    <a:pt x="1250" y="760"/>
                  </a:lnTo>
                  <a:lnTo>
                    <a:pt x="1246" y="780"/>
                  </a:lnTo>
                  <a:lnTo>
                    <a:pt x="1240" y="800"/>
                  </a:lnTo>
                  <a:lnTo>
                    <a:pt x="1230" y="816"/>
                  </a:lnTo>
                  <a:lnTo>
                    <a:pt x="1216" y="828"/>
                  </a:lnTo>
                  <a:lnTo>
                    <a:pt x="1208" y="832"/>
                  </a:lnTo>
                  <a:lnTo>
                    <a:pt x="1200" y="836"/>
                  </a:lnTo>
                  <a:lnTo>
                    <a:pt x="1180" y="842"/>
                  </a:lnTo>
                  <a:lnTo>
                    <a:pt x="1154" y="844"/>
                  </a:lnTo>
                  <a:lnTo>
                    <a:pt x="1154" y="844"/>
                  </a:lnTo>
                  <a:lnTo>
                    <a:pt x="1140" y="844"/>
                  </a:lnTo>
                  <a:lnTo>
                    <a:pt x="1128" y="842"/>
                  </a:lnTo>
                  <a:lnTo>
                    <a:pt x="1116" y="838"/>
                  </a:lnTo>
                  <a:lnTo>
                    <a:pt x="1106" y="832"/>
                  </a:lnTo>
                  <a:lnTo>
                    <a:pt x="1098" y="826"/>
                  </a:lnTo>
                  <a:lnTo>
                    <a:pt x="1090" y="818"/>
                  </a:lnTo>
                  <a:lnTo>
                    <a:pt x="1084" y="810"/>
                  </a:lnTo>
                  <a:lnTo>
                    <a:pt x="1080" y="800"/>
                  </a:lnTo>
                  <a:lnTo>
                    <a:pt x="1072" y="780"/>
                  </a:lnTo>
                  <a:lnTo>
                    <a:pt x="1068" y="758"/>
                  </a:lnTo>
                  <a:lnTo>
                    <a:pt x="1066" y="732"/>
                  </a:lnTo>
                  <a:lnTo>
                    <a:pt x="1066" y="708"/>
                  </a:lnTo>
                  <a:lnTo>
                    <a:pt x="1066" y="708"/>
                  </a:lnTo>
                  <a:close/>
                  <a:moveTo>
                    <a:pt x="1298" y="1150"/>
                  </a:moveTo>
                  <a:lnTo>
                    <a:pt x="1272" y="1150"/>
                  </a:lnTo>
                  <a:lnTo>
                    <a:pt x="1272" y="1224"/>
                  </a:lnTo>
                  <a:lnTo>
                    <a:pt x="1210" y="1224"/>
                  </a:lnTo>
                  <a:lnTo>
                    <a:pt x="1210" y="1150"/>
                  </a:lnTo>
                  <a:lnTo>
                    <a:pt x="1110" y="1150"/>
                  </a:lnTo>
                  <a:lnTo>
                    <a:pt x="1110" y="1086"/>
                  </a:lnTo>
                  <a:lnTo>
                    <a:pt x="1110" y="1086"/>
                  </a:lnTo>
                  <a:lnTo>
                    <a:pt x="1188" y="906"/>
                  </a:lnTo>
                  <a:lnTo>
                    <a:pt x="1272" y="906"/>
                  </a:lnTo>
                  <a:lnTo>
                    <a:pt x="1272" y="1102"/>
                  </a:lnTo>
                  <a:lnTo>
                    <a:pt x="1298" y="1102"/>
                  </a:lnTo>
                  <a:lnTo>
                    <a:pt x="1298" y="1150"/>
                  </a:lnTo>
                  <a:close/>
                  <a:moveTo>
                    <a:pt x="1394" y="740"/>
                  </a:moveTo>
                  <a:lnTo>
                    <a:pt x="1282" y="740"/>
                  </a:lnTo>
                  <a:lnTo>
                    <a:pt x="1282" y="694"/>
                  </a:lnTo>
                  <a:lnTo>
                    <a:pt x="1394" y="694"/>
                  </a:lnTo>
                  <a:lnTo>
                    <a:pt x="1394" y="74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9" name="TextBox 24"/>
          <p:cNvSpPr txBox="1">
            <a:spLocks noChangeArrowheads="1"/>
          </p:cNvSpPr>
          <p:nvPr userDrawn="1"/>
        </p:nvSpPr>
        <p:spPr bwMode="auto">
          <a:xfrm>
            <a:off x="12006876" y="2538297"/>
            <a:ext cx="1083466"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th Child</a:t>
            </a:r>
          </a:p>
        </p:txBody>
      </p:sp>
      <p:sp>
        <p:nvSpPr>
          <p:cNvPr id="80" name="Freeform 313"/>
          <p:cNvSpPr>
            <a:spLocks noEditPoints="1"/>
          </p:cNvSpPr>
          <p:nvPr userDrawn="1"/>
        </p:nvSpPr>
        <p:spPr bwMode="auto">
          <a:xfrm>
            <a:off x="11912950"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258 w 726"/>
              <a:gd name="T23" fmla="*/ 162 h 726"/>
              <a:gd name="T24" fmla="*/ 302 w 726"/>
              <a:gd name="T25" fmla="*/ 204 h 726"/>
              <a:gd name="T26" fmla="*/ 286 w 726"/>
              <a:gd name="T27" fmla="*/ 256 h 726"/>
              <a:gd name="T28" fmla="*/ 234 w 726"/>
              <a:gd name="T29" fmla="*/ 272 h 726"/>
              <a:gd name="T30" fmla="*/ 192 w 726"/>
              <a:gd name="T31" fmla="*/ 228 h 726"/>
              <a:gd name="T32" fmla="*/ 206 w 726"/>
              <a:gd name="T33" fmla="*/ 176 h 726"/>
              <a:gd name="T34" fmla="*/ 330 w 726"/>
              <a:gd name="T35" fmla="*/ 454 h 726"/>
              <a:gd name="T36" fmla="*/ 284 w 726"/>
              <a:gd name="T37" fmla="*/ 556 h 726"/>
              <a:gd name="T38" fmla="*/ 260 w 726"/>
              <a:gd name="T39" fmla="*/ 562 h 726"/>
              <a:gd name="T40" fmla="*/ 238 w 726"/>
              <a:gd name="T41" fmla="*/ 552 h 726"/>
              <a:gd name="T42" fmla="*/ 218 w 726"/>
              <a:gd name="T43" fmla="*/ 564 h 726"/>
              <a:gd name="T44" fmla="*/ 174 w 726"/>
              <a:gd name="T45" fmla="*/ 460 h 726"/>
              <a:gd name="T46" fmla="*/ 234 w 726"/>
              <a:gd name="T47" fmla="*/ 296 h 726"/>
              <a:gd name="T48" fmla="*/ 260 w 726"/>
              <a:gd name="T49" fmla="*/ 296 h 726"/>
              <a:gd name="T50" fmla="*/ 334 w 726"/>
              <a:gd name="T51" fmla="*/ 340 h 726"/>
              <a:gd name="T52" fmla="*/ 324 w 726"/>
              <a:gd name="T53" fmla="*/ 326 h 726"/>
              <a:gd name="T54" fmla="*/ 338 w 726"/>
              <a:gd name="T55" fmla="*/ 316 h 726"/>
              <a:gd name="T56" fmla="*/ 372 w 726"/>
              <a:gd name="T57" fmla="*/ 342 h 726"/>
              <a:gd name="T58" fmla="*/ 354 w 726"/>
              <a:gd name="T59" fmla="*/ 358 h 726"/>
              <a:gd name="T60" fmla="*/ 386 w 726"/>
              <a:gd name="T61" fmla="*/ 564 h 726"/>
              <a:gd name="T62" fmla="*/ 348 w 726"/>
              <a:gd name="T63" fmla="*/ 526 h 726"/>
              <a:gd name="T64" fmla="*/ 360 w 726"/>
              <a:gd name="T65" fmla="*/ 480 h 726"/>
              <a:gd name="T66" fmla="*/ 406 w 726"/>
              <a:gd name="T67" fmla="*/ 466 h 726"/>
              <a:gd name="T68" fmla="*/ 444 w 726"/>
              <a:gd name="T69" fmla="*/ 506 h 726"/>
              <a:gd name="T70" fmla="*/ 432 w 726"/>
              <a:gd name="T71" fmla="*/ 550 h 726"/>
              <a:gd name="T72" fmla="*/ 510 w 726"/>
              <a:gd name="T73" fmla="*/ 566 h 726"/>
              <a:gd name="T74" fmla="*/ 464 w 726"/>
              <a:gd name="T75" fmla="*/ 536 h 726"/>
              <a:gd name="T76" fmla="*/ 470 w 726"/>
              <a:gd name="T77" fmla="*/ 488 h 726"/>
              <a:gd name="T78" fmla="*/ 510 w 726"/>
              <a:gd name="T79" fmla="*/ 466 h 726"/>
              <a:gd name="T80" fmla="*/ 556 w 726"/>
              <a:gd name="T81" fmla="*/ 496 h 726"/>
              <a:gd name="T82" fmla="*/ 552 w 726"/>
              <a:gd name="T83" fmla="*/ 544 h 726"/>
              <a:gd name="T84" fmla="*/ 568 w 726"/>
              <a:gd name="T85" fmla="*/ 414 h 726"/>
              <a:gd name="T86" fmla="*/ 550 w 726"/>
              <a:gd name="T87" fmla="*/ 444 h 726"/>
              <a:gd name="T88" fmla="*/ 384 w 726"/>
              <a:gd name="T89" fmla="*/ 450 h 726"/>
              <a:gd name="T90" fmla="*/ 354 w 726"/>
              <a:gd name="T91" fmla="*/ 422 h 726"/>
              <a:gd name="T92" fmla="*/ 460 w 726"/>
              <a:gd name="T93" fmla="*/ 260 h 726"/>
              <a:gd name="T94" fmla="*/ 550 w 726"/>
              <a:gd name="T95" fmla="*/ 308 h 726"/>
              <a:gd name="T96" fmla="*/ 396 w 726"/>
              <a:gd name="T97" fmla="*/ 482 h 726"/>
              <a:gd name="T98" fmla="*/ 366 w 726"/>
              <a:gd name="T99" fmla="*/ 502 h 726"/>
              <a:gd name="T100" fmla="*/ 368 w 726"/>
              <a:gd name="T101" fmla="*/ 534 h 726"/>
              <a:gd name="T102" fmla="*/ 396 w 726"/>
              <a:gd name="T103" fmla="*/ 548 h 726"/>
              <a:gd name="T104" fmla="*/ 426 w 726"/>
              <a:gd name="T105" fmla="*/ 528 h 726"/>
              <a:gd name="T106" fmla="*/ 424 w 726"/>
              <a:gd name="T107" fmla="*/ 498 h 726"/>
              <a:gd name="T108" fmla="*/ 510 w 726"/>
              <a:gd name="T109" fmla="*/ 482 h 726"/>
              <a:gd name="T110" fmla="*/ 482 w 726"/>
              <a:gd name="T111" fmla="*/ 498 h 726"/>
              <a:gd name="T112" fmla="*/ 480 w 726"/>
              <a:gd name="T113" fmla="*/ 528 h 726"/>
              <a:gd name="T114" fmla="*/ 510 w 726"/>
              <a:gd name="T115" fmla="*/ 548 h 726"/>
              <a:gd name="T116" fmla="*/ 538 w 726"/>
              <a:gd name="T117" fmla="*/ 534 h 726"/>
              <a:gd name="T118" fmla="*/ 540 w 726"/>
              <a:gd name="T119" fmla="*/ 502 h 726"/>
              <a:gd name="T120" fmla="*/ 510 w 726"/>
              <a:gd name="T121" fmla="*/ 482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46" y="160"/>
                </a:moveTo>
                <a:lnTo>
                  <a:pt x="246" y="160"/>
                </a:lnTo>
                <a:lnTo>
                  <a:pt x="258" y="162"/>
                </a:lnTo>
                <a:lnTo>
                  <a:pt x="268" y="164"/>
                </a:lnTo>
                <a:lnTo>
                  <a:pt x="278" y="170"/>
                </a:lnTo>
                <a:lnTo>
                  <a:pt x="286" y="176"/>
                </a:lnTo>
                <a:lnTo>
                  <a:pt x="292" y="184"/>
                </a:lnTo>
                <a:lnTo>
                  <a:pt x="298" y="194"/>
                </a:lnTo>
                <a:lnTo>
                  <a:pt x="302" y="204"/>
                </a:lnTo>
                <a:lnTo>
                  <a:pt x="302" y="216"/>
                </a:lnTo>
                <a:lnTo>
                  <a:pt x="302" y="228"/>
                </a:lnTo>
                <a:lnTo>
                  <a:pt x="298" y="238"/>
                </a:lnTo>
                <a:lnTo>
                  <a:pt x="292" y="248"/>
                </a:lnTo>
                <a:lnTo>
                  <a:pt x="286" y="256"/>
                </a:lnTo>
                <a:lnTo>
                  <a:pt x="278" y="262"/>
                </a:lnTo>
                <a:lnTo>
                  <a:pt x="268" y="268"/>
                </a:lnTo>
                <a:lnTo>
                  <a:pt x="258" y="272"/>
                </a:lnTo>
                <a:lnTo>
                  <a:pt x="246" y="272"/>
                </a:lnTo>
                <a:lnTo>
                  <a:pt x="234" y="272"/>
                </a:lnTo>
                <a:lnTo>
                  <a:pt x="224" y="268"/>
                </a:lnTo>
                <a:lnTo>
                  <a:pt x="214" y="262"/>
                </a:lnTo>
                <a:lnTo>
                  <a:pt x="206" y="256"/>
                </a:lnTo>
                <a:lnTo>
                  <a:pt x="200" y="248"/>
                </a:lnTo>
                <a:lnTo>
                  <a:pt x="194" y="238"/>
                </a:lnTo>
                <a:lnTo>
                  <a:pt x="192" y="228"/>
                </a:lnTo>
                <a:lnTo>
                  <a:pt x="190" y="216"/>
                </a:lnTo>
                <a:lnTo>
                  <a:pt x="192" y="204"/>
                </a:lnTo>
                <a:lnTo>
                  <a:pt x="194" y="194"/>
                </a:lnTo>
                <a:lnTo>
                  <a:pt x="200" y="184"/>
                </a:lnTo>
                <a:lnTo>
                  <a:pt x="206" y="176"/>
                </a:lnTo>
                <a:lnTo>
                  <a:pt x="214" y="170"/>
                </a:lnTo>
                <a:lnTo>
                  <a:pt x="224" y="164"/>
                </a:lnTo>
                <a:lnTo>
                  <a:pt x="234" y="162"/>
                </a:lnTo>
                <a:lnTo>
                  <a:pt x="246" y="160"/>
                </a:lnTo>
                <a:close/>
                <a:moveTo>
                  <a:pt x="330" y="454"/>
                </a:moveTo>
                <a:lnTo>
                  <a:pt x="330" y="454"/>
                </a:lnTo>
                <a:lnTo>
                  <a:pt x="324" y="460"/>
                </a:lnTo>
                <a:lnTo>
                  <a:pt x="318" y="460"/>
                </a:lnTo>
                <a:lnTo>
                  <a:pt x="286" y="460"/>
                </a:lnTo>
                <a:lnTo>
                  <a:pt x="286" y="552"/>
                </a:lnTo>
                <a:lnTo>
                  <a:pt x="284" y="556"/>
                </a:lnTo>
                <a:lnTo>
                  <a:pt x="282" y="562"/>
                </a:lnTo>
                <a:lnTo>
                  <a:pt x="276" y="564"/>
                </a:lnTo>
                <a:lnTo>
                  <a:pt x="270" y="566"/>
                </a:lnTo>
                <a:lnTo>
                  <a:pt x="266" y="564"/>
                </a:lnTo>
                <a:lnTo>
                  <a:pt x="260" y="562"/>
                </a:lnTo>
                <a:lnTo>
                  <a:pt x="258" y="556"/>
                </a:lnTo>
                <a:lnTo>
                  <a:pt x="256" y="552"/>
                </a:lnTo>
                <a:lnTo>
                  <a:pt x="256" y="460"/>
                </a:lnTo>
                <a:lnTo>
                  <a:pt x="238" y="460"/>
                </a:lnTo>
                <a:lnTo>
                  <a:pt x="238" y="552"/>
                </a:lnTo>
                <a:lnTo>
                  <a:pt x="238" y="556"/>
                </a:lnTo>
                <a:lnTo>
                  <a:pt x="234" y="562"/>
                </a:lnTo>
                <a:lnTo>
                  <a:pt x="230" y="564"/>
                </a:lnTo>
                <a:lnTo>
                  <a:pt x="224" y="566"/>
                </a:lnTo>
                <a:lnTo>
                  <a:pt x="218" y="564"/>
                </a:lnTo>
                <a:lnTo>
                  <a:pt x="214" y="562"/>
                </a:lnTo>
                <a:lnTo>
                  <a:pt x="210" y="556"/>
                </a:lnTo>
                <a:lnTo>
                  <a:pt x="210" y="552"/>
                </a:lnTo>
                <a:lnTo>
                  <a:pt x="210" y="460"/>
                </a:lnTo>
                <a:lnTo>
                  <a:pt x="174" y="460"/>
                </a:lnTo>
                <a:lnTo>
                  <a:pt x="168" y="460"/>
                </a:lnTo>
                <a:lnTo>
                  <a:pt x="162" y="454"/>
                </a:lnTo>
                <a:lnTo>
                  <a:pt x="160" y="448"/>
                </a:lnTo>
                <a:lnTo>
                  <a:pt x="162" y="440"/>
                </a:lnTo>
                <a:lnTo>
                  <a:pt x="234" y="296"/>
                </a:lnTo>
                <a:lnTo>
                  <a:pt x="238" y="290"/>
                </a:lnTo>
                <a:lnTo>
                  <a:pt x="246" y="288"/>
                </a:lnTo>
                <a:lnTo>
                  <a:pt x="254" y="290"/>
                </a:lnTo>
                <a:lnTo>
                  <a:pt x="260" y="296"/>
                </a:lnTo>
                <a:lnTo>
                  <a:pt x="330" y="440"/>
                </a:lnTo>
                <a:lnTo>
                  <a:pt x="332" y="448"/>
                </a:lnTo>
                <a:lnTo>
                  <a:pt x="330" y="454"/>
                </a:lnTo>
                <a:close/>
                <a:moveTo>
                  <a:pt x="334" y="340"/>
                </a:moveTo>
                <a:lnTo>
                  <a:pt x="334" y="340"/>
                </a:lnTo>
                <a:lnTo>
                  <a:pt x="330" y="338"/>
                </a:lnTo>
                <a:lnTo>
                  <a:pt x="326" y="336"/>
                </a:lnTo>
                <a:lnTo>
                  <a:pt x="324" y="330"/>
                </a:lnTo>
                <a:lnTo>
                  <a:pt x="324" y="326"/>
                </a:lnTo>
                <a:lnTo>
                  <a:pt x="326" y="320"/>
                </a:lnTo>
                <a:lnTo>
                  <a:pt x="332" y="316"/>
                </a:lnTo>
                <a:lnTo>
                  <a:pt x="338" y="316"/>
                </a:lnTo>
                <a:lnTo>
                  <a:pt x="348" y="318"/>
                </a:lnTo>
                <a:lnTo>
                  <a:pt x="354" y="322"/>
                </a:lnTo>
                <a:lnTo>
                  <a:pt x="362" y="328"/>
                </a:lnTo>
                <a:lnTo>
                  <a:pt x="368" y="334"/>
                </a:lnTo>
                <a:lnTo>
                  <a:pt x="372" y="342"/>
                </a:lnTo>
                <a:lnTo>
                  <a:pt x="376" y="350"/>
                </a:lnTo>
                <a:lnTo>
                  <a:pt x="378" y="358"/>
                </a:lnTo>
                <a:lnTo>
                  <a:pt x="380" y="368"/>
                </a:lnTo>
                <a:lnTo>
                  <a:pt x="354" y="368"/>
                </a:lnTo>
                <a:lnTo>
                  <a:pt x="354" y="358"/>
                </a:lnTo>
                <a:lnTo>
                  <a:pt x="350" y="350"/>
                </a:lnTo>
                <a:lnTo>
                  <a:pt x="342" y="344"/>
                </a:lnTo>
                <a:lnTo>
                  <a:pt x="334" y="340"/>
                </a:lnTo>
                <a:close/>
                <a:moveTo>
                  <a:pt x="396" y="566"/>
                </a:moveTo>
                <a:lnTo>
                  <a:pt x="396" y="566"/>
                </a:lnTo>
                <a:lnTo>
                  <a:pt x="386" y="564"/>
                </a:lnTo>
                <a:lnTo>
                  <a:pt x="376" y="562"/>
                </a:lnTo>
                <a:lnTo>
                  <a:pt x="368" y="556"/>
                </a:lnTo>
                <a:lnTo>
                  <a:pt x="360" y="550"/>
                </a:lnTo>
                <a:lnTo>
                  <a:pt x="354" y="544"/>
                </a:lnTo>
                <a:lnTo>
                  <a:pt x="350" y="536"/>
                </a:lnTo>
                <a:lnTo>
                  <a:pt x="348" y="526"/>
                </a:lnTo>
                <a:lnTo>
                  <a:pt x="346" y="516"/>
                </a:lnTo>
                <a:lnTo>
                  <a:pt x="348" y="506"/>
                </a:lnTo>
                <a:lnTo>
                  <a:pt x="350" y="496"/>
                </a:lnTo>
                <a:lnTo>
                  <a:pt x="354" y="488"/>
                </a:lnTo>
                <a:lnTo>
                  <a:pt x="360" y="480"/>
                </a:lnTo>
                <a:lnTo>
                  <a:pt x="368" y="474"/>
                </a:lnTo>
                <a:lnTo>
                  <a:pt x="376" y="470"/>
                </a:lnTo>
                <a:lnTo>
                  <a:pt x="386" y="466"/>
                </a:lnTo>
                <a:lnTo>
                  <a:pt x="396" y="466"/>
                </a:lnTo>
                <a:lnTo>
                  <a:pt x="406" y="466"/>
                </a:lnTo>
                <a:lnTo>
                  <a:pt x="416" y="470"/>
                </a:lnTo>
                <a:lnTo>
                  <a:pt x="424" y="474"/>
                </a:lnTo>
                <a:lnTo>
                  <a:pt x="432" y="480"/>
                </a:lnTo>
                <a:lnTo>
                  <a:pt x="438" y="488"/>
                </a:lnTo>
                <a:lnTo>
                  <a:pt x="442" y="496"/>
                </a:lnTo>
                <a:lnTo>
                  <a:pt x="444" y="506"/>
                </a:lnTo>
                <a:lnTo>
                  <a:pt x="446" y="516"/>
                </a:lnTo>
                <a:lnTo>
                  <a:pt x="444" y="526"/>
                </a:lnTo>
                <a:lnTo>
                  <a:pt x="442" y="536"/>
                </a:lnTo>
                <a:lnTo>
                  <a:pt x="438" y="544"/>
                </a:lnTo>
                <a:lnTo>
                  <a:pt x="432" y="550"/>
                </a:lnTo>
                <a:lnTo>
                  <a:pt x="424" y="556"/>
                </a:lnTo>
                <a:lnTo>
                  <a:pt x="416" y="562"/>
                </a:lnTo>
                <a:lnTo>
                  <a:pt x="406" y="564"/>
                </a:lnTo>
                <a:lnTo>
                  <a:pt x="396" y="566"/>
                </a:lnTo>
                <a:close/>
                <a:moveTo>
                  <a:pt x="510" y="566"/>
                </a:moveTo>
                <a:lnTo>
                  <a:pt x="510" y="566"/>
                </a:lnTo>
                <a:lnTo>
                  <a:pt x="500" y="564"/>
                </a:lnTo>
                <a:lnTo>
                  <a:pt x="490" y="562"/>
                </a:lnTo>
                <a:lnTo>
                  <a:pt x="482" y="556"/>
                </a:lnTo>
                <a:lnTo>
                  <a:pt x="476" y="550"/>
                </a:lnTo>
                <a:lnTo>
                  <a:pt x="470" y="544"/>
                </a:lnTo>
                <a:lnTo>
                  <a:pt x="464" y="536"/>
                </a:lnTo>
                <a:lnTo>
                  <a:pt x="462" y="526"/>
                </a:lnTo>
                <a:lnTo>
                  <a:pt x="460" y="516"/>
                </a:lnTo>
                <a:lnTo>
                  <a:pt x="462" y="506"/>
                </a:lnTo>
                <a:lnTo>
                  <a:pt x="464" y="496"/>
                </a:lnTo>
                <a:lnTo>
                  <a:pt x="470" y="488"/>
                </a:lnTo>
                <a:lnTo>
                  <a:pt x="476" y="480"/>
                </a:lnTo>
                <a:lnTo>
                  <a:pt x="482" y="474"/>
                </a:lnTo>
                <a:lnTo>
                  <a:pt x="490" y="470"/>
                </a:lnTo>
                <a:lnTo>
                  <a:pt x="500" y="466"/>
                </a:lnTo>
                <a:lnTo>
                  <a:pt x="510" y="466"/>
                </a:lnTo>
                <a:lnTo>
                  <a:pt x="520" y="466"/>
                </a:lnTo>
                <a:lnTo>
                  <a:pt x="530" y="470"/>
                </a:lnTo>
                <a:lnTo>
                  <a:pt x="538" y="474"/>
                </a:lnTo>
                <a:lnTo>
                  <a:pt x="546" y="480"/>
                </a:lnTo>
                <a:lnTo>
                  <a:pt x="552" y="488"/>
                </a:lnTo>
                <a:lnTo>
                  <a:pt x="556" y="496"/>
                </a:lnTo>
                <a:lnTo>
                  <a:pt x="558" y="506"/>
                </a:lnTo>
                <a:lnTo>
                  <a:pt x="560" y="516"/>
                </a:lnTo>
                <a:lnTo>
                  <a:pt x="558" y="526"/>
                </a:lnTo>
                <a:lnTo>
                  <a:pt x="556" y="536"/>
                </a:lnTo>
                <a:lnTo>
                  <a:pt x="552" y="544"/>
                </a:lnTo>
                <a:lnTo>
                  <a:pt x="546" y="550"/>
                </a:lnTo>
                <a:lnTo>
                  <a:pt x="538" y="556"/>
                </a:lnTo>
                <a:lnTo>
                  <a:pt x="530" y="562"/>
                </a:lnTo>
                <a:lnTo>
                  <a:pt x="520" y="564"/>
                </a:lnTo>
                <a:lnTo>
                  <a:pt x="510" y="566"/>
                </a:lnTo>
                <a:close/>
                <a:moveTo>
                  <a:pt x="568" y="414"/>
                </a:moveTo>
                <a:lnTo>
                  <a:pt x="568" y="414"/>
                </a:lnTo>
                <a:lnTo>
                  <a:pt x="566" y="422"/>
                </a:lnTo>
                <a:lnTo>
                  <a:pt x="564" y="428"/>
                </a:lnTo>
                <a:lnTo>
                  <a:pt x="562" y="434"/>
                </a:lnTo>
                <a:lnTo>
                  <a:pt x="556" y="440"/>
                </a:lnTo>
                <a:lnTo>
                  <a:pt x="550" y="444"/>
                </a:lnTo>
                <a:lnTo>
                  <a:pt x="544" y="448"/>
                </a:lnTo>
                <a:lnTo>
                  <a:pt x="538" y="450"/>
                </a:lnTo>
                <a:lnTo>
                  <a:pt x="530" y="452"/>
                </a:lnTo>
                <a:lnTo>
                  <a:pt x="392" y="452"/>
                </a:lnTo>
                <a:lnTo>
                  <a:pt x="384" y="450"/>
                </a:lnTo>
                <a:lnTo>
                  <a:pt x="376" y="448"/>
                </a:lnTo>
                <a:lnTo>
                  <a:pt x="370" y="444"/>
                </a:lnTo>
                <a:lnTo>
                  <a:pt x="366" y="440"/>
                </a:lnTo>
                <a:lnTo>
                  <a:pt x="360" y="434"/>
                </a:lnTo>
                <a:lnTo>
                  <a:pt x="358" y="428"/>
                </a:lnTo>
                <a:lnTo>
                  <a:pt x="354" y="422"/>
                </a:lnTo>
                <a:lnTo>
                  <a:pt x="354" y="414"/>
                </a:lnTo>
                <a:lnTo>
                  <a:pt x="354" y="376"/>
                </a:lnTo>
                <a:lnTo>
                  <a:pt x="568" y="376"/>
                </a:lnTo>
                <a:lnTo>
                  <a:pt x="568" y="414"/>
                </a:lnTo>
                <a:close/>
                <a:moveTo>
                  <a:pt x="460" y="368"/>
                </a:moveTo>
                <a:lnTo>
                  <a:pt x="460" y="260"/>
                </a:lnTo>
                <a:lnTo>
                  <a:pt x="482" y="262"/>
                </a:lnTo>
                <a:lnTo>
                  <a:pt x="502" y="268"/>
                </a:lnTo>
                <a:lnTo>
                  <a:pt x="520" y="278"/>
                </a:lnTo>
                <a:lnTo>
                  <a:pt x="536" y="292"/>
                </a:lnTo>
                <a:lnTo>
                  <a:pt x="550" y="308"/>
                </a:lnTo>
                <a:lnTo>
                  <a:pt x="558" y="326"/>
                </a:lnTo>
                <a:lnTo>
                  <a:pt x="566" y="346"/>
                </a:lnTo>
                <a:lnTo>
                  <a:pt x="568" y="368"/>
                </a:lnTo>
                <a:lnTo>
                  <a:pt x="460" y="368"/>
                </a:lnTo>
                <a:close/>
                <a:moveTo>
                  <a:pt x="396" y="482"/>
                </a:moveTo>
                <a:lnTo>
                  <a:pt x="396" y="482"/>
                </a:lnTo>
                <a:lnTo>
                  <a:pt x="390" y="482"/>
                </a:lnTo>
                <a:lnTo>
                  <a:pt x="382" y="484"/>
                </a:lnTo>
                <a:lnTo>
                  <a:pt x="378" y="488"/>
                </a:lnTo>
                <a:lnTo>
                  <a:pt x="372" y="492"/>
                </a:lnTo>
                <a:lnTo>
                  <a:pt x="368" y="498"/>
                </a:lnTo>
                <a:lnTo>
                  <a:pt x="366" y="502"/>
                </a:lnTo>
                <a:lnTo>
                  <a:pt x="364" y="508"/>
                </a:lnTo>
                <a:lnTo>
                  <a:pt x="362" y="516"/>
                </a:lnTo>
                <a:lnTo>
                  <a:pt x="364" y="522"/>
                </a:lnTo>
                <a:lnTo>
                  <a:pt x="366" y="528"/>
                </a:lnTo>
                <a:lnTo>
                  <a:pt x="368" y="534"/>
                </a:lnTo>
                <a:lnTo>
                  <a:pt x="372" y="540"/>
                </a:lnTo>
                <a:lnTo>
                  <a:pt x="378" y="544"/>
                </a:lnTo>
                <a:lnTo>
                  <a:pt x="382" y="546"/>
                </a:lnTo>
                <a:lnTo>
                  <a:pt x="390" y="548"/>
                </a:lnTo>
                <a:lnTo>
                  <a:pt x="396" y="548"/>
                </a:lnTo>
                <a:lnTo>
                  <a:pt x="402" y="548"/>
                </a:lnTo>
                <a:lnTo>
                  <a:pt x="408" y="546"/>
                </a:lnTo>
                <a:lnTo>
                  <a:pt x="414" y="544"/>
                </a:lnTo>
                <a:lnTo>
                  <a:pt x="420" y="540"/>
                </a:lnTo>
                <a:lnTo>
                  <a:pt x="424" y="534"/>
                </a:lnTo>
                <a:lnTo>
                  <a:pt x="426" y="528"/>
                </a:lnTo>
                <a:lnTo>
                  <a:pt x="428" y="522"/>
                </a:lnTo>
                <a:lnTo>
                  <a:pt x="430" y="516"/>
                </a:lnTo>
                <a:lnTo>
                  <a:pt x="428" y="508"/>
                </a:lnTo>
                <a:lnTo>
                  <a:pt x="426" y="502"/>
                </a:lnTo>
                <a:lnTo>
                  <a:pt x="424" y="498"/>
                </a:lnTo>
                <a:lnTo>
                  <a:pt x="420" y="492"/>
                </a:lnTo>
                <a:lnTo>
                  <a:pt x="414" y="488"/>
                </a:lnTo>
                <a:lnTo>
                  <a:pt x="408" y="484"/>
                </a:lnTo>
                <a:lnTo>
                  <a:pt x="402" y="482"/>
                </a:lnTo>
                <a:lnTo>
                  <a:pt x="396" y="482"/>
                </a:lnTo>
                <a:close/>
                <a:moveTo>
                  <a:pt x="510" y="482"/>
                </a:moveTo>
                <a:lnTo>
                  <a:pt x="510" y="482"/>
                </a:lnTo>
                <a:lnTo>
                  <a:pt x="504" y="482"/>
                </a:lnTo>
                <a:lnTo>
                  <a:pt x="498" y="484"/>
                </a:lnTo>
                <a:lnTo>
                  <a:pt x="492" y="488"/>
                </a:lnTo>
                <a:lnTo>
                  <a:pt x="486" y="492"/>
                </a:lnTo>
                <a:lnTo>
                  <a:pt x="482" y="498"/>
                </a:lnTo>
                <a:lnTo>
                  <a:pt x="480" y="502"/>
                </a:lnTo>
                <a:lnTo>
                  <a:pt x="478" y="508"/>
                </a:lnTo>
                <a:lnTo>
                  <a:pt x="476" y="516"/>
                </a:lnTo>
                <a:lnTo>
                  <a:pt x="478" y="522"/>
                </a:lnTo>
                <a:lnTo>
                  <a:pt x="480" y="528"/>
                </a:lnTo>
                <a:lnTo>
                  <a:pt x="482" y="534"/>
                </a:lnTo>
                <a:lnTo>
                  <a:pt x="486" y="540"/>
                </a:lnTo>
                <a:lnTo>
                  <a:pt x="492" y="544"/>
                </a:lnTo>
                <a:lnTo>
                  <a:pt x="498" y="546"/>
                </a:lnTo>
                <a:lnTo>
                  <a:pt x="504" y="548"/>
                </a:lnTo>
                <a:lnTo>
                  <a:pt x="510" y="548"/>
                </a:lnTo>
                <a:lnTo>
                  <a:pt x="516" y="548"/>
                </a:lnTo>
                <a:lnTo>
                  <a:pt x="524" y="546"/>
                </a:lnTo>
                <a:lnTo>
                  <a:pt x="528" y="544"/>
                </a:lnTo>
                <a:lnTo>
                  <a:pt x="534" y="540"/>
                </a:lnTo>
                <a:lnTo>
                  <a:pt x="538" y="534"/>
                </a:lnTo>
                <a:lnTo>
                  <a:pt x="540" y="528"/>
                </a:lnTo>
                <a:lnTo>
                  <a:pt x="542" y="522"/>
                </a:lnTo>
                <a:lnTo>
                  <a:pt x="544" y="516"/>
                </a:lnTo>
                <a:lnTo>
                  <a:pt x="542" y="508"/>
                </a:lnTo>
                <a:lnTo>
                  <a:pt x="540" y="502"/>
                </a:lnTo>
                <a:lnTo>
                  <a:pt x="538" y="498"/>
                </a:lnTo>
                <a:lnTo>
                  <a:pt x="534" y="492"/>
                </a:lnTo>
                <a:lnTo>
                  <a:pt x="528" y="488"/>
                </a:lnTo>
                <a:lnTo>
                  <a:pt x="524" y="484"/>
                </a:lnTo>
                <a:lnTo>
                  <a:pt x="516" y="482"/>
                </a:lnTo>
                <a:lnTo>
                  <a:pt x="510" y="48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1" name="TextBox 17"/>
          <p:cNvSpPr txBox="1">
            <a:spLocks noChangeArrowheads="1"/>
          </p:cNvSpPr>
          <p:nvPr userDrawn="1"/>
        </p:nvSpPr>
        <p:spPr bwMode="auto">
          <a:xfrm>
            <a:off x="356056" y="4337616"/>
            <a:ext cx="1083898"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4-10</a:t>
            </a:r>
          </a:p>
        </p:txBody>
      </p:sp>
      <p:sp>
        <p:nvSpPr>
          <p:cNvPr id="82" name="Freeform 6"/>
          <p:cNvSpPr>
            <a:spLocks noEditPoints="1"/>
          </p:cNvSpPr>
          <p:nvPr userDrawn="1"/>
        </p:nvSpPr>
        <p:spPr bwMode="auto">
          <a:xfrm>
            <a:off x="265033" y="3057528"/>
            <a:ext cx="1260000" cy="1260000"/>
          </a:xfrm>
          <a:custGeom>
            <a:avLst/>
            <a:gdLst>
              <a:gd name="T0" fmla="*/ 512 w 1456"/>
              <a:gd name="T1" fmla="*/ 33 h 1456"/>
              <a:gd name="T2" fmla="*/ 265 w 1456"/>
              <a:gd name="T3" fmla="*/ 166 h 1456"/>
              <a:gd name="T4" fmla="*/ 89 w 1456"/>
              <a:gd name="T5" fmla="*/ 380 h 1456"/>
              <a:gd name="T6" fmla="*/ 5 w 1456"/>
              <a:gd name="T7" fmla="*/ 654 h 1456"/>
              <a:gd name="T8" fmla="*/ 23 w 1456"/>
              <a:gd name="T9" fmla="*/ 909 h 1456"/>
              <a:gd name="T10" fmla="*/ 145 w 1456"/>
              <a:gd name="T11" fmla="*/ 1163 h 1456"/>
              <a:gd name="T12" fmla="*/ 351 w 1456"/>
              <a:gd name="T13" fmla="*/ 1351 h 1456"/>
              <a:gd name="T14" fmla="*/ 618 w 1456"/>
              <a:gd name="T15" fmla="*/ 1448 h 1456"/>
              <a:gd name="T16" fmla="*/ 876 w 1456"/>
              <a:gd name="T17" fmla="*/ 1441 h 1456"/>
              <a:gd name="T18" fmla="*/ 1136 w 1456"/>
              <a:gd name="T19" fmla="*/ 1331 h 1456"/>
              <a:gd name="T20" fmla="*/ 1332 w 1456"/>
              <a:gd name="T21" fmla="*/ 1135 h 1456"/>
              <a:gd name="T22" fmla="*/ 1443 w 1456"/>
              <a:gd name="T23" fmla="*/ 875 h 1456"/>
              <a:gd name="T24" fmla="*/ 1448 w 1456"/>
              <a:gd name="T25" fmla="*/ 618 h 1456"/>
              <a:gd name="T26" fmla="*/ 1351 w 1456"/>
              <a:gd name="T27" fmla="*/ 351 h 1456"/>
              <a:gd name="T28" fmla="*/ 1164 w 1456"/>
              <a:gd name="T29" fmla="*/ 145 h 1456"/>
              <a:gd name="T30" fmla="*/ 911 w 1456"/>
              <a:gd name="T31" fmla="*/ 23 h 1456"/>
              <a:gd name="T32" fmla="*/ 642 w 1456"/>
              <a:gd name="T33" fmla="*/ 417 h 1456"/>
              <a:gd name="T34" fmla="*/ 730 w 1456"/>
              <a:gd name="T35" fmla="*/ 504 h 1456"/>
              <a:gd name="T36" fmla="*/ 660 w 1456"/>
              <a:gd name="T37" fmla="*/ 588 h 1456"/>
              <a:gd name="T38" fmla="*/ 563 w 1456"/>
              <a:gd name="T39" fmla="*/ 537 h 1456"/>
              <a:gd name="T40" fmla="*/ 595 w 1456"/>
              <a:gd name="T41" fmla="*/ 432 h 1456"/>
              <a:gd name="T42" fmla="*/ 385 w 1456"/>
              <a:gd name="T43" fmla="*/ 423 h 1456"/>
              <a:gd name="T44" fmla="*/ 436 w 1456"/>
              <a:gd name="T45" fmla="*/ 520 h 1456"/>
              <a:gd name="T46" fmla="*/ 352 w 1456"/>
              <a:gd name="T47" fmla="*/ 590 h 1456"/>
              <a:gd name="T48" fmla="*/ 265 w 1456"/>
              <a:gd name="T49" fmla="*/ 502 h 1456"/>
              <a:gd name="T50" fmla="*/ 334 w 1456"/>
              <a:gd name="T51" fmla="*/ 418 h 1456"/>
              <a:gd name="T52" fmla="*/ 446 w 1456"/>
              <a:gd name="T53" fmla="*/ 833 h 1456"/>
              <a:gd name="T54" fmla="*/ 390 w 1456"/>
              <a:gd name="T55" fmla="*/ 1039 h 1456"/>
              <a:gd name="T56" fmla="*/ 339 w 1456"/>
              <a:gd name="T57" fmla="*/ 1016 h 1456"/>
              <a:gd name="T58" fmla="*/ 301 w 1456"/>
              <a:gd name="T59" fmla="*/ 1033 h 1456"/>
              <a:gd name="T60" fmla="*/ 250 w 1456"/>
              <a:gd name="T61" fmla="*/ 828 h 1456"/>
              <a:gd name="T62" fmla="*/ 257 w 1456"/>
              <a:gd name="T63" fmla="*/ 621 h 1456"/>
              <a:gd name="T64" fmla="*/ 460 w 1456"/>
              <a:gd name="T65" fmla="*/ 641 h 1456"/>
              <a:gd name="T66" fmla="*/ 703 w 1456"/>
              <a:gd name="T67" fmla="*/ 878 h 1456"/>
              <a:gd name="T68" fmla="*/ 672 w 1456"/>
              <a:gd name="T69" fmla="*/ 1038 h 1456"/>
              <a:gd name="T70" fmla="*/ 629 w 1456"/>
              <a:gd name="T71" fmla="*/ 1026 h 1456"/>
              <a:gd name="T72" fmla="*/ 586 w 1456"/>
              <a:gd name="T73" fmla="*/ 1016 h 1456"/>
              <a:gd name="T74" fmla="*/ 514 w 1456"/>
              <a:gd name="T75" fmla="*/ 868 h 1456"/>
              <a:gd name="T76" fmla="*/ 631 w 1456"/>
              <a:gd name="T77" fmla="*/ 616 h 1456"/>
              <a:gd name="T78" fmla="*/ 772 w 1456"/>
              <a:gd name="T79" fmla="*/ 847 h 1456"/>
              <a:gd name="T80" fmla="*/ 901 w 1456"/>
              <a:gd name="T81" fmla="*/ 1015 h 1456"/>
              <a:gd name="T82" fmla="*/ 884 w 1456"/>
              <a:gd name="T83" fmla="*/ 777 h 1456"/>
              <a:gd name="T84" fmla="*/ 856 w 1456"/>
              <a:gd name="T85" fmla="*/ 636 h 1456"/>
              <a:gd name="T86" fmla="*/ 995 w 1456"/>
              <a:gd name="T87" fmla="*/ 596 h 1456"/>
              <a:gd name="T88" fmla="*/ 1046 w 1456"/>
              <a:gd name="T89" fmla="*/ 1013 h 1456"/>
              <a:gd name="T90" fmla="*/ 996 w 1456"/>
              <a:gd name="T91" fmla="*/ 939 h 1456"/>
              <a:gd name="T92" fmla="*/ 1008 w 1456"/>
              <a:gd name="T93" fmla="*/ 782 h 1456"/>
              <a:gd name="T94" fmla="*/ 1069 w 1456"/>
              <a:gd name="T95" fmla="*/ 754 h 1456"/>
              <a:gd name="T96" fmla="*/ 1132 w 1456"/>
              <a:gd name="T97" fmla="*/ 791 h 1456"/>
              <a:gd name="T98" fmla="*/ 1136 w 1456"/>
              <a:gd name="T99" fmla="*/ 960 h 1456"/>
              <a:gd name="T100" fmla="*/ 1080 w 1456"/>
              <a:gd name="T101" fmla="*/ 1015 h 1456"/>
              <a:gd name="T102" fmla="*/ 1069 w 1456"/>
              <a:gd name="T103" fmla="*/ 792 h 1456"/>
              <a:gd name="T104" fmla="*/ 1046 w 1456"/>
              <a:gd name="T105" fmla="*/ 884 h 1456"/>
              <a:gd name="T106" fmla="*/ 1069 w 1456"/>
              <a:gd name="T107" fmla="*/ 978 h 1456"/>
              <a:gd name="T108" fmla="*/ 1090 w 1456"/>
              <a:gd name="T109" fmla="*/ 884 h 1456"/>
              <a:gd name="T110" fmla="*/ 1069 w 1456"/>
              <a:gd name="T111" fmla="*/ 792 h 14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456" h="1456">
                <a:moveTo>
                  <a:pt x="728" y="0"/>
                </a:moveTo>
                <a:lnTo>
                  <a:pt x="728" y="0"/>
                </a:lnTo>
                <a:lnTo>
                  <a:pt x="692" y="0"/>
                </a:lnTo>
                <a:lnTo>
                  <a:pt x="654" y="3"/>
                </a:lnTo>
                <a:lnTo>
                  <a:pt x="618" y="8"/>
                </a:lnTo>
                <a:lnTo>
                  <a:pt x="581" y="15"/>
                </a:lnTo>
                <a:lnTo>
                  <a:pt x="547" y="23"/>
                </a:lnTo>
                <a:lnTo>
                  <a:pt x="512" y="33"/>
                </a:lnTo>
                <a:lnTo>
                  <a:pt x="478" y="44"/>
                </a:lnTo>
                <a:lnTo>
                  <a:pt x="445" y="58"/>
                </a:lnTo>
                <a:lnTo>
                  <a:pt x="413" y="71"/>
                </a:lnTo>
                <a:lnTo>
                  <a:pt x="382" y="87"/>
                </a:lnTo>
                <a:lnTo>
                  <a:pt x="351" y="105"/>
                </a:lnTo>
                <a:lnTo>
                  <a:pt x="321" y="124"/>
                </a:lnTo>
                <a:lnTo>
                  <a:pt x="293" y="145"/>
                </a:lnTo>
                <a:lnTo>
                  <a:pt x="265" y="166"/>
                </a:lnTo>
                <a:lnTo>
                  <a:pt x="239" y="189"/>
                </a:lnTo>
                <a:lnTo>
                  <a:pt x="214" y="212"/>
                </a:lnTo>
                <a:lnTo>
                  <a:pt x="189" y="239"/>
                </a:lnTo>
                <a:lnTo>
                  <a:pt x="166" y="265"/>
                </a:lnTo>
                <a:lnTo>
                  <a:pt x="145" y="292"/>
                </a:lnTo>
                <a:lnTo>
                  <a:pt x="125" y="321"/>
                </a:lnTo>
                <a:lnTo>
                  <a:pt x="105" y="351"/>
                </a:lnTo>
                <a:lnTo>
                  <a:pt x="89" y="380"/>
                </a:lnTo>
                <a:lnTo>
                  <a:pt x="72" y="412"/>
                </a:lnTo>
                <a:lnTo>
                  <a:pt x="58" y="445"/>
                </a:lnTo>
                <a:lnTo>
                  <a:pt x="44" y="478"/>
                </a:lnTo>
                <a:lnTo>
                  <a:pt x="33" y="511"/>
                </a:lnTo>
                <a:lnTo>
                  <a:pt x="23" y="545"/>
                </a:lnTo>
                <a:lnTo>
                  <a:pt x="15" y="581"/>
                </a:lnTo>
                <a:lnTo>
                  <a:pt x="8" y="618"/>
                </a:lnTo>
                <a:lnTo>
                  <a:pt x="5" y="654"/>
                </a:lnTo>
                <a:lnTo>
                  <a:pt x="2" y="690"/>
                </a:lnTo>
                <a:lnTo>
                  <a:pt x="0" y="728"/>
                </a:lnTo>
                <a:lnTo>
                  <a:pt x="2" y="766"/>
                </a:lnTo>
                <a:lnTo>
                  <a:pt x="5" y="802"/>
                </a:lnTo>
                <a:lnTo>
                  <a:pt x="8" y="838"/>
                </a:lnTo>
                <a:lnTo>
                  <a:pt x="15" y="875"/>
                </a:lnTo>
                <a:lnTo>
                  <a:pt x="23" y="909"/>
                </a:lnTo>
                <a:lnTo>
                  <a:pt x="33" y="944"/>
                </a:lnTo>
                <a:lnTo>
                  <a:pt x="44" y="978"/>
                </a:lnTo>
                <a:lnTo>
                  <a:pt x="58" y="1011"/>
                </a:lnTo>
                <a:lnTo>
                  <a:pt x="72" y="1044"/>
                </a:lnTo>
                <a:lnTo>
                  <a:pt x="89" y="1076"/>
                </a:lnTo>
                <a:lnTo>
                  <a:pt x="105" y="1105"/>
                </a:lnTo>
                <a:lnTo>
                  <a:pt x="125" y="1135"/>
                </a:lnTo>
                <a:lnTo>
                  <a:pt x="145" y="1163"/>
                </a:lnTo>
                <a:lnTo>
                  <a:pt x="166" y="1191"/>
                </a:lnTo>
                <a:lnTo>
                  <a:pt x="189" y="1217"/>
                </a:lnTo>
                <a:lnTo>
                  <a:pt x="214" y="1244"/>
                </a:lnTo>
                <a:lnTo>
                  <a:pt x="239" y="1267"/>
                </a:lnTo>
                <a:lnTo>
                  <a:pt x="265" y="1290"/>
                </a:lnTo>
                <a:lnTo>
                  <a:pt x="293" y="1311"/>
                </a:lnTo>
                <a:lnTo>
                  <a:pt x="321" y="1331"/>
                </a:lnTo>
                <a:lnTo>
                  <a:pt x="351" y="1351"/>
                </a:lnTo>
                <a:lnTo>
                  <a:pt x="382" y="1369"/>
                </a:lnTo>
                <a:lnTo>
                  <a:pt x="413" y="1384"/>
                </a:lnTo>
                <a:lnTo>
                  <a:pt x="445" y="1398"/>
                </a:lnTo>
                <a:lnTo>
                  <a:pt x="478" y="1412"/>
                </a:lnTo>
                <a:lnTo>
                  <a:pt x="512" y="1423"/>
                </a:lnTo>
                <a:lnTo>
                  <a:pt x="547" y="1433"/>
                </a:lnTo>
                <a:lnTo>
                  <a:pt x="581" y="1441"/>
                </a:lnTo>
                <a:lnTo>
                  <a:pt x="618" y="1448"/>
                </a:lnTo>
                <a:lnTo>
                  <a:pt x="654" y="1453"/>
                </a:lnTo>
                <a:lnTo>
                  <a:pt x="692" y="1454"/>
                </a:lnTo>
                <a:lnTo>
                  <a:pt x="728" y="1456"/>
                </a:lnTo>
                <a:lnTo>
                  <a:pt x="766" y="1454"/>
                </a:lnTo>
                <a:lnTo>
                  <a:pt x="804" y="1453"/>
                </a:lnTo>
                <a:lnTo>
                  <a:pt x="840" y="1448"/>
                </a:lnTo>
                <a:lnTo>
                  <a:pt x="876" y="1441"/>
                </a:lnTo>
                <a:lnTo>
                  <a:pt x="911" y="1433"/>
                </a:lnTo>
                <a:lnTo>
                  <a:pt x="945" y="1423"/>
                </a:lnTo>
                <a:lnTo>
                  <a:pt x="978" y="1412"/>
                </a:lnTo>
                <a:lnTo>
                  <a:pt x="1013" y="1398"/>
                </a:lnTo>
                <a:lnTo>
                  <a:pt x="1044" y="1384"/>
                </a:lnTo>
                <a:lnTo>
                  <a:pt x="1076" y="1369"/>
                </a:lnTo>
                <a:lnTo>
                  <a:pt x="1107" y="1351"/>
                </a:lnTo>
                <a:lnTo>
                  <a:pt x="1136" y="1331"/>
                </a:lnTo>
                <a:lnTo>
                  <a:pt x="1164" y="1311"/>
                </a:lnTo>
                <a:lnTo>
                  <a:pt x="1192" y="1290"/>
                </a:lnTo>
                <a:lnTo>
                  <a:pt x="1219" y="1267"/>
                </a:lnTo>
                <a:lnTo>
                  <a:pt x="1244" y="1244"/>
                </a:lnTo>
                <a:lnTo>
                  <a:pt x="1268" y="1217"/>
                </a:lnTo>
                <a:lnTo>
                  <a:pt x="1291" y="1191"/>
                </a:lnTo>
                <a:lnTo>
                  <a:pt x="1313" y="1163"/>
                </a:lnTo>
                <a:lnTo>
                  <a:pt x="1332" y="1135"/>
                </a:lnTo>
                <a:lnTo>
                  <a:pt x="1351" y="1105"/>
                </a:lnTo>
                <a:lnTo>
                  <a:pt x="1369" y="1076"/>
                </a:lnTo>
                <a:lnTo>
                  <a:pt x="1385" y="1044"/>
                </a:lnTo>
                <a:lnTo>
                  <a:pt x="1400" y="1011"/>
                </a:lnTo>
                <a:lnTo>
                  <a:pt x="1413" y="978"/>
                </a:lnTo>
                <a:lnTo>
                  <a:pt x="1425" y="944"/>
                </a:lnTo>
                <a:lnTo>
                  <a:pt x="1435" y="909"/>
                </a:lnTo>
                <a:lnTo>
                  <a:pt x="1443" y="875"/>
                </a:lnTo>
                <a:lnTo>
                  <a:pt x="1448" y="838"/>
                </a:lnTo>
                <a:lnTo>
                  <a:pt x="1453" y="802"/>
                </a:lnTo>
                <a:lnTo>
                  <a:pt x="1456" y="766"/>
                </a:lnTo>
                <a:lnTo>
                  <a:pt x="1456" y="728"/>
                </a:lnTo>
                <a:lnTo>
                  <a:pt x="1456" y="690"/>
                </a:lnTo>
                <a:lnTo>
                  <a:pt x="1453" y="654"/>
                </a:lnTo>
                <a:lnTo>
                  <a:pt x="1448" y="618"/>
                </a:lnTo>
                <a:lnTo>
                  <a:pt x="1443" y="581"/>
                </a:lnTo>
                <a:lnTo>
                  <a:pt x="1435" y="545"/>
                </a:lnTo>
                <a:lnTo>
                  <a:pt x="1425" y="511"/>
                </a:lnTo>
                <a:lnTo>
                  <a:pt x="1413" y="478"/>
                </a:lnTo>
                <a:lnTo>
                  <a:pt x="1400" y="445"/>
                </a:lnTo>
                <a:lnTo>
                  <a:pt x="1385" y="412"/>
                </a:lnTo>
                <a:lnTo>
                  <a:pt x="1369" y="380"/>
                </a:lnTo>
                <a:lnTo>
                  <a:pt x="1351" y="351"/>
                </a:lnTo>
                <a:lnTo>
                  <a:pt x="1332" y="321"/>
                </a:lnTo>
                <a:lnTo>
                  <a:pt x="1313" y="292"/>
                </a:lnTo>
                <a:lnTo>
                  <a:pt x="1291" y="265"/>
                </a:lnTo>
                <a:lnTo>
                  <a:pt x="1268" y="239"/>
                </a:lnTo>
                <a:lnTo>
                  <a:pt x="1244" y="212"/>
                </a:lnTo>
                <a:lnTo>
                  <a:pt x="1219" y="189"/>
                </a:lnTo>
                <a:lnTo>
                  <a:pt x="1192" y="166"/>
                </a:lnTo>
                <a:lnTo>
                  <a:pt x="1164" y="145"/>
                </a:lnTo>
                <a:lnTo>
                  <a:pt x="1136" y="124"/>
                </a:lnTo>
                <a:lnTo>
                  <a:pt x="1107" y="105"/>
                </a:lnTo>
                <a:lnTo>
                  <a:pt x="1076" y="87"/>
                </a:lnTo>
                <a:lnTo>
                  <a:pt x="1044" y="71"/>
                </a:lnTo>
                <a:lnTo>
                  <a:pt x="1013" y="58"/>
                </a:lnTo>
                <a:lnTo>
                  <a:pt x="978" y="44"/>
                </a:lnTo>
                <a:lnTo>
                  <a:pt x="945" y="33"/>
                </a:lnTo>
                <a:lnTo>
                  <a:pt x="911" y="23"/>
                </a:lnTo>
                <a:lnTo>
                  <a:pt x="876" y="15"/>
                </a:lnTo>
                <a:lnTo>
                  <a:pt x="840" y="8"/>
                </a:lnTo>
                <a:lnTo>
                  <a:pt x="804" y="3"/>
                </a:lnTo>
                <a:lnTo>
                  <a:pt x="766" y="0"/>
                </a:lnTo>
                <a:lnTo>
                  <a:pt x="728" y="0"/>
                </a:lnTo>
                <a:close/>
                <a:moveTo>
                  <a:pt x="642" y="417"/>
                </a:moveTo>
                <a:lnTo>
                  <a:pt x="642" y="417"/>
                </a:lnTo>
                <a:lnTo>
                  <a:pt x="660" y="418"/>
                </a:lnTo>
                <a:lnTo>
                  <a:pt x="677" y="423"/>
                </a:lnTo>
                <a:lnTo>
                  <a:pt x="692" y="432"/>
                </a:lnTo>
                <a:lnTo>
                  <a:pt x="703" y="443"/>
                </a:lnTo>
                <a:lnTo>
                  <a:pt x="715" y="455"/>
                </a:lnTo>
                <a:lnTo>
                  <a:pt x="721" y="469"/>
                </a:lnTo>
                <a:lnTo>
                  <a:pt x="726" y="486"/>
                </a:lnTo>
                <a:lnTo>
                  <a:pt x="730" y="504"/>
                </a:lnTo>
                <a:lnTo>
                  <a:pt x="726" y="520"/>
                </a:lnTo>
                <a:lnTo>
                  <a:pt x="721" y="537"/>
                </a:lnTo>
                <a:lnTo>
                  <a:pt x="715" y="552"/>
                </a:lnTo>
                <a:lnTo>
                  <a:pt x="703" y="563"/>
                </a:lnTo>
                <a:lnTo>
                  <a:pt x="692" y="575"/>
                </a:lnTo>
                <a:lnTo>
                  <a:pt x="677" y="583"/>
                </a:lnTo>
                <a:lnTo>
                  <a:pt x="660" y="588"/>
                </a:lnTo>
                <a:lnTo>
                  <a:pt x="642" y="590"/>
                </a:lnTo>
                <a:lnTo>
                  <a:pt x="626" y="588"/>
                </a:lnTo>
                <a:lnTo>
                  <a:pt x="609" y="583"/>
                </a:lnTo>
                <a:lnTo>
                  <a:pt x="595" y="575"/>
                </a:lnTo>
                <a:lnTo>
                  <a:pt x="581" y="563"/>
                </a:lnTo>
                <a:lnTo>
                  <a:pt x="572" y="552"/>
                </a:lnTo>
                <a:lnTo>
                  <a:pt x="563" y="537"/>
                </a:lnTo>
                <a:lnTo>
                  <a:pt x="558" y="520"/>
                </a:lnTo>
                <a:lnTo>
                  <a:pt x="557" y="504"/>
                </a:lnTo>
                <a:lnTo>
                  <a:pt x="558" y="486"/>
                </a:lnTo>
                <a:lnTo>
                  <a:pt x="563" y="469"/>
                </a:lnTo>
                <a:lnTo>
                  <a:pt x="572" y="455"/>
                </a:lnTo>
                <a:lnTo>
                  <a:pt x="581" y="443"/>
                </a:lnTo>
                <a:lnTo>
                  <a:pt x="595" y="432"/>
                </a:lnTo>
                <a:lnTo>
                  <a:pt x="609" y="423"/>
                </a:lnTo>
                <a:lnTo>
                  <a:pt x="626" y="418"/>
                </a:lnTo>
                <a:lnTo>
                  <a:pt x="642" y="417"/>
                </a:lnTo>
                <a:close/>
                <a:moveTo>
                  <a:pt x="352" y="417"/>
                </a:moveTo>
                <a:lnTo>
                  <a:pt x="352" y="417"/>
                </a:lnTo>
                <a:lnTo>
                  <a:pt x="369" y="418"/>
                </a:lnTo>
                <a:lnTo>
                  <a:pt x="385" y="423"/>
                </a:lnTo>
                <a:lnTo>
                  <a:pt x="400" y="432"/>
                </a:lnTo>
                <a:lnTo>
                  <a:pt x="412" y="443"/>
                </a:lnTo>
                <a:lnTo>
                  <a:pt x="423" y="455"/>
                </a:lnTo>
                <a:lnTo>
                  <a:pt x="432" y="469"/>
                </a:lnTo>
                <a:lnTo>
                  <a:pt x="436" y="486"/>
                </a:lnTo>
                <a:lnTo>
                  <a:pt x="438" y="502"/>
                </a:lnTo>
                <a:lnTo>
                  <a:pt x="436" y="520"/>
                </a:lnTo>
                <a:lnTo>
                  <a:pt x="432" y="537"/>
                </a:lnTo>
                <a:lnTo>
                  <a:pt x="423" y="552"/>
                </a:lnTo>
                <a:lnTo>
                  <a:pt x="412" y="563"/>
                </a:lnTo>
                <a:lnTo>
                  <a:pt x="400" y="575"/>
                </a:lnTo>
                <a:lnTo>
                  <a:pt x="385" y="581"/>
                </a:lnTo>
                <a:lnTo>
                  <a:pt x="369" y="588"/>
                </a:lnTo>
                <a:lnTo>
                  <a:pt x="352" y="590"/>
                </a:lnTo>
                <a:lnTo>
                  <a:pt x="334" y="588"/>
                </a:lnTo>
                <a:lnTo>
                  <a:pt x="318" y="581"/>
                </a:lnTo>
                <a:lnTo>
                  <a:pt x="303" y="575"/>
                </a:lnTo>
                <a:lnTo>
                  <a:pt x="292" y="563"/>
                </a:lnTo>
                <a:lnTo>
                  <a:pt x="280" y="552"/>
                </a:lnTo>
                <a:lnTo>
                  <a:pt x="273" y="537"/>
                </a:lnTo>
                <a:lnTo>
                  <a:pt x="267" y="520"/>
                </a:lnTo>
                <a:lnTo>
                  <a:pt x="265" y="502"/>
                </a:lnTo>
                <a:lnTo>
                  <a:pt x="267" y="486"/>
                </a:lnTo>
                <a:lnTo>
                  <a:pt x="273" y="469"/>
                </a:lnTo>
                <a:lnTo>
                  <a:pt x="280" y="455"/>
                </a:lnTo>
                <a:lnTo>
                  <a:pt x="292" y="443"/>
                </a:lnTo>
                <a:lnTo>
                  <a:pt x="303" y="432"/>
                </a:lnTo>
                <a:lnTo>
                  <a:pt x="318" y="423"/>
                </a:lnTo>
                <a:lnTo>
                  <a:pt x="334" y="418"/>
                </a:lnTo>
                <a:lnTo>
                  <a:pt x="352" y="417"/>
                </a:lnTo>
                <a:close/>
                <a:moveTo>
                  <a:pt x="460" y="814"/>
                </a:moveTo>
                <a:lnTo>
                  <a:pt x="460" y="814"/>
                </a:lnTo>
                <a:lnTo>
                  <a:pt x="458" y="822"/>
                </a:lnTo>
                <a:lnTo>
                  <a:pt x="453" y="828"/>
                </a:lnTo>
                <a:lnTo>
                  <a:pt x="446" y="833"/>
                </a:lnTo>
                <a:lnTo>
                  <a:pt x="438" y="835"/>
                </a:lnTo>
                <a:lnTo>
                  <a:pt x="412" y="835"/>
                </a:lnTo>
                <a:lnTo>
                  <a:pt x="412" y="1016"/>
                </a:lnTo>
                <a:lnTo>
                  <a:pt x="410" y="1026"/>
                </a:lnTo>
                <a:lnTo>
                  <a:pt x="405" y="1033"/>
                </a:lnTo>
                <a:lnTo>
                  <a:pt x="399" y="1038"/>
                </a:lnTo>
                <a:lnTo>
                  <a:pt x="390" y="1039"/>
                </a:lnTo>
                <a:lnTo>
                  <a:pt x="380" y="1038"/>
                </a:lnTo>
                <a:lnTo>
                  <a:pt x="374" y="1033"/>
                </a:lnTo>
                <a:lnTo>
                  <a:pt x="369" y="1026"/>
                </a:lnTo>
                <a:lnTo>
                  <a:pt x="367" y="1016"/>
                </a:lnTo>
                <a:lnTo>
                  <a:pt x="367" y="835"/>
                </a:lnTo>
                <a:lnTo>
                  <a:pt x="339" y="835"/>
                </a:lnTo>
                <a:lnTo>
                  <a:pt x="339" y="1016"/>
                </a:lnTo>
                <a:lnTo>
                  <a:pt x="338" y="1026"/>
                </a:lnTo>
                <a:lnTo>
                  <a:pt x="333" y="1033"/>
                </a:lnTo>
                <a:lnTo>
                  <a:pt x="326" y="1038"/>
                </a:lnTo>
                <a:lnTo>
                  <a:pt x="318" y="1039"/>
                </a:lnTo>
                <a:lnTo>
                  <a:pt x="310" y="1038"/>
                </a:lnTo>
                <a:lnTo>
                  <a:pt x="301" y="1033"/>
                </a:lnTo>
                <a:lnTo>
                  <a:pt x="296" y="1026"/>
                </a:lnTo>
                <a:lnTo>
                  <a:pt x="295" y="1016"/>
                </a:lnTo>
                <a:lnTo>
                  <a:pt x="295" y="835"/>
                </a:lnTo>
                <a:lnTo>
                  <a:pt x="265" y="835"/>
                </a:lnTo>
                <a:lnTo>
                  <a:pt x="257" y="833"/>
                </a:lnTo>
                <a:lnTo>
                  <a:pt x="250" y="828"/>
                </a:lnTo>
                <a:lnTo>
                  <a:pt x="245" y="822"/>
                </a:lnTo>
                <a:lnTo>
                  <a:pt x="244" y="814"/>
                </a:lnTo>
                <a:lnTo>
                  <a:pt x="244" y="641"/>
                </a:lnTo>
                <a:lnTo>
                  <a:pt x="245" y="632"/>
                </a:lnTo>
                <a:lnTo>
                  <a:pt x="250" y="626"/>
                </a:lnTo>
                <a:lnTo>
                  <a:pt x="257" y="621"/>
                </a:lnTo>
                <a:lnTo>
                  <a:pt x="265" y="619"/>
                </a:lnTo>
                <a:lnTo>
                  <a:pt x="438" y="619"/>
                </a:lnTo>
                <a:lnTo>
                  <a:pt x="446" y="621"/>
                </a:lnTo>
                <a:lnTo>
                  <a:pt x="453" y="626"/>
                </a:lnTo>
                <a:lnTo>
                  <a:pt x="458" y="632"/>
                </a:lnTo>
                <a:lnTo>
                  <a:pt x="460" y="641"/>
                </a:lnTo>
                <a:lnTo>
                  <a:pt x="460" y="814"/>
                </a:lnTo>
                <a:close/>
                <a:moveTo>
                  <a:pt x="772" y="868"/>
                </a:moveTo>
                <a:lnTo>
                  <a:pt x="772" y="868"/>
                </a:lnTo>
                <a:lnTo>
                  <a:pt x="768" y="873"/>
                </a:lnTo>
                <a:lnTo>
                  <a:pt x="764" y="876"/>
                </a:lnTo>
                <a:lnTo>
                  <a:pt x="759" y="878"/>
                </a:lnTo>
                <a:lnTo>
                  <a:pt x="753" y="878"/>
                </a:lnTo>
                <a:lnTo>
                  <a:pt x="703" y="878"/>
                </a:lnTo>
                <a:lnTo>
                  <a:pt x="703" y="1016"/>
                </a:lnTo>
                <a:lnTo>
                  <a:pt x="702" y="1026"/>
                </a:lnTo>
                <a:lnTo>
                  <a:pt x="697" y="1033"/>
                </a:lnTo>
                <a:lnTo>
                  <a:pt x="690" y="1038"/>
                </a:lnTo>
                <a:lnTo>
                  <a:pt x="680" y="1039"/>
                </a:lnTo>
                <a:lnTo>
                  <a:pt x="672" y="1038"/>
                </a:lnTo>
                <a:lnTo>
                  <a:pt x="665" y="1033"/>
                </a:lnTo>
                <a:lnTo>
                  <a:pt x="660" y="1026"/>
                </a:lnTo>
                <a:lnTo>
                  <a:pt x="659" y="1016"/>
                </a:lnTo>
                <a:lnTo>
                  <a:pt x="659" y="878"/>
                </a:lnTo>
                <a:lnTo>
                  <a:pt x="631" y="878"/>
                </a:lnTo>
                <a:lnTo>
                  <a:pt x="631" y="1016"/>
                </a:lnTo>
                <a:lnTo>
                  <a:pt x="629" y="1026"/>
                </a:lnTo>
                <a:lnTo>
                  <a:pt x="624" y="1033"/>
                </a:lnTo>
                <a:lnTo>
                  <a:pt x="618" y="1038"/>
                </a:lnTo>
                <a:lnTo>
                  <a:pt x="609" y="1039"/>
                </a:lnTo>
                <a:lnTo>
                  <a:pt x="600" y="1038"/>
                </a:lnTo>
                <a:lnTo>
                  <a:pt x="593" y="1033"/>
                </a:lnTo>
                <a:lnTo>
                  <a:pt x="588" y="1026"/>
                </a:lnTo>
                <a:lnTo>
                  <a:pt x="586" y="1016"/>
                </a:lnTo>
                <a:lnTo>
                  <a:pt x="586" y="878"/>
                </a:lnTo>
                <a:lnTo>
                  <a:pt x="534" y="878"/>
                </a:lnTo>
                <a:lnTo>
                  <a:pt x="527" y="878"/>
                </a:lnTo>
                <a:lnTo>
                  <a:pt x="522" y="876"/>
                </a:lnTo>
                <a:lnTo>
                  <a:pt x="517" y="873"/>
                </a:lnTo>
                <a:lnTo>
                  <a:pt x="514" y="868"/>
                </a:lnTo>
                <a:lnTo>
                  <a:pt x="512" y="863"/>
                </a:lnTo>
                <a:lnTo>
                  <a:pt x="511" y="858"/>
                </a:lnTo>
                <a:lnTo>
                  <a:pt x="511" y="852"/>
                </a:lnTo>
                <a:lnTo>
                  <a:pt x="514" y="847"/>
                </a:lnTo>
                <a:lnTo>
                  <a:pt x="623" y="626"/>
                </a:lnTo>
                <a:lnTo>
                  <a:pt x="628" y="621"/>
                </a:lnTo>
                <a:lnTo>
                  <a:pt x="631" y="616"/>
                </a:lnTo>
                <a:lnTo>
                  <a:pt x="637" y="614"/>
                </a:lnTo>
                <a:lnTo>
                  <a:pt x="642" y="613"/>
                </a:lnTo>
                <a:lnTo>
                  <a:pt x="649" y="614"/>
                </a:lnTo>
                <a:lnTo>
                  <a:pt x="654" y="616"/>
                </a:lnTo>
                <a:lnTo>
                  <a:pt x="659" y="621"/>
                </a:lnTo>
                <a:lnTo>
                  <a:pt x="662" y="626"/>
                </a:lnTo>
                <a:lnTo>
                  <a:pt x="772" y="847"/>
                </a:lnTo>
                <a:lnTo>
                  <a:pt x="774" y="852"/>
                </a:lnTo>
                <a:lnTo>
                  <a:pt x="776" y="858"/>
                </a:lnTo>
                <a:lnTo>
                  <a:pt x="774" y="863"/>
                </a:lnTo>
                <a:lnTo>
                  <a:pt x="772" y="868"/>
                </a:lnTo>
                <a:close/>
                <a:moveTo>
                  <a:pt x="959" y="1015"/>
                </a:moveTo>
                <a:lnTo>
                  <a:pt x="901" y="1015"/>
                </a:lnTo>
                <a:lnTo>
                  <a:pt x="901" y="815"/>
                </a:lnTo>
                <a:lnTo>
                  <a:pt x="881" y="830"/>
                </a:lnTo>
                <a:lnTo>
                  <a:pt x="858" y="843"/>
                </a:lnTo>
                <a:lnTo>
                  <a:pt x="858" y="796"/>
                </a:lnTo>
                <a:lnTo>
                  <a:pt x="871" y="787"/>
                </a:lnTo>
                <a:lnTo>
                  <a:pt x="884" y="777"/>
                </a:lnTo>
                <a:lnTo>
                  <a:pt x="898" y="768"/>
                </a:lnTo>
                <a:lnTo>
                  <a:pt x="908" y="754"/>
                </a:lnTo>
                <a:lnTo>
                  <a:pt x="959" y="754"/>
                </a:lnTo>
                <a:lnTo>
                  <a:pt x="959" y="1015"/>
                </a:lnTo>
                <a:close/>
                <a:moveTo>
                  <a:pt x="995" y="695"/>
                </a:moveTo>
                <a:lnTo>
                  <a:pt x="944" y="695"/>
                </a:lnTo>
                <a:lnTo>
                  <a:pt x="944" y="636"/>
                </a:lnTo>
                <a:lnTo>
                  <a:pt x="856" y="636"/>
                </a:lnTo>
                <a:lnTo>
                  <a:pt x="856" y="583"/>
                </a:lnTo>
                <a:lnTo>
                  <a:pt x="894" y="497"/>
                </a:lnTo>
                <a:lnTo>
                  <a:pt x="914" y="455"/>
                </a:lnTo>
                <a:lnTo>
                  <a:pt x="924" y="438"/>
                </a:lnTo>
                <a:lnTo>
                  <a:pt x="926" y="435"/>
                </a:lnTo>
                <a:lnTo>
                  <a:pt x="995" y="435"/>
                </a:lnTo>
                <a:lnTo>
                  <a:pt x="995" y="596"/>
                </a:lnTo>
                <a:lnTo>
                  <a:pt x="1015" y="596"/>
                </a:lnTo>
                <a:lnTo>
                  <a:pt x="1015" y="636"/>
                </a:lnTo>
                <a:lnTo>
                  <a:pt x="995" y="636"/>
                </a:lnTo>
                <a:lnTo>
                  <a:pt x="995" y="695"/>
                </a:lnTo>
                <a:close/>
                <a:moveTo>
                  <a:pt x="1069" y="1015"/>
                </a:moveTo>
                <a:lnTo>
                  <a:pt x="1069" y="1015"/>
                </a:lnTo>
                <a:lnTo>
                  <a:pt x="1056" y="1015"/>
                </a:lnTo>
                <a:lnTo>
                  <a:pt x="1046" y="1013"/>
                </a:lnTo>
                <a:lnTo>
                  <a:pt x="1036" y="1010"/>
                </a:lnTo>
                <a:lnTo>
                  <a:pt x="1028" y="1006"/>
                </a:lnTo>
                <a:lnTo>
                  <a:pt x="1021" y="1001"/>
                </a:lnTo>
                <a:lnTo>
                  <a:pt x="1015" y="995"/>
                </a:lnTo>
                <a:lnTo>
                  <a:pt x="1010" y="988"/>
                </a:lnTo>
                <a:lnTo>
                  <a:pt x="1006" y="980"/>
                </a:lnTo>
                <a:lnTo>
                  <a:pt x="1000" y="960"/>
                </a:lnTo>
                <a:lnTo>
                  <a:pt x="996" y="939"/>
                </a:lnTo>
                <a:lnTo>
                  <a:pt x="995" y="912"/>
                </a:lnTo>
                <a:lnTo>
                  <a:pt x="995" y="884"/>
                </a:lnTo>
                <a:lnTo>
                  <a:pt x="995" y="852"/>
                </a:lnTo>
                <a:lnTo>
                  <a:pt x="998" y="824"/>
                </a:lnTo>
                <a:lnTo>
                  <a:pt x="1001" y="800"/>
                </a:lnTo>
                <a:lnTo>
                  <a:pt x="1005" y="791"/>
                </a:lnTo>
                <a:lnTo>
                  <a:pt x="1008" y="782"/>
                </a:lnTo>
                <a:lnTo>
                  <a:pt x="1013" y="776"/>
                </a:lnTo>
                <a:lnTo>
                  <a:pt x="1018" y="771"/>
                </a:lnTo>
                <a:lnTo>
                  <a:pt x="1023" y="766"/>
                </a:lnTo>
                <a:lnTo>
                  <a:pt x="1031" y="761"/>
                </a:lnTo>
                <a:lnTo>
                  <a:pt x="1038" y="758"/>
                </a:lnTo>
                <a:lnTo>
                  <a:pt x="1048" y="756"/>
                </a:lnTo>
                <a:lnTo>
                  <a:pt x="1069" y="754"/>
                </a:lnTo>
                <a:lnTo>
                  <a:pt x="1090" y="756"/>
                </a:lnTo>
                <a:lnTo>
                  <a:pt x="1099" y="758"/>
                </a:lnTo>
                <a:lnTo>
                  <a:pt x="1107" y="761"/>
                </a:lnTo>
                <a:lnTo>
                  <a:pt x="1113" y="766"/>
                </a:lnTo>
                <a:lnTo>
                  <a:pt x="1120" y="771"/>
                </a:lnTo>
                <a:lnTo>
                  <a:pt x="1125" y="776"/>
                </a:lnTo>
                <a:lnTo>
                  <a:pt x="1128" y="782"/>
                </a:lnTo>
                <a:lnTo>
                  <a:pt x="1132" y="791"/>
                </a:lnTo>
                <a:lnTo>
                  <a:pt x="1135" y="800"/>
                </a:lnTo>
                <a:lnTo>
                  <a:pt x="1140" y="824"/>
                </a:lnTo>
                <a:lnTo>
                  <a:pt x="1141" y="852"/>
                </a:lnTo>
                <a:lnTo>
                  <a:pt x="1141" y="884"/>
                </a:lnTo>
                <a:lnTo>
                  <a:pt x="1141" y="912"/>
                </a:lnTo>
                <a:lnTo>
                  <a:pt x="1140" y="939"/>
                </a:lnTo>
                <a:lnTo>
                  <a:pt x="1136" y="960"/>
                </a:lnTo>
                <a:lnTo>
                  <a:pt x="1132" y="980"/>
                </a:lnTo>
                <a:lnTo>
                  <a:pt x="1127" y="988"/>
                </a:lnTo>
                <a:lnTo>
                  <a:pt x="1122" y="995"/>
                </a:lnTo>
                <a:lnTo>
                  <a:pt x="1115" y="1001"/>
                </a:lnTo>
                <a:lnTo>
                  <a:pt x="1108" y="1006"/>
                </a:lnTo>
                <a:lnTo>
                  <a:pt x="1100" y="1010"/>
                </a:lnTo>
                <a:lnTo>
                  <a:pt x="1092" y="1013"/>
                </a:lnTo>
                <a:lnTo>
                  <a:pt x="1080" y="1015"/>
                </a:lnTo>
                <a:lnTo>
                  <a:pt x="1069" y="1015"/>
                </a:lnTo>
                <a:close/>
                <a:moveTo>
                  <a:pt x="1141" y="632"/>
                </a:moveTo>
                <a:lnTo>
                  <a:pt x="1051" y="632"/>
                </a:lnTo>
                <a:lnTo>
                  <a:pt x="1051" y="595"/>
                </a:lnTo>
                <a:lnTo>
                  <a:pt x="1141" y="595"/>
                </a:lnTo>
                <a:lnTo>
                  <a:pt x="1141" y="632"/>
                </a:lnTo>
                <a:close/>
                <a:moveTo>
                  <a:pt x="1069" y="792"/>
                </a:moveTo>
                <a:lnTo>
                  <a:pt x="1069" y="792"/>
                </a:lnTo>
                <a:lnTo>
                  <a:pt x="1061" y="792"/>
                </a:lnTo>
                <a:lnTo>
                  <a:pt x="1056" y="796"/>
                </a:lnTo>
                <a:lnTo>
                  <a:pt x="1052" y="800"/>
                </a:lnTo>
                <a:lnTo>
                  <a:pt x="1049" y="809"/>
                </a:lnTo>
                <a:lnTo>
                  <a:pt x="1048" y="822"/>
                </a:lnTo>
                <a:lnTo>
                  <a:pt x="1046" y="837"/>
                </a:lnTo>
                <a:lnTo>
                  <a:pt x="1046" y="884"/>
                </a:lnTo>
                <a:lnTo>
                  <a:pt x="1048" y="932"/>
                </a:lnTo>
                <a:lnTo>
                  <a:pt x="1048" y="949"/>
                </a:lnTo>
                <a:lnTo>
                  <a:pt x="1049" y="960"/>
                </a:lnTo>
                <a:lnTo>
                  <a:pt x="1052" y="968"/>
                </a:lnTo>
                <a:lnTo>
                  <a:pt x="1056" y="975"/>
                </a:lnTo>
                <a:lnTo>
                  <a:pt x="1062" y="977"/>
                </a:lnTo>
                <a:lnTo>
                  <a:pt x="1069" y="978"/>
                </a:lnTo>
                <a:lnTo>
                  <a:pt x="1076" y="977"/>
                </a:lnTo>
                <a:lnTo>
                  <a:pt x="1080" y="975"/>
                </a:lnTo>
                <a:lnTo>
                  <a:pt x="1084" y="968"/>
                </a:lnTo>
                <a:lnTo>
                  <a:pt x="1087" y="960"/>
                </a:lnTo>
                <a:lnTo>
                  <a:pt x="1089" y="949"/>
                </a:lnTo>
                <a:lnTo>
                  <a:pt x="1090" y="932"/>
                </a:lnTo>
                <a:lnTo>
                  <a:pt x="1090" y="884"/>
                </a:lnTo>
                <a:lnTo>
                  <a:pt x="1090" y="837"/>
                </a:lnTo>
                <a:lnTo>
                  <a:pt x="1089" y="822"/>
                </a:lnTo>
                <a:lnTo>
                  <a:pt x="1087" y="809"/>
                </a:lnTo>
                <a:lnTo>
                  <a:pt x="1085" y="800"/>
                </a:lnTo>
                <a:lnTo>
                  <a:pt x="1080" y="796"/>
                </a:lnTo>
                <a:lnTo>
                  <a:pt x="1076" y="792"/>
                </a:lnTo>
                <a:lnTo>
                  <a:pt x="1069" y="792"/>
                </a:lnTo>
                <a:close/>
                <a:moveTo>
                  <a:pt x="903" y="596"/>
                </a:moveTo>
                <a:lnTo>
                  <a:pt x="947" y="596"/>
                </a:lnTo>
                <a:lnTo>
                  <a:pt x="950" y="471"/>
                </a:lnTo>
                <a:lnTo>
                  <a:pt x="903" y="59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3" name="TextBox 21"/>
          <p:cNvSpPr txBox="1">
            <a:spLocks noChangeArrowheads="1"/>
          </p:cNvSpPr>
          <p:nvPr userDrawn="1"/>
        </p:nvSpPr>
        <p:spPr bwMode="auto">
          <a:xfrm>
            <a:off x="9090599" y="4337496"/>
            <a:ext cx="107814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Female</a:t>
            </a:r>
          </a:p>
        </p:txBody>
      </p:sp>
      <p:grpSp>
        <p:nvGrpSpPr>
          <p:cNvPr id="84" name="Group 83"/>
          <p:cNvGrpSpPr>
            <a:grpSpLocks noChangeAspect="1"/>
          </p:cNvGrpSpPr>
          <p:nvPr userDrawn="1"/>
        </p:nvGrpSpPr>
        <p:grpSpPr>
          <a:xfrm>
            <a:off x="8997229" y="3057528"/>
            <a:ext cx="1260000" cy="1260000"/>
            <a:chOff x="2606675" y="685800"/>
            <a:chExt cx="2800350" cy="2800350"/>
          </a:xfrm>
          <a:solidFill>
            <a:srgbClr val="000000"/>
          </a:solidFill>
        </p:grpSpPr>
        <p:sp>
          <p:nvSpPr>
            <p:cNvPr id="85" name="Freeform 27"/>
            <p:cNvSpPr>
              <a:spLocks/>
            </p:cNvSpPr>
            <p:nvPr/>
          </p:nvSpPr>
          <p:spPr bwMode="auto">
            <a:xfrm>
              <a:off x="4441825" y="1758950"/>
              <a:ext cx="88900" cy="190500"/>
            </a:xfrm>
            <a:custGeom>
              <a:avLst/>
              <a:gdLst>
                <a:gd name="T0" fmla="*/ 26 w 56"/>
                <a:gd name="T1" fmla="*/ 120 h 120"/>
                <a:gd name="T2" fmla="*/ 26 w 56"/>
                <a:gd name="T3" fmla="*/ 120 h 120"/>
                <a:gd name="T4" fmla="*/ 34 w 56"/>
                <a:gd name="T5" fmla="*/ 118 h 120"/>
                <a:gd name="T6" fmla="*/ 40 w 56"/>
                <a:gd name="T7" fmla="*/ 116 h 120"/>
                <a:gd name="T8" fmla="*/ 44 w 56"/>
                <a:gd name="T9" fmla="*/ 114 h 120"/>
                <a:gd name="T10" fmla="*/ 48 w 56"/>
                <a:gd name="T11" fmla="*/ 108 h 120"/>
                <a:gd name="T12" fmla="*/ 52 w 56"/>
                <a:gd name="T13" fmla="*/ 100 h 120"/>
                <a:gd name="T14" fmla="*/ 54 w 56"/>
                <a:gd name="T15" fmla="*/ 88 h 120"/>
                <a:gd name="T16" fmla="*/ 56 w 56"/>
                <a:gd name="T17" fmla="*/ 58 h 120"/>
                <a:gd name="T18" fmla="*/ 56 w 56"/>
                <a:gd name="T19" fmla="*/ 58 h 120"/>
                <a:gd name="T20" fmla="*/ 54 w 56"/>
                <a:gd name="T21" fmla="*/ 32 h 120"/>
                <a:gd name="T22" fmla="*/ 52 w 56"/>
                <a:gd name="T23" fmla="*/ 22 h 120"/>
                <a:gd name="T24" fmla="*/ 50 w 56"/>
                <a:gd name="T25" fmla="*/ 14 h 120"/>
                <a:gd name="T26" fmla="*/ 46 w 56"/>
                <a:gd name="T27" fmla="*/ 8 h 120"/>
                <a:gd name="T28" fmla="*/ 40 w 56"/>
                <a:gd name="T29" fmla="*/ 4 h 120"/>
                <a:gd name="T30" fmla="*/ 34 w 56"/>
                <a:gd name="T31" fmla="*/ 0 h 120"/>
                <a:gd name="T32" fmla="*/ 26 w 56"/>
                <a:gd name="T33" fmla="*/ 0 h 120"/>
                <a:gd name="T34" fmla="*/ 26 w 56"/>
                <a:gd name="T35" fmla="*/ 0 h 120"/>
                <a:gd name="T36" fmla="*/ 18 w 56"/>
                <a:gd name="T37" fmla="*/ 2 h 120"/>
                <a:gd name="T38" fmla="*/ 12 w 56"/>
                <a:gd name="T39" fmla="*/ 4 h 120"/>
                <a:gd name="T40" fmla="*/ 6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2 w 56"/>
                <a:gd name="T55" fmla="*/ 98 h 120"/>
                <a:gd name="T56" fmla="*/ 6 w 56"/>
                <a:gd name="T57" fmla="*/ 106 h 120"/>
                <a:gd name="T58" fmla="*/ 10 w 56"/>
                <a:gd name="T59" fmla="*/ 114 h 120"/>
                <a:gd name="T60" fmla="*/ 16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4" y="114"/>
                  </a:lnTo>
                  <a:lnTo>
                    <a:pt x="48" y="108"/>
                  </a:lnTo>
                  <a:lnTo>
                    <a:pt x="52" y="100"/>
                  </a:lnTo>
                  <a:lnTo>
                    <a:pt x="54" y="88"/>
                  </a:lnTo>
                  <a:lnTo>
                    <a:pt x="56" y="58"/>
                  </a:lnTo>
                  <a:lnTo>
                    <a:pt x="56" y="58"/>
                  </a:lnTo>
                  <a:lnTo>
                    <a:pt x="54" y="32"/>
                  </a:lnTo>
                  <a:lnTo>
                    <a:pt x="52" y="22"/>
                  </a:lnTo>
                  <a:lnTo>
                    <a:pt x="50" y="14"/>
                  </a:lnTo>
                  <a:lnTo>
                    <a:pt x="46" y="8"/>
                  </a:lnTo>
                  <a:lnTo>
                    <a:pt x="40" y="4"/>
                  </a:lnTo>
                  <a:lnTo>
                    <a:pt x="34" y="0"/>
                  </a:lnTo>
                  <a:lnTo>
                    <a:pt x="26" y="0"/>
                  </a:lnTo>
                  <a:lnTo>
                    <a:pt x="26" y="0"/>
                  </a:lnTo>
                  <a:lnTo>
                    <a:pt x="18" y="2"/>
                  </a:lnTo>
                  <a:lnTo>
                    <a:pt x="12" y="4"/>
                  </a:lnTo>
                  <a:lnTo>
                    <a:pt x="6" y="10"/>
                  </a:lnTo>
                  <a:lnTo>
                    <a:pt x="4" y="16"/>
                  </a:lnTo>
                  <a:lnTo>
                    <a:pt x="2" y="26"/>
                  </a:lnTo>
                  <a:lnTo>
                    <a:pt x="0" y="36"/>
                  </a:lnTo>
                  <a:lnTo>
                    <a:pt x="0" y="64"/>
                  </a:lnTo>
                  <a:lnTo>
                    <a:pt x="0" y="64"/>
                  </a:lnTo>
                  <a:lnTo>
                    <a:pt x="0" y="80"/>
                  </a:lnTo>
                  <a:lnTo>
                    <a:pt x="2" y="98"/>
                  </a:lnTo>
                  <a:lnTo>
                    <a:pt x="6" y="106"/>
                  </a:lnTo>
                  <a:lnTo>
                    <a:pt x="10" y="114"/>
                  </a:lnTo>
                  <a:lnTo>
                    <a:pt x="16"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28"/>
            <p:cNvSpPr>
              <a:spLocks/>
            </p:cNvSpPr>
            <p:nvPr/>
          </p:nvSpPr>
          <p:spPr bwMode="auto">
            <a:xfrm>
              <a:off x="4454525" y="2184400"/>
              <a:ext cx="95250" cy="241300"/>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29"/>
            <p:cNvSpPr>
              <a:spLocks noEditPoints="1"/>
            </p:cNvSpPr>
            <p:nvPr/>
          </p:nvSpPr>
          <p:spPr bwMode="auto">
            <a:xfrm>
              <a:off x="2606675" y="685800"/>
              <a:ext cx="2800350" cy="2800350"/>
            </a:xfrm>
            <a:custGeom>
              <a:avLst/>
              <a:gdLst>
                <a:gd name="T0" fmla="*/ 620 w 1764"/>
                <a:gd name="T1" fmla="*/ 40 h 1764"/>
                <a:gd name="T2" fmla="*/ 320 w 1764"/>
                <a:gd name="T3" fmla="*/ 202 h 1764"/>
                <a:gd name="T4" fmla="*/ 106 w 1764"/>
                <a:gd name="T5" fmla="*/ 462 h 1764"/>
                <a:gd name="T6" fmla="*/ 4 w 1764"/>
                <a:gd name="T7" fmla="*/ 792 h 1764"/>
                <a:gd name="T8" fmla="*/ 28 w 1764"/>
                <a:gd name="T9" fmla="*/ 1102 h 1764"/>
                <a:gd name="T10" fmla="*/ 176 w 1764"/>
                <a:gd name="T11" fmla="*/ 1410 h 1764"/>
                <a:gd name="T12" fmla="*/ 424 w 1764"/>
                <a:gd name="T13" fmla="*/ 1636 h 1764"/>
                <a:gd name="T14" fmla="*/ 748 w 1764"/>
                <a:gd name="T15" fmla="*/ 1754 h 1764"/>
                <a:gd name="T16" fmla="*/ 1060 w 1764"/>
                <a:gd name="T17" fmla="*/ 1746 h 1764"/>
                <a:gd name="T18" fmla="*/ 1376 w 1764"/>
                <a:gd name="T19" fmla="*/ 1614 h 1764"/>
                <a:gd name="T20" fmla="*/ 1614 w 1764"/>
                <a:gd name="T21" fmla="*/ 1376 h 1764"/>
                <a:gd name="T22" fmla="*/ 1746 w 1764"/>
                <a:gd name="T23" fmla="*/ 1060 h 1764"/>
                <a:gd name="T24" fmla="*/ 1754 w 1764"/>
                <a:gd name="T25" fmla="*/ 748 h 1764"/>
                <a:gd name="T26" fmla="*/ 1636 w 1764"/>
                <a:gd name="T27" fmla="*/ 424 h 1764"/>
                <a:gd name="T28" fmla="*/ 1410 w 1764"/>
                <a:gd name="T29" fmla="*/ 174 h 1764"/>
                <a:gd name="T30" fmla="*/ 1102 w 1764"/>
                <a:gd name="T31" fmla="*/ 28 h 1764"/>
                <a:gd name="T32" fmla="*/ 634 w 1764"/>
                <a:gd name="T33" fmla="*/ 396 h 1764"/>
                <a:gd name="T34" fmla="*/ 730 w 1764"/>
                <a:gd name="T35" fmla="*/ 436 h 1764"/>
                <a:gd name="T36" fmla="*/ 768 w 1764"/>
                <a:gd name="T37" fmla="*/ 532 h 1764"/>
                <a:gd name="T38" fmla="*/ 738 w 1764"/>
                <a:gd name="T39" fmla="*/ 618 h 1764"/>
                <a:gd name="T40" fmla="*/ 648 w 1764"/>
                <a:gd name="T41" fmla="*/ 666 h 1764"/>
                <a:gd name="T42" fmla="*/ 558 w 1764"/>
                <a:gd name="T43" fmla="*/ 644 h 1764"/>
                <a:gd name="T44" fmla="*/ 502 w 1764"/>
                <a:gd name="T45" fmla="*/ 558 h 1764"/>
                <a:gd name="T46" fmla="*/ 514 w 1764"/>
                <a:gd name="T47" fmla="*/ 466 h 1764"/>
                <a:gd name="T48" fmla="*/ 594 w 1764"/>
                <a:gd name="T49" fmla="*/ 402 h 1764"/>
                <a:gd name="T50" fmla="*/ 726 w 1764"/>
                <a:gd name="T51" fmla="*/ 1348 h 1764"/>
                <a:gd name="T52" fmla="*/ 690 w 1764"/>
                <a:gd name="T53" fmla="*/ 1382 h 1764"/>
                <a:gd name="T54" fmla="*/ 656 w 1764"/>
                <a:gd name="T55" fmla="*/ 1354 h 1764"/>
                <a:gd name="T56" fmla="*/ 606 w 1764"/>
                <a:gd name="T57" fmla="*/ 1366 h 1764"/>
                <a:gd name="T58" fmla="*/ 564 w 1764"/>
                <a:gd name="T59" fmla="*/ 1380 h 1764"/>
                <a:gd name="T60" fmla="*/ 470 w 1764"/>
                <a:gd name="T61" fmla="*/ 1128 h 1764"/>
                <a:gd name="T62" fmla="*/ 428 w 1764"/>
                <a:gd name="T63" fmla="*/ 1080 h 1764"/>
                <a:gd name="T64" fmla="*/ 642 w 1764"/>
                <a:gd name="T65" fmla="*/ 710 h 1764"/>
                <a:gd name="T66" fmla="*/ 840 w 1764"/>
                <a:gd name="T67" fmla="*/ 1102 h 1764"/>
                <a:gd name="T68" fmla="*/ 916 w 1764"/>
                <a:gd name="T69" fmla="*/ 568 h 1764"/>
                <a:gd name="T70" fmla="*/ 970 w 1764"/>
                <a:gd name="T71" fmla="*/ 594 h 1764"/>
                <a:gd name="T72" fmla="*/ 946 w 1764"/>
                <a:gd name="T73" fmla="*/ 1218 h 1764"/>
                <a:gd name="T74" fmla="*/ 964 w 1764"/>
                <a:gd name="T75" fmla="*/ 1132 h 1764"/>
                <a:gd name="T76" fmla="*/ 990 w 1764"/>
                <a:gd name="T77" fmla="*/ 1176 h 1764"/>
                <a:gd name="T78" fmla="*/ 1022 w 1764"/>
                <a:gd name="T79" fmla="*/ 1126 h 1764"/>
                <a:gd name="T80" fmla="*/ 962 w 1764"/>
                <a:gd name="T81" fmla="*/ 1026 h 1764"/>
                <a:gd name="T82" fmla="*/ 1016 w 1764"/>
                <a:gd name="T83" fmla="*/ 980 h 1764"/>
                <a:gd name="T84" fmla="*/ 992 w 1764"/>
                <a:gd name="T85" fmla="*/ 942 h 1764"/>
                <a:gd name="T86" fmla="*/ 902 w 1764"/>
                <a:gd name="T87" fmla="*/ 978 h 1764"/>
                <a:gd name="T88" fmla="*/ 972 w 1764"/>
                <a:gd name="T89" fmla="*/ 896 h 1764"/>
                <a:gd name="T90" fmla="*/ 1076 w 1764"/>
                <a:gd name="T91" fmla="*/ 942 h 1764"/>
                <a:gd name="T92" fmla="*/ 1058 w 1764"/>
                <a:gd name="T93" fmla="*/ 1042 h 1764"/>
                <a:gd name="T94" fmla="*/ 1078 w 1764"/>
                <a:gd name="T95" fmla="*/ 1080 h 1764"/>
                <a:gd name="T96" fmla="*/ 1060 w 1764"/>
                <a:gd name="T97" fmla="*/ 1200 h 1764"/>
                <a:gd name="T98" fmla="*/ 1206 w 1764"/>
                <a:gd name="T99" fmla="*/ 516 h 1764"/>
                <a:gd name="T100" fmla="*/ 1206 w 1764"/>
                <a:gd name="T101" fmla="*/ 588 h 1764"/>
                <a:gd name="T102" fmla="*/ 1182 w 1764"/>
                <a:gd name="T103" fmla="*/ 560 h 1764"/>
                <a:gd name="T104" fmla="*/ 1154 w 1764"/>
                <a:gd name="T105" fmla="*/ 654 h 1764"/>
                <a:gd name="T106" fmla="*/ 1224 w 1764"/>
                <a:gd name="T107" fmla="*/ 634 h 1764"/>
                <a:gd name="T108" fmla="*/ 1274 w 1764"/>
                <a:gd name="T109" fmla="*/ 716 h 1764"/>
                <a:gd name="T110" fmla="*/ 1234 w 1764"/>
                <a:gd name="T111" fmla="*/ 830 h 1764"/>
                <a:gd name="T112" fmla="*/ 1130 w 1764"/>
                <a:gd name="T113" fmla="*/ 830 h 1764"/>
                <a:gd name="T114" fmla="*/ 1090 w 1764"/>
                <a:gd name="T115" fmla="*/ 706 h 1764"/>
                <a:gd name="T116" fmla="*/ 1118 w 1764"/>
                <a:gd name="T117" fmla="*/ 542 h 1764"/>
                <a:gd name="T118" fmla="*/ 1302 w 1764"/>
                <a:gd name="T119" fmla="*/ 1146 h 1764"/>
                <a:gd name="T120" fmla="*/ 1192 w 1764"/>
                <a:gd name="T121" fmla="*/ 900 h 1764"/>
                <a:gd name="T122" fmla="*/ 1434 w 1764"/>
                <a:gd name="T123" fmla="*/ 692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4" y="396"/>
                  </a:moveTo>
                  <a:lnTo>
                    <a:pt x="634" y="396"/>
                  </a:lnTo>
                  <a:lnTo>
                    <a:pt x="648" y="396"/>
                  </a:lnTo>
                  <a:lnTo>
                    <a:pt x="660" y="398"/>
                  </a:lnTo>
                  <a:lnTo>
                    <a:pt x="674" y="402"/>
                  </a:lnTo>
                  <a:lnTo>
                    <a:pt x="686" y="406"/>
                  </a:lnTo>
                  <a:lnTo>
                    <a:pt x="698" y="412"/>
                  </a:lnTo>
                  <a:lnTo>
                    <a:pt x="710" y="420"/>
                  </a:lnTo>
                  <a:lnTo>
                    <a:pt x="720" y="426"/>
                  </a:lnTo>
                  <a:lnTo>
                    <a:pt x="730" y="436"/>
                  </a:lnTo>
                  <a:lnTo>
                    <a:pt x="738" y="446"/>
                  </a:lnTo>
                  <a:lnTo>
                    <a:pt x="746" y="456"/>
                  </a:lnTo>
                  <a:lnTo>
                    <a:pt x="752" y="466"/>
                  </a:lnTo>
                  <a:lnTo>
                    <a:pt x="758" y="478"/>
                  </a:lnTo>
                  <a:lnTo>
                    <a:pt x="762" y="492"/>
                  </a:lnTo>
                  <a:lnTo>
                    <a:pt x="766" y="504"/>
                  </a:lnTo>
                  <a:lnTo>
                    <a:pt x="768" y="518"/>
                  </a:lnTo>
                  <a:lnTo>
                    <a:pt x="768" y="532"/>
                  </a:lnTo>
                  <a:lnTo>
                    <a:pt x="768" y="532"/>
                  </a:lnTo>
                  <a:lnTo>
                    <a:pt x="768" y="546"/>
                  </a:lnTo>
                  <a:lnTo>
                    <a:pt x="766" y="558"/>
                  </a:lnTo>
                  <a:lnTo>
                    <a:pt x="762" y="572"/>
                  </a:lnTo>
                  <a:lnTo>
                    <a:pt x="758" y="584"/>
                  </a:lnTo>
                  <a:lnTo>
                    <a:pt x="752" y="596"/>
                  </a:lnTo>
                  <a:lnTo>
                    <a:pt x="746" y="606"/>
                  </a:lnTo>
                  <a:lnTo>
                    <a:pt x="738" y="618"/>
                  </a:lnTo>
                  <a:lnTo>
                    <a:pt x="730" y="626"/>
                  </a:lnTo>
                  <a:lnTo>
                    <a:pt x="720" y="636"/>
                  </a:lnTo>
                  <a:lnTo>
                    <a:pt x="710" y="644"/>
                  </a:lnTo>
                  <a:lnTo>
                    <a:pt x="698" y="650"/>
                  </a:lnTo>
                  <a:lnTo>
                    <a:pt x="686" y="656"/>
                  </a:lnTo>
                  <a:lnTo>
                    <a:pt x="674" y="660"/>
                  </a:lnTo>
                  <a:lnTo>
                    <a:pt x="660" y="664"/>
                  </a:lnTo>
                  <a:lnTo>
                    <a:pt x="648" y="666"/>
                  </a:lnTo>
                  <a:lnTo>
                    <a:pt x="634" y="666"/>
                  </a:lnTo>
                  <a:lnTo>
                    <a:pt x="634" y="666"/>
                  </a:lnTo>
                  <a:lnTo>
                    <a:pt x="620" y="666"/>
                  </a:lnTo>
                  <a:lnTo>
                    <a:pt x="606" y="664"/>
                  </a:lnTo>
                  <a:lnTo>
                    <a:pt x="594" y="660"/>
                  </a:lnTo>
                  <a:lnTo>
                    <a:pt x="582" y="656"/>
                  </a:lnTo>
                  <a:lnTo>
                    <a:pt x="570" y="650"/>
                  </a:lnTo>
                  <a:lnTo>
                    <a:pt x="558" y="644"/>
                  </a:lnTo>
                  <a:lnTo>
                    <a:pt x="548" y="636"/>
                  </a:lnTo>
                  <a:lnTo>
                    <a:pt x="538" y="626"/>
                  </a:lnTo>
                  <a:lnTo>
                    <a:pt x="530" y="618"/>
                  </a:lnTo>
                  <a:lnTo>
                    <a:pt x="522" y="606"/>
                  </a:lnTo>
                  <a:lnTo>
                    <a:pt x="514" y="596"/>
                  </a:lnTo>
                  <a:lnTo>
                    <a:pt x="510" y="584"/>
                  </a:lnTo>
                  <a:lnTo>
                    <a:pt x="504" y="572"/>
                  </a:lnTo>
                  <a:lnTo>
                    <a:pt x="502" y="558"/>
                  </a:lnTo>
                  <a:lnTo>
                    <a:pt x="500" y="546"/>
                  </a:lnTo>
                  <a:lnTo>
                    <a:pt x="498" y="532"/>
                  </a:lnTo>
                  <a:lnTo>
                    <a:pt x="498" y="532"/>
                  </a:lnTo>
                  <a:lnTo>
                    <a:pt x="500" y="518"/>
                  </a:lnTo>
                  <a:lnTo>
                    <a:pt x="502" y="504"/>
                  </a:lnTo>
                  <a:lnTo>
                    <a:pt x="504" y="492"/>
                  </a:lnTo>
                  <a:lnTo>
                    <a:pt x="510" y="478"/>
                  </a:lnTo>
                  <a:lnTo>
                    <a:pt x="514" y="466"/>
                  </a:lnTo>
                  <a:lnTo>
                    <a:pt x="522" y="456"/>
                  </a:lnTo>
                  <a:lnTo>
                    <a:pt x="530" y="446"/>
                  </a:lnTo>
                  <a:lnTo>
                    <a:pt x="538" y="436"/>
                  </a:lnTo>
                  <a:lnTo>
                    <a:pt x="548" y="426"/>
                  </a:lnTo>
                  <a:lnTo>
                    <a:pt x="558" y="420"/>
                  </a:lnTo>
                  <a:lnTo>
                    <a:pt x="570" y="412"/>
                  </a:lnTo>
                  <a:lnTo>
                    <a:pt x="582" y="406"/>
                  </a:lnTo>
                  <a:lnTo>
                    <a:pt x="594" y="402"/>
                  </a:lnTo>
                  <a:lnTo>
                    <a:pt x="606" y="398"/>
                  </a:lnTo>
                  <a:lnTo>
                    <a:pt x="620" y="396"/>
                  </a:lnTo>
                  <a:lnTo>
                    <a:pt x="634" y="396"/>
                  </a:lnTo>
                  <a:lnTo>
                    <a:pt x="634" y="396"/>
                  </a:lnTo>
                  <a:close/>
                  <a:moveTo>
                    <a:pt x="798" y="1128"/>
                  </a:moveTo>
                  <a:lnTo>
                    <a:pt x="726" y="1128"/>
                  </a:lnTo>
                  <a:lnTo>
                    <a:pt x="726" y="1348"/>
                  </a:lnTo>
                  <a:lnTo>
                    <a:pt x="726" y="1348"/>
                  </a:lnTo>
                  <a:lnTo>
                    <a:pt x="724" y="1354"/>
                  </a:lnTo>
                  <a:lnTo>
                    <a:pt x="722" y="1360"/>
                  </a:lnTo>
                  <a:lnTo>
                    <a:pt x="720" y="1366"/>
                  </a:lnTo>
                  <a:lnTo>
                    <a:pt x="716" y="1372"/>
                  </a:lnTo>
                  <a:lnTo>
                    <a:pt x="710" y="1376"/>
                  </a:lnTo>
                  <a:lnTo>
                    <a:pt x="704" y="1380"/>
                  </a:lnTo>
                  <a:lnTo>
                    <a:pt x="698" y="1382"/>
                  </a:lnTo>
                  <a:lnTo>
                    <a:pt x="690" y="1382"/>
                  </a:lnTo>
                  <a:lnTo>
                    <a:pt x="690" y="1382"/>
                  </a:lnTo>
                  <a:lnTo>
                    <a:pt x="684" y="1382"/>
                  </a:lnTo>
                  <a:lnTo>
                    <a:pt x="676" y="1380"/>
                  </a:lnTo>
                  <a:lnTo>
                    <a:pt x="672" y="1376"/>
                  </a:lnTo>
                  <a:lnTo>
                    <a:pt x="666" y="1372"/>
                  </a:lnTo>
                  <a:lnTo>
                    <a:pt x="662" y="1366"/>
                  </a:lnTo>
                  <a:lnTo>
                    <a:pt x="658" y="1360"/>
                  </a:lnTo>
                  <a:lnTo>
                    <a:pt x="656" y="1354"/>
                  </a:lnTo>
                  <a:lnTo>
                    <a:pt x="656" y="1348"/>
                  </a:lnTo>
                  <a:lnTo>
                    <a:pt x="656" y="1128"/>
                  </a:lnTo>
                  <a:lnTo>
                    <a:pt x="612" y="1128"/>
                  </a:lnTo>
                  <a:lnTo>
                    <a:pt x="612" y="1348"/>
                  </a:lnTo>
                  <a:lnTo>
                    <a:pt x="612" y="1348"/>
                  </a:lnTo>
                  <a:lnTo>
                    <a:pt x="610" y="1354"/>
                  </a:lnTo>
                  <a:lnTo>
                    <a:pt x="608" y="1360"/>
                  </a:lnTo>
                  <a:lnTo>
                    <a:pt x="606" y="1366"/>
                  </a:lnTo>
                  <a:lnTo>
                    <a:pt x="602" y="1372"/>
                  </a:lnTo>
                  <a:lnTo>
                    <a:pt x="596" y="1376"/>
                  </a:lnTo>
                  <a:lnTo>
                    <a:pt x="590" y="1380"/>
                  </a:lnTo>
                  <a:lnTo>
                    <a:pt x="584" y="1382"/>
                  </a:lnTo>
                  <a:lnTo>
                    <a:pt x="576" y="1382"/>
                  </a:lnTo>
                  <a:lnTo>
                    <a:pt x="576" y="1382"/>
                  </a:lnTo>
                  <a:lnTo>
                    <a:pt x="570" y="1382"/>
                  </a:lnTo>
                  <a:lnTo>
                    <a:pt x="564" y="1380"/>
                  </a:lnTo>
                  <a:lnTo>
                    <a:pt x="558" y="1376"/>
                  </a:lnTo>
                  <a:lnTo>
                    <a:pt x="552" y="1372"/>
                  </a:lnTo>
                  <a:lnTo>
                    <a:pt x="548" y="1366"/>
                  </a:lnTo>
                  <a:lnTo>
                    <a:pt x="544" y="1360"/>
                  </a:lnTo>
                  <a:lnTo>
                    <a:pt x="542" y="1354"/>
                  </a:lnTo>
                  <a:lnTo>
                    <a:pt x="542" y="1348"/>
                  </a:lnTo>
                  <a:lnTo>
                    <a:pt x="542" y="1128"/>
                  </a:lnTo>
                  <a:lnTo>
                    <a:pt x="470" y="1128"/>
                  </a:lnTo>
                  <a:lnTo>
                    <a:pt x="470" y="1128"/>
                  </a:lnTo>
                  <a:lnTo>
                    <a:pt x="456" y="1128"/>
                  </a:lnTo>
                  <a:lnTo>
                    <a:pt x="446" y="1124"/>
                  </a:lnTo>
                  <a:lnTo>
                    <a:pt x="438" y="1118"/>
                  </a:lnTo>
                  <a:lnTo>
                    <a:pt x="430" y="1110"/>
                  </a:lnTo>
                  <a:lnTo>
                    <a:pt x="428" y="1102"/>
                  </a:lnTo>
                  <a:lnTo>
                    <a:pt x="426" y="1092"/>
                  </a:lnTo>
                  <a:lnTo>
                    <a:pt x="428" y="1080"/>
                  </a:lnTo>
                  <a:lnTo>
                    <a:pt x="432" y="1068"/>
                  </a:lnTo>
                  <a:lnTo>
                    <a:pt x="602" y="732"/>
                  </a:lnTo>
                  <a:lnTo>
                    <a:pt x="602" y="732"/>
                  </a:lnTo>
                  <a:lnTo>
                    <a:pt x="610" y="722"/>
                  </a:lnTo>
                  <a:lnTo>
                    <a:pt x="618" y="714"/>
                  </a:lnTo>
                  <a:lnTo>
                    <a:pt x="626" y="710"/>
                  </a:lnTo>
                  <a:lnTo>
                    <a:pt x="634" y="708"/>
                  </a:lnTo>
                  <a:lnTo>
                    <a:pt x="642" y="710"/>
                  </a:lnTo>
                  <a:lnTo>
                    <a:pt x="650" y="714"/>
                  </a:lnTo>
                  <a:lnTo>
                    <a:pt x="658" y="722"/>
                  </a:lnTo>
                  <a:lnTo>
                    <a:pt x="664" y="732"/>
                  </a:lnTo>
                  <a:lnTo>
                    <a:pt x="834" y="1068"/>
                  </a:lnTo>
                  <a:lnTo>
                    <a:pt x="834" y="1068"/>
                  </a:lnTo>
                  <a:lnTo>
                    <a:pt x="840" y="1080"/>
                  </a:lnTo>
                  <a:lnTo>
                    <a:pt x="842" y="1092"/>
                  </a:lnTo>
                  <a:lnTo>
                    <a:pt x="840" y="1102"/>
                  </a:lnTo>
                  <a:lnTo>
                    <a:pt x="836" y="1110"/>
                  </a:lnTo>
                  <a:lnTo>
                    <a:pt x="830" y="1118"/>
                  </a:lnTo>
                  <a:lnTo>
                    <a:pt x="822" y="1124"/>
                  </a:lnTo>
                  <a:lnTo>
                    <a:pt x="810" y="1128"/>
                  </a:lnTo>
                  <a:lnTo>
                    <a:pt x="798" y="1128"/>
                  </a:lnTo>
                  <a:lnTo>
                    <a:pt x="798" y="1128"/>
                  </a:lnTo>
                  <a:close/>
                  <a:moveTo>
                    <a:pt x="916" y="568"/>
                  </a:moveTo>
                  <a:lnTo>
                    <a:pt x="916" y="568"/>
                  </a:lnTo>
                  <a:lnTo>
                    <a:pt x="932" y="558"/>
                  </a:lnTo>
                  <a:lnTo>
                    <a:pt x="948" y="548"/>
                  </a:lnTo>
                  <a:lnTo>
                    <a:pt x="964" y="534"/>
                  </a:lnTo>
                  <a:lnTo>
                    <a:pt x="978" y="520"/>
                  </a:lnTo>
                  <a:lnTo>
                    <a:pt x="1038" y="520"/>
                  </a:lnTo>
                  <a:lnTo>
                    <a:pt x="1038" y="838"/>
                  </a:lnTo>
                  <a:lnTo>
                    <a:pt x="970" y="838"/>
                  </a:lnTo>
                  <a:lnTo>
                    <a:pt x="970" y="594"/>
                  </a:lnTo>
                  <a:lnTo>
                    <a:pt x="970" y="594"/>
                  </a:lnTo>
                  <a:lnTo>
                    <a:pt x="944" y="612"/>
                  </a:lnTo>
                  <a:lnTo>
                    <a:pt x="916" y="628"/>
                  </a:lnTo>
                  <a:lnTo>
                    <a:pt x="916" y="568"/>
                  </a:lnTo>
                  <a:close/>
                  <a:moveTo>
                    <a:pt x="986" y="1222"/>
                  </a:moveTo>
                  <a:lnTo>
                    <a:pt x="986" y="1222"/>
                  </a:lnTo>
                  <a:lnTo>
                    <a:pt x="964" y="1220"/>
                  </a:lnTo>
                  <a:lnTo>
                    <a:pt x="946" y="1218"/>
                  </a:lnTo>
                  <a:lnTo>
                    <a:pt x="932" y="1212"/>
                  </a:lnTo>
                  <a:lnTo>
                    <a:pt x="920" y="1202"/>
                  </a:lnTo>
                  <a:lnTo>
                    <a:pt x="910" y="1190"/>
                  </a:lnTo>
                  <a:lnTo>
                    <a:pt x="904" y="1174"/>
                  </a:lnTo>
                  <a:lnTo>
                    <a:pt x="900" y="1156"/>
                  </a:lnTo>
                  <a:lnTo>
                    <a:pt x="898" y="1132"/>
                  </a:lnTo>
                  <a:lnTo>
                    <a:pt x="964" y="1132"/>
                  </a:lnTo>
                  <a:lnTo>
                    <a:pt x="964" y="1132"/>
                  </a:lnTo>
                  <a:lnTo>
                    <a:pt x="964" y="1148"/>
                  </a:lnTo>
                  <a:lnTo>
                    <a:pt x="964" y="1154"/>
                  </a:lnTo>
                  <a:lnTo>
                    <a:pt x="966" y="1162"/>
                  </a:lnTo>
                  <a:lnTo>
                    <a:pt x="970" y="1168"/>
                  </a:lnTo>
                  <a:lnTo>
                    <a:pt x="974" y="1172"/>
                  </a:lnTo>
                  <a:lnTo>
                    <a:pt x="980" y="1174"/>
                  </a:lnTo>
                  <a:lnTo>
                    <a:pt x="990" y="1176"/>
                  </a:lnTo>
                  <a:lnTo>
                    <a:pt x="990" y="1176"/>
                  </a:lnTo>
                  <a:lnTo>
                    <a:pt x="1000" y="1174"/>
                  </a:lnTo>
                  <a:lnTo>
                    <a:pt x="1008" y="1170"/>
                  </a:lnTo>
                  <a:lnTo>
                    <a:pt x="1012" y="1166"/>
                  </a:lnTo>
                  <a:lnTo>
                    <a:pt x="1016" y="1160"/>
                  </a:lnTo>
                  <a:lnTo>
                    <a:pt x="1020" y="1152"/>
                  </a:lnTo>
                  <a:lnTo>
                    <a:pt x="1020" y="1144"/>
                  </a:lnTo>
                  <a:lnTo>
                    <a:pt x="1022" y="1126"/>
                  </a:lnTo>
                  <a:lnTo>
                    <a:pt x="1022" y="1126"/>
                  </a:lnTo>
                  <a:lnTo>
                    <a:pt x="1020" y="1110"/>
                  </a:lnTo>
                  <a:lnTo>
                    <a:pt x="1018" y="1100"/>
                  </a:lnTo>
                  <a:lnTo>
                    <a:pt x="1014" y="1090"/>
                  </a:lnTo>
                  <a:lnTo>
                    <a:pt x="1008" y="1084"/>
                  </a:lnTo>
                  <a:lnTo>
                    <a:pt x="1000" y="1080"/>
                  </a:lnTo>
                  <a:lnTo>
                    <a:pt x="990" y="1078"/>
                  </a:lnTo>
                  <a:lnTo>
                    <a:pt x="962" y="1078"/>
                  </a:lnTo>
                  <a:lnTo>
                    <a:pt x="962" y="1026"/>
                  </a:lnTo>
                  <a:lnTo>
                    <a:pt x="962" y="1026"/>
                  </a:lnTo>
                  <a:lnTo>
                    <a:pt x="988" y="1026"/>
                  </a:lnTo>
                  <a:lnTo>
                    <a:pt x="998" y="1024"/>
                  </a:lnTo>
                  <a:lnTo>
                    <a:pt x="1004" y="1020"/>
                  </a:lnTo>
                  <a:lnTo>
                    <a:pt x="1010" y="1014"/>
                  </a:lnTo>
                  <a:lnTo>
                    <a:pt x="1014" y="1006"/>
                  </a:lnTo>
                  <a:lnTo>
                    <a:pt x="1016" y="994"/>
                  </a:lnTo>
                  <a:lnTo>
                    <a:pt x="1016" y="980"/>
                  </a:lnTo>
                  <a:lnTo>
                    <a:pt x="1016" y="980"/>
                  </a:lnTo>
                  <a:lnTo>
                    <a:pt x="1016" y="966"/>
                  </a:lnTo>
                  <a:lnTo>
                    <a:pt x="1012" y="954"/>
                  </a:lnTo>
                  <a:lnTo>
                    <a:pt x="1010" y="950"/>
                  </a:lnTo>
                  <a:lnTo>
                    <a:pt x="1006" y="946"/>
                  </a:lnTo>
                  <a:lnTo>
                    <a:pt x="1000" y="942"/>
                  </a:lnTo>
                  <a:lnTo>
                    <a:pt x="992" y="942"/>
                  </a:lnTo>
                  <a:lnTo>
                    <a:pt x="992" y="942"/>
                  </a:lnTo>
                  <a:lnTo>
                    <a:pt x="984" y="942"/>
                  </a:lnTo>
                  <a:lnTo>
                    <a:pt x="978" y="946"/>
                  </a:lnTo>
                  <a:lnTo>
                    <a:pt x="974" y="948"/>
                  </a:lnTo>
                  <a:lnTo>
                    <a:pt x="970" y="954"/>
                  </a:lnTo>
                  <a:lnTo>
                    <a:pt x="968" y="966"/>
                  </a:lnTo>
                  <a:lnTo>
                    <a:pt x="966" y="978"/>
                  </a:lnTo>
                  <a:lnTo>
                    <a:pt x="902" y="978"/>
                  </a:lnTo>
                  <a:lnTo>
                    <a:pt x="902" y="978"/>
                  </a:lnTo>
                  <a:lnTo>
                    <a:pt x="904" y="956"/>
                  </a:lnTo>
                  <a:lnTo>
                    <a:pt x="908" y="938"/>
                  </a:lnTo>
                  <a:lnTo>
                    <a:pt x="914" y="924"/>
                  </a:lnTo>
                  <a:lnTo>
                    <a:pt x="924" y="912"/>
                  </a:lnTo>
                  <a:lnTo>
                    <a:pt x="924" y="912"/>
                  </a:lnTo>
                  <a:lnTo>
                    <a:pt x="936" y="904"/>
                  </a:lnTo>
                  <a:lnTo>
                    <a:pt x="952" y="900"/>
                  </a:lnTo>
                  <a:lnTo>
                    <a:pt x="972" y="896"/>
                  </a:lnTo>
                  <a:lnTo>
                    <a:pt x="994" y="896"/>
                  </a:lnTo>
                  <a:lnTo>
                    <a:pt x="994" y="896"/>
                  </a:lnTo>
                  <a:lnTo>
                    <a:pt x="1014" y="896"/>
                  </a:lnTo>
                  <a:lnTo>
                    <a:pt x="1032" y="900"/>
                  </a:lnTo>
                  <a:lnTo>
                    <a:pt x="1048" y="906"/>
                  </a:lnTo>
                  <a:lnTo>
                    <a:pt x="1060" y="916"/>
                  </a:lnTo>
                  <a:lnTo>
                    <a:pt x="1068" y="926"/>
                  </a:lnTo>
                  <a:lnTo>
                    <a:pt x="1076" y="942"/>
                  </a:lnTo>
                  <a:lnTo>
                    <a:pt x="1080" y="960"/>
                  </a:lnTo>
                  <a:lnTo>
                    <a:pt x="1080" y="980"/>
                  </a:lnTo>
                  <a:lnTo>
                    <a:pt x="1080" y="980"/>
                  </a:lnTo>
                  <a:lnTo>
                    <a:pt x="1078" y="1004"/>
                  </a:lnTo>
                  <a:lnTo>
                    <a:pt x="1076" y="1014"/>
                  </a:lnTo>
                  <a:lnTo>
                    <a:pt x="1072" y="1026"/>
                  </a:lnTo>
                  <a:lnTo>
                    <a:pt x="1066" y="1034"/>
                  </a:lnTo>
                  <a:lnTo>
                    <a:pt x="1058" y="1042"/>
                  </a:lnTo>
                  <a:lnTo>
                    <a:pt x="1050" y="1048"/>
                  </a:lnTo>
                  <a:lnTo>
                    <a:pt x="1038" y="1052"/>
                  </a:lnTo>
                  <a:lnTo>
                    <a:pt x="1038" y="1052"/>
                  </a:lnTo>
                  <a:lnTo>
                    <a:pt x="1038" y="1052"/>
                  </a:lnTo>
                  <a:lnTo>
                    <a:pt x="1052" y="1056"/>
                  </a:lnTo>
                  <a:lnTo>
                    <a:pt x="1062" y="1062"/>
                  </a:lnTo>
                  <a:lnTo>
                    <a:pt x="1072" y="1070"/>
                  </a:lnTo>
                  <a:lnTo>
                    <a:pt x="1078" y="1080"/>
                  </a:lnTo>
                  <a:lnTo>
                    <a:pt x="1082" y="1090"/>
                  </a:lnTo>
                  <a:lnTo>
                    <a:pt x="1084" y="1102"/>
                  </a:lnTo>
                  <a:lnTo>
                    <a:pt x="1086" y="1130"/>
                  </a:lnTo>
                  <a:lnTo>
                    <a:pt x="1086" y="1130"/>
                  </a:lnTo>
                  <a:lnTo>
                    <a:pt x="1084" y="1152"/>
                  </a:lnTo>
                  <a:lnTo>
                    <a:pt x="1080" y="1172"/>
                  </a:lnTo>
                  <a:lnTo>
                    <a:pt x="1072" y="1188"/>
                  </a:lnTo>
                  <a:lnTo>
                    <a:pt x="1060" y="1200"/>
                  </a:lnTo>
                  <a:lnTo>
                    <a:pt x="1046" y="1210"/>
                  </a:lnTo>
                  <a:lnTo>
                    <a:pt x="1030" y="1216"/>
                  </a:lnTo>
                  <a:lnTo>
                    <a:pt x="1010" y="1220"/>
                  </a:lnTo>
                  <a:lnTo>
                    <a:pt x="986" y="1222"/>
                  </a:lnTo>
                  <a:lnTo>
                    <a:pt x="986" y="1222"/>
                  </a:lnTo>
                  <a:close/>
                  <a:moveTo>
                    <a:pt x="1188" y="516"/>
                  </a:moveTo>
                  <a:lnTo>
                    <a:pt x="1188" y="516"/>
                  </a:lnTo>
                  <a:lnTo>
                    <a:pt x="1206" y="516"/>
                  </a:lnTo>
                  <a:lnTo>
                    <a:pt x="1222" y="520"/>
                  </a:lnTo>
                  <a:lnTo>
                    <a:pt x="1236" y="524"/>
                  </a:lnTo>
                  <a:lnTo>
                    <a:pt x="1248" y="532"/>
                  </a:lnTo>
                  <a:lnTo>
                    <a:pt x="1258" y="542"/>
                  </a:lnTo>
                  <a:lnTo>
                    <a:pt x="1266" y="554"/>
                  </a:lnTo>
                  <a:lnTo>
                    <a:pt x="1270" y="570"/>
                  </a:lnTo>
                  <a:lnTo>
                    <a:pt x="1272" y="588"/>
                  </a:lnTo>
                  <a:lnTo>
                    <a:pt x="1206" y="588"/>
                  </a:lnTo>
                  <a:lnTo>
                    <a:pt x="1206" y="588"/>
                  </a:lnTo>
                  <a:lnTo>
                    <a:pt x="1204" y="578"/>
                  </a:lnTo>
                  <a:lnTo>
                    <a:pt x="1202" y="568"/>
                  </a:lnTo>
                  <a:lnTo>
                    <a:pt x="1202" y="568"/>
                  </a:lnTo>
                  <a:lnTo>
                    <a:pt x="1198" y="564"/>
                  </a:lnTo>
                  <a:lnTo>
                    <a:pt x="1194" y="562"/>
                  </a:lnTo>
                  <a:lnTo>
                    <a:pt x="1190" y="560"/>
                  </a:lnTo>
                  <a:lnTo>
                    <a:pt x="1182" y="560"/>
                  </a:lnTo>
                  <a:lnTo>
                    <a:pt x="1182" y="560"/>
                  </a:lnTo>
                  <a:lnTo>
                    <a:pt x="1174" y="560"/>
                  </a:lnTo>
                  <a:lnTo>
                    <a:pt x="1166" y="562"/>
                  </a:lnTo>
                  <a:lnTo>
                    <a:pt x="1162" y="568"/>
                  </a:lnTo>
                  <a:lnTo>
                    <a:pt x="1158" y="576"/>
                  </a:lnTo>
                  <a:lnTo>
                    <a:pt x="1156" y="588"/>
                  </a:lnTo>
                  <a:lnTo>
                    <a:pt x="1154" y="606"/>
                  </a:lnTo>
                  <a:lnTo>
                    <a:pt x="1154" y="654"/>
                  </a:lnTo>
                  <a:lnTo>
                    <a:pt x="1154" y="654"/>
                  </a:lnTo>
                  <a:lnTo>
                    <a:pt x="1166" y="644"/>
                  </a:lnTo>
                  <a:lnTo>
                    <a:pt x="1178" y="638"/>
                  </a:lnTo>
                  <a:lnTo>
                    <a:pt x="1190" y="634"/>
                  </a:lnTo>
                  <a:lnTo>
                    <a:pt x="1204" y="632"/>
                  </a:lnTo>
                  <a:lnTo>
                    <a:pt x="1204" y="632"/>
                  </a:lnTo>
                  <a:lnTo>
                    <a:pt x="1216" y="632"/>
                  </a:lnTo>
                  <a:lnTo>
                    <a:pt x="1224" y="634"/>
                  </a:lnTo>
                  <a:lnTo>
                    <a:pt x="1234" y="638"/>
                  </a:lnTo>
                  <a:lnTo>
                    <a:pt x="1240" y="642"/>
                  </a:lnTo>
                  <a:lnTo>
                    <a:pt x="1248" y="646"/>
                  </a:lnTo>
                  <a:lnTo>
                    <a:pt x="1254" y="652"/>
                  </a:lnTo>
                  <a:lnTo>
                    <a:pt x="1262" y="664"/>
                  </a:lnTo>
                  <a:lnTo>
                    <a:pt x="1268" y="680"/>
                  </a:lnTo>
                  <a:lnTo>
                    <a:pt x="1272" y="698"/>
                  </a:lnTo>
                  <a:lnTo>
                    <a:pt x="1274" y="716"/>
                  </a:lnTo>
                  <a:lnTo>
                    <a:pt x="1276" y="734"/>
                  </a:lnTo>
                  <a:lnTo>
                    <a:pt x="1276" y="734"/>
                  </a:lnTo>
                  <a:lnTo>
                    <a:pt x="1274" y="758"/>
                  </a:lnTo>
                  <a:lnTo>
                    <a:pt x="1270" y="778"/>
                  </a:lnTo>
                  <a:lnTo>
                    <a:pt x="1264" y="796"/>
                  </a:lnTo>
                  <a:lnTo>
                    <a:pt x="1254" y="812"/>
                  </a:lnTo>
                  <a:lnTo>
                    <a:pt x="1242" y="826"/>
                  </a:lnTo>
                  <a:lnTo>
                    <a:pt x="1234" y="830"/>
                  </a:lnTo>
                  <a:lnTo>
                    <a:pt x="1224" y="834"/>
                  </a:lnTo>
                  <a:lnTo>
                    <a:pt x="1204" y="840"/>
                  </a:lnTo>
                  <a:lnTo>
                    <a:pt x="1180" y="842"/>
                  </a:lnTo>
                  <a:lnTo>
                    <a:pt x="1180" y="842"/>
                  </a:lnTo>
                  <a:lnTo>
                    <a:pt x="1166" y="842"/>
                  </a:lnTo>
                  <a:lnTo>
                    <a:pt x="1152" y="838"/>
                  </a:lnTo>
                  <a:lnTo>
                    <a:pt x="1140" y="836"/>
                  </a:lnTo>
                  <a:lnTo>
                    <a:pt x="1130" y="830"/>
                  </a:lnTo>
                  <a:lnTo>
                    <a:pt x="1122" y="824"/>
                  </a:lnTo>
                  <a:lnTo>
                    <a:pt x="1116" y="816"/>
                  </a:lnTo>
                  <a:lnTo>
                    <a:pt x="1110" y="808"/>
                  </a:lnTo>
                  <a:lnTo>
                    <a:pt x="1104" y="798"/>
                  </a:lnTo>
                  <a:lnTo>
                    <a:pt x="1098" y="778"/>
                  </a:lnTo>
                  <a:lnTo>
                    <a:pt x="1094" y="754"/>
                  </a:lnTo>
                  <a:lnTo>
                    <a:pt x="1092" y="730"/>
                  </a:lnTo>
                  <a:lnTo>
                    <a:pt x="1090" y="706"/>
                  </a:lnTo>
                  <a:lnTo>
                    <a:pt x="1090" y="706"/>
                  </a:lnTo>
                  <a:lnTo>
                    <a:pt x="1092" y="662"/>
                  </a:lnTo>
                  <a:lnTo>
                    <a:pt x="1094" y="622"/>
                  </a:lnTo>
                  <a:lnTo>
                    <a:pt x="1098" y="590"/>
                  </a:lnTo>
                  <a:lnTo>
                    <a:pt x="1102" y="576"/>
                  </a:lnTo>
                  <a:lnTo>
                    <a:pt x="1106" y="564"/>
                  </a:lnTo>
                  <a:lnTo>
                    <a:pt x="1112" y="552"/>
                  </a:lnTo>
                  <a:lnTo>
                    <a:pt x="1118" y="542"/>
                  </a:lnTo>
                  <a:lnTo>
                    <a:pt x="1126" y="534"/>
                  </a:lnTo>
                  <a:lnTo>
                    <a:pt x="1134" y="528"/>
                  </a:lnTo>
                  <a:lnTo>
                    <a:pt x="1146" y="522"/>
                  </a:lnTo>
                  <a:lnTo>
                    <a:pt x="1158" y="518"/>
                  </a:lnTo>
                  <a:lnTo>
                    <a:pt x="1172" y="516"/>
                  </a:lnTo>
                  <a:lnTo>
                    <a:pt x="1188" y="516"/>
                  </a:lnTo>
                  <a:lnTo>
                    <a:pt x="1188" y="516"/>
                  </a:lnTo>
                  <a:close/>
                  <a:moveTo>
                    <a:pt x="1302" y="1146"/>
                  </a:moveTo>
                  <a:lnTo>
                    <a:pt x="1276" y="1146"/>
                  </a:lnTo>
                  <a:lnTo>
                    <a:pt x="1276" y="1218"/>
                  </a:lnTo>
                  <a:lnTo>
                    <a:pt x="1214" y="1218"/>
                  </a:lnTo>
                  <a:lnTo>
                    <a:pt x="1214" y="1146"/>
                  </a:lnTo>
                  <a:lnTo>
                    <a:pt x="1116" y="1146"/>
                  </a:lnTo>
                  <a:lnTo>
                    <a:pt x="1116" y="1082"/>
                  </a:lnTo>
                  <a:lnTo>
                    <a:pt x="1116" y="1082"/>
                  </a:lnTo>
                  <a:lnTo>
                    <a:pt x="1192" y="900"/>
                  </a:lnTo>
                  <a:lnTo>
                    <a:pt x="1276" y="900"/>
                  </a:lnTo>
                  <a:lnTo>
                    <a:pt x="1276" y="1096"/>
                  </a:lnTo>
                  <a:lnTo>
                    <a:pt x="1302" y="1096"/>
                  </a:lnTo>
                  <a:lnTo>
                    <a:pt x="1302" y="1146"/>
                  </a:lnTo>
                  <a:close/>
                  <a:moveTo>
                    <a:pt x="1434" y="738"/>
                  </a:moveTo>
                  <a:lnTo>
                    <a:pt x="1322" y="738"/>
                  </a:lnTo>
                  <a:lnTo>
                    <a:pt x="1322" y="692"/>
                  </a:lnTo>
                  <a:lnTo>
                    <a:pt x="1434" y="692"/>
                  </a:lnTo>
                  <a:lnTo>
                    <a:pt x="1434" y="73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8" name="TextBox 23"/>
          <p:cNvSpPr txBox="1">
            <a:spLocks noChangeArrowheads="1"/>
          </p:cNvSpPr>
          <p:nvPr userDrawn="1"/>
        </p:nvSpPr>
        <p:spPr bwMode="auto">
          <a:xfrm>
            <a:off x="4720712" y="6132853"/>
            <a:ext cx="108743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5+</a:t>
            </a:r>
          </a:p>
        </p:txBody>
      </p:sp>
      <p:sp>
        <p:nvSpPr>
          <p:cNvPr id="89" name="Freeform 5">
            <a:extLst>
              <a:ext uri="{FF2B5EF4-FFF2-40B4-BE49-F238E27FC236}">
                <a16:creationId xmlns:a16="http://schemas.microsoft.com/office/drawing/2014/main" id="{76D03754-F1CC-48AC-AFF8-F1FF97C81E20}"/>
              </a:ext>
            </a:extLst>
          </p:cNvPr>
          <p:cNvSpPr>
            <a:spLocks noEditPoints="1"/>
          </p:cNvSpPr>
          <p:nvPr userDrawn="1"/>
        </p:nvSpPr>
        <p:spPr bwMode="auto">
          <a:xfrm>
            <a:off x="4631131" y="4864973"/>
            <a:ext cx="1260000" cy="1260000"/>
          </a:xfrm>
          <a:custGeom>
            <a:avLst/>
            <a:gdLst>
              <a:gd name="T0" fmla="*/ 481 w 1370"/>
              <a:gd name="T1" fmla="*/ 31 h 1370"/>
              <a:gd name="T2" fmla="*/ 249 w 1370"/>
              <a:gd name="T3" fmla="*/ 156 h 1370"/>
              <a:gd name="T4" fmla="*/ 81 w 1370"/>
              <a:gd name="T5" fmla="*/ 360 h 1370"/>
              <a:gd name="T6" fmla="*/ 3 w 1370"/>
              <a:gd name="T7" fmla="*/ 616 h 1370"/>
              <a:gd name="T8" fmla="*/ 21 w 1370"/>
              <a:gd name="T9" fmla="*/ 857 h 1370"/>
              <a:gd name="T10" fmla="*/ 135 w 1370"/>
              <a:gd name="T11" fmla="*/ 1096 h 1370"/>
              <a:gd name="T12" fmla="*/ 329 w 1370"/>
              <a:gd name="T13" fmla="*/ 1272 h 1370"/>
              <a:gd name="T14" fmla="*/ 580 w 1370"/>
              <a:gd name="T15" fmla="*/ 1363 h 1370"/>
              <a:gd name="T16" fmla="*/ 823 w 1370"/>
              <a:gd name="T17" fmla="*/ 1357 h 1370"/>
              <a:gd name="T18" fmla="*/ 1067 w 1370"/>
              <a:gd name="T19" fmla="*/ 1254 h 1370"/>
              <a:gd name="T20" fmla="*/ 1253 w 1370"/>
              <a:gd name="T21" fmla="*/ 1069 h 1370"/>
              <a:gd name="T22" fmla="*/ 1355 w 1370"/>
              <a:gd name="T23" fmla="*/ 824 h 1370"/>
              <a:gd name="T24" fmla="*/ 1362 w 1370"/>
              <a:gd name="T25" fmla="*/ 582 h 1370"/>
              <a:gd name="T26" fmla="*/ 1271 w 1370"/>
              <a:gd name="T27" fmla="*/ 331 h 1370"/>
              <a:gd name="T28" fmla="*/ 1095 w 1370"/>
              <a:gd name="T29" fmla="*/ 137 h 1370"/>
              <a:gd name="T30" fmla="*/ 855 w 1370"/>
              <a:gd name="T31" fmla="*/ 23 h 1370"/>
              <a:gd name="T32" fmla="*/ 588 w 1370"/>
              <a:gd name="T33" fmla="*/ 337 h 1370"/>
              <a:gd name="T34" fmla="*/ 681 w 1370"/>
              <a:gd name="T35" fmla="*/ 430 h 1370"/>
              <a:gd name="T36" fmla="*/ 608 w 1370"/>
              <a:gd name="T37" fmla="*/ 520 h 1370"/>
              <a:gd name="T38" fmla="*/ 503 w 1370"/>
              <a:gd name="T39" fmla="*/ 466 h 1370"/>
              <a:gd name="T40" fmla="*/ 538 w 1370"/>
              <a:gd name="T41" fmla="*/ 353 h 1370"/>
              <a:gd name="T42" fmla="*/ 336 w 1370"/>
              <a:gd name="T43" fmla="*/ 345 h 1370"/>
              <a:gd name="T44" fmla="*/ 391 w 1370"/>
              <a:gd name="T45" fmla="*/ 450 h 1370"/>
              <a:gd name="T46" fmla="*/ 300 w 1370"/>
              <a:gd name="T47" fmla="*/ 523 h 1370"/>
              <a:gd name="T48" fmla="*/ 207 w 1370"/>
              <a:gd name="T49" fmla="*/ 430 h 1370"/>
              <a:gd name="T50" fmla="*/ 280 w 1370"/>
              <a:gd name="T51" fmla="*/ 340 h 1370"/>
              <a:gd name="T52" fmla="*/ 401 w 1370"/>
              <a:gd name="T53" fmla="*/ 790 h 1370"/>
              <a:gd name="T54" fmla="*/ 340 w 1370"/>
              <a:gd name="T55" fmla="*/ 1008 h 1370"/>
              <a:gd name="T56" fmla="*/ 285 w 1370"/>
              <a:gd name="T57" fmla="*/ 986 h 1370"/>
              <a:gd name="T58" fmla="*/ 246 w 1370"/>
              <a:gd name="T59" fmla="*/ 1002 h 1370"/>
              <a:gd name="T60" fmla="*/ 184 w 1370"/>
              <a:gd name="T61" fmla="*/ 780 h 1370"/>
              <a:gd name="T62" fmla="*/ 401 w 1370"/>
              <a:gd name="T63" fmla="*/ 555 h 1370"/>
              <a:gd name="T64" fmla="*/ 650 w 1370"/>
              <a:gd name="T65" fmla="*/ 836 h 1370"/>
              <a:gd name="T66" fmla="*/ 617 w 1370"/>
              <a:gd name="T67" fmla="*/ 1007 h 1370"/>
              <a:gd name="T68" fmla="*/ 572 w 1370"/>
              <a:gd name="T69" fmla="*/ 995 h 1370"/>
              <a:gd name="T70" fmla="*/ 526 w 1370"/>
              <a:gd name="T71" fmla="*/ 986 h 1370"/>
              <a:gd name="T72" fmla="*/ 448 w 1370"/>
              <a:gd name="T73" fmla="*/ 818 h 1370"/>
              <a:gd name="T74" fmla="*/ 583 w 1370"/>
              <a:gd name="T75" fmla="*/ 551 h 1370"/>
              <a:gd name="T76" fmla="*/ 728 w 1370"/>
              <a:gd name="T77" fmla="*/ 803 h 1370"/>
              <a:gd name="T78" fmla="*/ 700 w 1370"/>
              <a:gd name="T79" fmla="*/ 836 h 1370"/>
              <a:gd name="T80" fmla="*/ 784 w 1370"/>
              <a:gd name="T81" fmla="*/ 754 h 1370"/>
              <a:gd name="T82" fmla="*/ 839 w 1370"/>
              <a:gd name="T83" fmla="*/ 753 h 1370"/>
              <a:gd name="T84" fmla="*/ 873 w 1370"/>
              <a:gd name="T85" fmla="*/ 736 h 1370"/>
              <a:gd name="T86" fmla="*/ 858 w 1370"/>
              <a:gd name="T87" fmla="*/ 683 h 1370"/>
              <a:gd name="T88" fmla="*/ 867 w 1370"/>
              <a:gd name="T89" fmla="*/ 630 h 1370"/>
              <a:gd name="T90" fmla="*/ 862 w 1370"/>
              <a:gd name="T91" fmla="*/ 577 h 1370"/>
              <a:gd name="T92" fmla="*/ 834 w 1370"/>
              <a:gd name="T93" fmla="*/ 593 h 1370"/>
              <a:gd name="T94" fmla="*/ 800 w 1370"/>
              <a:gd name="T95" fmla="*/ 551 h 1370"/>
              <a:gd name="T96" fmla="*/ 896 w 1370"/>
              <a:gd name="T97" fmla="*/ 547 h 1370"/>
              <a:gd name="T98" fmla="*/ 917 w 1370"/>
              <a:gd name="T99" fmla="*/ 630 h 1370"/>
              <a:gd name="T100" fmla="*/ 899 w 1370"/>
              <a:gd name="T101" fmla="*/ 663 h 1370"/>
              <a:gd name="T102" fmla="*/ 924 w 1370"/>
              <a:gd name="T103" fmla="*/ 738 h 1370"/>
              <a:gd name="T104" fmla="*/ 849 w 1370"/>
              <a:gd name="T105" fmla="*/ 792 h 1370"/>
              <a:gd name="T106" fmla="*/ 943 w 1370"/>
              <a:gd name="T107" fmla="*/ 759 h 1370"/>
              <a:gd name="T108" fmla="*/ 995 w 1370"/>
              <a:gd name="T109" fmla="*/ 751 h 1370"/>
              <a:gd name="T110" fmla="*/ 1026 w 1370"/>
              <a:gd name="T111" fmla="*/ 743 h 1370"/>
              <a:gd name="T112" fmla="*/ 1021 w 1370"/>
              <a:gd name="T113" fmla="*/ 663 h 1370"/>
              <a:gd name="T114" fmla="*/ 992 w 1370"/>
              <a:gd name="T115" fmla="*/ 676 h 1370"/>
              <a:gd name="T116" fmla="*/ 992 w 1370"/>
              <a:gd name="T117" fmla="*/ 642 h 1370"/>
              <a:gd name="T118" fmla="*/ 1052 w 1370"/>
              <a:gd name="T119" fmla="*/ 630 h 1370"/>
              <a:gd name="T120" fmla="*/ 1078 w 1370"/>
              <a:gd name="T121" fmla="*/ 730 h 1370"/>
              <a:gd name="T122" fmla="*/ 1005 w 1370"/>
              <a:gd name="T123" fmla="*/ 792 h 1370"/>
              <a:gd name="T124" fmla="*/ 1181 w 1370"/>
              <a:gd name="T125" fmla="*/ 585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0" h="1370">
                <a:moveTo>
                  <a:pt x="684" y="0"/>
                </a:moveTo>
                <a:lnTo>
                  <a:pt x="684" y="0"/>
                </a:lnTo>
                <a:lnTo>
                  <a:pt x="648" y="2"/>
                </a:lnTo>
                <a:lnTo>
                  <a:pt x="614" y="5"/>
                </a:lnTo>
                <a:lnTo>
                  <a:pt x="580" y="8"/>
                </a:lnTo>
                <a:lnTo>
                  <a:pt x="546" y="15"/>
                </a:lnTo>
                <a:lnTo>
                  <a:pt x="513" y="23"/>
                </a:lnTo>
                <a:lnTo>
                  <a:pt x="481" y="31"/>
                </a:lnTo>
                <a:lnTo>
                  <a:pt x="448" y="42"/>
                </a:lnTo>
                <a:lnTo>
                  <a:pt x="417" y="54"/>
                </a:lnTo>
                <a:lnTo>
                  <a:pt x="388" y="68"/>
                </a:lnTo>
                <a:lnTo>
                  <a:pt x="358" y="83"/>
                </a:lnTo>
                <a:lnTo>
                  <a:pt x="329" y="99"/>
                </a:lnTo>
                <a:lnTo>
                  <a:pt x="301" y="117"/>
                </a:lnTo>
                <a:lnTo>
                  <a:pt x="274" y="137"/>
                </a:lnTo>
                <a:lnTo>
                  <a:pt x="249" y="156"/>
                </a:lnTo>
                <a:lnTo>
                  <a:pt x="223" y="179"/>
                </a:lnTo>
                <a:lnTo>
                  <a:pt x="200" y="202"/>
                </a:lnTo>
                <a:lnTo>
                  <a:pt x="178" y="225"/>
                </a:lnTo>
                <a:lnTo>
                  <a:pt x="156" y="249"/>
                </a:lnTo>
                <a:lnTo>
                  <a:pt x="135" y="275"/>
                </a:lnTo>
                <a:lnTo>
                  <a:pt x="116" y="303"/>
                </a:lnTo>
                <a:lnTo>
                  <a:pt x="98" y="331"/>
                </a:lnTo>
                <a:lnTo>
                  <a:pt x="81" y="360"/>
                </a:lnTo>
                <a:lnTo>
                  <a:pt x="67" y="389"/>
                </a:lnTo>
                <a:lnTo>
                  <a:pt x="54" y="419"/>
                </a:lnTo>
                <a:lnTo>
                  <a:pt x="41" y="450"/>
                </a:lnTo>
                <a:lnTo>
                  <a:pt x="29" y="482"/>
                </a:lnTo>
                <a:lnTo>
                  <a:pt x="21" y="515"/>
                </a:lnTo>
                <a:lnTo>
                  <a:pt x="13" y="547"/>
                </a:lnTo>
                <a:lnTo>
                  <a:pt x="7" y="582"/>
                </a:lnTo>
                <a:lnTo>
                  <a:pt x="3" y="616"/>
                </a:lnTo>
                <a:lnTo>
                  <a:pt x="0" y="650"/>
                </a:lnTo>
                <a:lnTo>
                  <a:pt x="0" y="686"/>
                </a:lnTo>
                <a:lnTo>
                  <a:pt x="0" y="686"/>
                </a:lnTo>
                <a:lnTo>
                  <a:pt x="0" y="722"/>
                </a:lnTo>
                <a:lnTo>
                  <a:pt x="3" y="756"/>
                </a:lnTo>
                <a:lnTo>
                  <a:pt x="7" y="790"/>
                </a:lnTo>
                <a:lnTo>
                  <a:pt x="13" y="824"/>
                </a:lnTo>
                <a:lnTo>
                  <a:pt x="21" y="857"/>
                </a:lnTo>
                <a:lnTo>
                  <a:pt x="29" y="889"/>
                </a:lnTo>
                <a:lnTo>
                  <a:pt x="41" y="922"/>
                </a:lnTo>
                <a:lnTo>
                  <a:pt x="54" y="953"/>
                </a:lnTo>
                <a:lnTo>
                  <a:pt x="67" y="982"/>
                </a:lnTo>
                <a:lnTo>
                  <a:pt x="81" y="1012"/>
                </a:lnTo>
                <a:lnTo>
                  <a:pt x="98" y="1041"/>
                </a:lnTo>
                <a:lnTo>
                  <a:pt x="116" y="1069"/>
                </a:lnTo>
                <a:lnTo>
                  <a:pt x="135" y="1096"/>
                </a:lnTo>
                <a:lnTo>
                  <a:pt x="156" y="1121"/>
                </a:lnTo>
                <a:lnTo>
                  <a:pt x="178" y="1147"/>
                </a:lnTo>
                <a:lnTo>
                  <a:pt x="200" y="1170"/>
                </a:lnTo>
                <a:lnTo>
                  <a:pt x="223" y="1192"/>
                </a:lnTo>
                <a:lnTo>
                  <a:pt x="249" y="1214"/>
                </a:lnTo>
                <a:lnTo>
                  <a:pt x="274" y="1235"/>
                </a:lnTo>
                <a:lnTo>
                  <a:pt x="301" y="1254"/>
                </a:lnTo>
                <a:lnTo>
                  <a:pt x="329" y="1272"/>
                </a:lnTo>
                <a:lnTo>
                  <a:pt x="358" y="1289"/>
                </a:lnTo>
                <a:lnTo>
                  <a:pt x="388" y="1303"/>
                </a:lnTo>
                <a:lnTo>
                  <a:pt x="417" y="1316"/>
                </a:lnTo>
                <a:lnTo>
                  <a:pt x="448" y="1329"/>
                </a:lnTo>
                <a:lnTo>
                  <a:pt x="481" y="1341"/>
                </a:lnTo>
                <a:lnTo>
                  <a:pt x="513" y="1349"/>
                </a:lnTo>
                <a:lnTo>
                  <a:pt x="546" y="1357"/>
                </a:lnTo>
                <a:lnTo>
                  <a:pt x="580" y="1363"/>
                </a:lnTo>
                <a:lnTo>
                  <a:pt x="614" y="1367"/>
                </a:lnTo>
                <a:lnTo>
                  <a:pt x="648" y="1370"/>
                </a:lnTo>
                <a:lnTo>
                  <a:pt x="684" y="1370"/>
                </a:lnTo>
                <a:lnTo>
                  <a:pt x="684" y="1370"/>
                </a:lnTo>
                <a:lnTo>
                  <a:pt x="720" y="1370"/>
                </a:lnTo>
                <a:lnTo>
                  <a:pt x="754" y="1367"/>
                </a:lnTo>
                <a:lnTo>
                  <a:pt x="788" y="1363"/>
                </a:lnTo>
                <a:lnTo>
                  <a:pt x="823" y="1357"/>
                </a:lnTo>
                <a:lnTo>
                  <a:pt x="855" y="1349"/>
                </a:lnTo>
                <a:lnTo>
                  <a:pt x="888" y="1341"/>
                </a:lnTo>
                <a:lnTo>
                  <a:pt x="920" y="1329"/>
                </a:lnTo>
                <a:lnTo>
                  <a:pt x="951" y="1316"/>
                </a:lnTo>
                <a:lnTo>
                  <a:pt x="981" y="1303"/>
                </a:lnTo>
                <a:lnTo>
                  <a:pt x="1010" y="1289"/>
                </a:lnTo>
                <a:lnTo>
                  <a:pt x="1039" y="1272"/>
                </a:lnTo>
                <a:lnTo>
                  <a:pt x="1067" y="1254"/>
                </a:lnTo>
                <a:lnTo>
                  <a:pt x="1095" y="1235"/>
                </a:lnTo>
                <a:lnTo>
                  <a:pt x="1121" y="1214"/>
                </a:lnTo>
                <a:lnTo>
                  <a:pt x="1145" y="1192"/>
                </a:lnTo>
                <a:lnTo>
                  <a:pt x="1168" y="1170"/>
                </a:lnTo>
                <a:lnTo>
                  <a:pt x="1191" y="1147"/>
                </a:lnTo>
                <a:lnTo>
                  <a:pt x="1214" y="1121"/>
                </a:lnTo>
                <a:lnTo>
                  <a:pt x="1233" y="1096"/>
                </a:lnTo>
                <a:lnTo>
                  <a:pt x="1253" y="1069"/>
                </a:lnTo>
                <a:lnTo>
                  <a:pt x="1271" y="1041"/>
                </a:lnTo>
                <a:lnTo>
                  <a:pt x="1287" y="1012"/>
                </a:lnTo>
                <a:lnTo>
                  <a:pt x="1302" y="982"/>
                </a:lnTo>
                <a:lnTo>
                  <a:pt x="1316" y="953"/>
                </a:lnTo>
                <a:lnTo>
                  <a:pt x="1328" y="922"/>
                </a:lnTo>
                <a:lnTo>
                  <a:pt x="1339" y="889"/>
                </a:lnTo>
                <a:lnTo>
                  <a:pt x="1347" y="857"/>
                </a:lnTo>
                <a:lnTo>
                  <a:pt x="1355" y="824"/>
                </a:lnTo>
                <a:lnTo>
                  <a:pt x="1362" y="790"/>
                </a:lnTo>
                <a:lnTo>
                  <a:pt x="1365" y="756"/>
                </a:lnTo>
                <a:lnTo>
                  <a:pt x="1368" y="722"/>
                </a:lnTo>
                <a:lnTo>
                  <a:pt x="1370" y="686"/>
                </a:lnTo>
                <a:lnTo>
                  <a:pt x="1370" y="686"/>
                </a:lnTo>
                <a:lnTo>
                  <a:pt x="1368" y="650"/>
                </a:lnTo>
                <a:lnTo>
                  <a:pt x="1365" y="616"/>
                </a:lnTo>
                <a:lnTo>
                  <a:pt x="1362" y="582"/>
                </a:lnTo>
                <a:lnTo>
                  <a:pt x="1355" y="547"/>
                </a:lnTo>
                <a:lnTo>
                  <a:pt x="1347" y="515"/>
                </a:lnTo>
                <a:lnTo>
                  <a:pt x="1339" y="482"/>
                </a:lnTo>
                <a:lnTo>
                  <a:pt x="1328" y="450"/>
                </a:lnTo>
                <a:lnTo>
                  <a:pt x="1316" y="419"/>
                </a:lnTo>
                <a:lnTo>
                  <a:pt x="1302" y="389"/>
                </a:lnTo>
                <a:lnTo>
                  <a:pt x="1287" y="360"/>
                </a:lnTo>
                <a:lnTo>
                  <a:pt x="1271" y="331"/>
                </a:lnTo>
                <a:lnTo>
                  <a:pt x="1253" y="303"/>
                </a:lnTo>
                <a:lnTo>
                  <a:pt x="1233" y="275"/>
                </a:lnTo>
                <a:lnTo>
                  <a:pt x="1214" y="249"/>
                </a:lnTo>
                <a:lnTo>
                  <a:pt x="1191" y="225"/>
                </a:lnTo>
                <a:lnTo>
                  <a:pt x="1168" y="202"/>
                </a:lnTo>
                <a:lnTo>
                  <a:pt x="1145" y="179"/>
                </a:lnTo>
                <a:lnTo>
                  <a:pt x="1121" y="156"/>
                </a:lnTo>
                <a:lnTo>
                  <a:pt x="1095" y="137"/>
                </a:lnTo>
                <a:lnTo>
                  <a:pt x="1067" y="117"/>
                </a:lnTo>
                <a:lnTo>
                  <a:pt x="1039" y="99"/>
                </a:lnTo>
                <a:lnTo>
                  <a:pt x="1010" y="83"/>
                </a:lnTo>
                <a:lnTo>
                  <a:pt x="981" y="68"/>
                </a:lnTo>
                <a:lnTo>
                  <a:pt x="951" y="54"/>
                </a:lnTo>
                <a:lnTo>
                  <a:pt x="920" y="42"/>
                </a:lnTo>
                <a:lnTo>
                  <a:pt x="888" y="31"/>
                </a:lnTo>
                <a:lnTo>
                  <a:pt x="855" y="23"/>
                </a:lnTo>
                <a:lnTo>
                  <a:pt x="823" y="15"/>
                </a:lnTo>
                <a:lnTo>
                  <a:pt x="788" y="8"/>
                </a:lnTo>
                <a:lnTo>
                  <a:pt x="754" y="5"/>
                </a:lnTo>
                <a:lnTo>
                  <a:pt x="720" y="2"/>
                </a:lnTo>
                <a:lnTo>
                  <a:pt x="684" y="0"/>
                </a:lnTo>
                <a:lnTo>
                  <a:pt x="684" y="0"/>
                </a:lnTo>
                <a:close/>
                <a:moveTo>
                  <a:pt x="588" y="337"/>
                </a:moveTo>
                <a:lnTo>
                  <a:pt x="588" y="337"/>
                </a:lnTo>
                <a:lnTo>
                  <a:pt x="608" y="339"/>
                </a:lnTo>
                <a:lnTo>
                  <a:pt x="624" y="344"/>
                </a:lnTo>
                <a:lnTo>
                  <a:pt x="640" y="353"/>
                </a:lnTo>
                <a:lnTo>
                  <a:pt x="653" y="365"/>
                </a:lnTo>
                <a:lnTo>
                  <a:pt x="665" y="378"/>
                </a:lnTo>
                <a:lnTo>
                  <a:pt x="673" y="394"/>
                </a:lnTo>
                <a:lnTo>
                  <a:pt x="679" y="411"/>
                </a:lnTo>
                <a:lnTo>
                  <a:pt x="681" y="430"/>
                </a:lnTo>
                <a:lnTo>
                  <a:pt x="681" y="430"/>
                </a:lnTo>
                <a:lnTo>
                  <a:pt x="679" y="448"/>
                </a:lnTo>
                <a:lnTo>
                  <a:pt x="673" y="466"/>
                </a:lnTo>
                <a:lnTo>
                  <a:pt x="665" y="481"/>
                </a:lnTo>
                <a:lnTo>
                  <a:pt x="653" y="495"/>
                </a:lnTo>
                <a:lnTo>
                  <a:pt x="640" y="505"/>
                </a:lnTo>
                <a:lnTo>
                  <a:pt x="624" y="515"/>
                </a:lnTo>
                <a:lnTo>
                  <a:pt x="608" y="520"/>
                </a:lnTo>
                <a:lnTo>
                  <a:pt x="588" y="521"/>
                </a:lnTo>
                <a:lnTo>
                  <a:pt x="588" y="521"/>
                </a:lnTo>
                <a:lnTo>
                  <a:pt x="570" y="520"/>
                </a:lnTo>
                <a:lnTo>
                  <a:pt x="552" y="515"/>
                </a:lnTo>
                <a:lnTo>
                  <a:pt x="538" y="505"/>
                </a:lnTo>
                <a:lnTo>
                  <a:pt x="523" y="495"/>
                </a:lnTo>
                <a:lnTo>
                  <a:pt x="512" y="481"/>
                </a:lnTo>
                <a:lnTo>
                  <a:pt x="503" y="466"/>
                </a:lnTo>
                <a:lnTo>
                  <a:pt x="498" y="448"/>
                </a:lnTo>
                <a:lnTo>
                  <a:pt x="497" y="430"/>
                </a:lnTo>
                <a:lnTo>
                  <a:pt x="497" y="430"/>
                </a:lnTo>
                <a:lnTo>
                  <a:pt x="498" y="411"/>
                </a:lnTo>
                <a:lnTo>
                  <a:pt x="503" y="394"/>
                </a:lnTo>
                <a:lnTo>
                  <a:pt x="512" y="378"/>
                </a:lnTo>
                <a:lnTo>
                  <a:pt x="523" y="365"/>
                </a:lnTo>
                <a:lnTo>
                  <a:pt x="538" y="353"/>
                </a:lnTo>
                <a:lnTo>
                  <a:pt x="552" y="344"/>
                </a:lnTo>
                <a:lnTo>
                  <a:pt x="570" y="339"/>
                </a:lnTo>
                <a:lnTo>
                  <a:pt x="588" y="337"/>
                </a:lnTo>
                <a:lnTo>
                  <a:pt x="588" y="337"/>
                </a:lnTo>
                <a:close/>
                <a:moveTo>
                  <a:pt x="300" y="337"/>
                </a:moveTo>
                <a:lnTo>
                  <a:pt x="300" y="337"/>
                </a:lnTo>
                <a:lnTo>
                  <a:pt x="318" y="340"/>
                </a:lnTo>
                <a:lnTo>
                  <a:pt x="336" y="345"/>
                </a:lnTo>
                <a:lnTo>
                  <a:pt x="352" y="353"/>
                </a:lnTo>
                <a:lnTo>
                  <a:pt x="365" y="365"/>
                </a:lnTo>
                <a:lnTo>
                  <a:pt x="376" y="378"/>
                </a:lnTo>
                <a:lnTo>
                  <a:pt x="384" y="394"/>
                </a:lnTo>
                <a:lnTo>
                  <a:pt x="391" y="412"/>
                </a:lnTo>
                <a:lnTo>
                  <a:pt x="393" y="430"/>
                </a:lnTo>
                <a:lnTo>
                  <a:pt x="393" y="430"/>
                </a:lnTo>
                <a:lnTo>
                  <a:pt x="391" y="450"/>
                </a:lnTo>
                <a:lnTo>
                  <a:pt x="384" y="466"/>
                </a:lnTo>
                <a:lnTo>
                  <a:pt x="376" y="482"/>
                </a:lnTo>
                <a:lnTo>
                  <a:pt x="365" y="497"/>
                </a:lnTo>
                <a:lnTo>
                  <a:pt x="352" y="508"/>
                </a:lnTo>
                <a:lnTo>
                  <a:pt x="336" y="516"/>
                </a:lnTo>
                <a:lnTo>
                  <a:pt x="318" y="521"/>
                </a:lnTo>
                <a:lnTo>
                  <a:pt x="300" y="523"/>
                </a:lnTo>
                <a:lnTo>
                  <a:pt x="300" y="523"/>
                </a:lnTo>
                <a:lnTo>
                  <a:pt x="280" y="521"/>
                </a:lnTo>
                <a:lnTo>
                  <a:pt x="264" y="516"/>
                </a:lnTo>
                <a:lnTo>
                  <a:pt x="248" y="508"/>
                </a:lnTo>
                <a:lnTo>
                  <a:pt x="235" y="497"/>
                </a:lnTo>
                <a:lnTo>
                  <a:pt x="223" y="482"/>
                </a:lnTo>
                <a:lnTo>
                  <a:pt x="213" y="466"/>
                </a:lnTo>
                <a:lnTo>
                  <a:pt x="209" y="450"/>
                </a:lnTo>
                <a:lnTo>
                  <a:pt x="207" y="430"/>
                </a:lnTo>
                <a:lnTo>
                  <a:pt x="207" y="430"/>
                </a:lnTo>
                <a:lnTo>
                  <a:pt x="209" y="412"/>
                </a:lnTo>
                <a:lnTo>
                  <a:pt x="213" y="394"/>
                </a:lnTo>
                <a:lnTo>
                  <a:pt x="223" y="378"/>
                </a:lnTo>
                <a:lnTo>
                  <a:pt x="235" y="365"/>
                </a:lnTo>
                <a:lnTo>
                  <a:pt x="248" y="353"/>
                </a:lnTo>
                <a:lnTo>
                  <a:pt x="264" y="345"/>
                </a:lnTo>
                <a:lnTo>
                  <a:pt x="280" y="340"/>
                </a:lnTo>
                <a:lnTo>
                  <a:pt x="300" y="337"/>
                </a:lnTo>
                <a:lnTo>
                  <a:pt x="300" y="337"/>
                </a:lnTo>
                <a:close/>
                <a:moveTo>
                  <a:pt x="415" y="775"/>
                </a:moveTo>
                <a:lnTo>
                  <a:pt x="415" y="775"/>
                </a:lnTo>
                <a:lnTo>
                  <a:pt x="414" y="780"/>
                </a:lnTo>
                <a:lnTo>
                  <a:pt x="411" y="785"/>
                </a:lnTo>
                <a:lnTo>
                  <a:pt x="406" y="788"/>
                </a:lnTo>
                <a:lnTo>
                  <a:pt x="401" y="790"/>
                </a:lnTo>
                <a:lnTo>
                  <a:pt x="363" y="790"/>
                </a:lnTo>
                <a:lnTo>
                  <a:pt x="363" y="986"/>
                </a:lnTo>
                <a:lnTo>
                  <a:pt x="363" y="986"/>
                </a:lnTo>
                <a:lnTo>
                  <a:pt x="362" y="994"/>
                </a:lnTo>
                <a:lnTo>
                  <a:pt x="357" y="1002"/>
                </a:lnTo>
                <a:lnTo>
                  <a:pt x="349" y="1007"/>
                </a:lnTo>
                <a:lnTo>
                  <a:pt x="340" y="1008"/>
                </a:lnTo>
                <a:lnTo>
                  <a:pt x="340" y="1008"/>
                </a:lnTo>
                <a:lnTo>
                  <a:pt x="331" y="1007"/>
                </a:lnTo>
                <a:lnTo>
                  <a:pt x="323" y="1002"/>
                </a:lnTo>
                <a:lnTo>
                  <a:pt x="318" y="994"/>
                </a:lnTo>
                <a:lnTo>
                  <a:pt x="316" y="986"/>
                </a:lnTo>
                <a:lnTo>
                  <a:pt x="316" y="790"/>
                </a:lnTo>
                <a:lnTo>
                  <a:pt x="285" y="790"/>
                </a:lnTo>
                <a:lnTo>
                  <a:pt x="285" y="986"/>
                </a:lnTo>
                <a:lnTo>
                  <a:pt x="285" y="986"/>
                </a:lnTo>
                <a:lnTo>
                  <a:pt x="283" y="994"/>
                </a:lnTo>
                <a:lnTo>
                  <a:pt x="279" y="1002"/>
                </a:lnTo>
                <a:lnTo>
                  <a:pt x="272" y="1007"/>
                </a:lnTo>
                <a:lnTo>
                  <a:pt x="262" y="1008"/>
                </a:lnTo>
                <a:lnTo>
                  <a:pt x="262" y="1008"/>
                </a:lnTo>
                <a:lnTo>
                  <a:pt x="262" y="1008"/>
                </a:lnTo>
                <a:lnTo>
                  <a:pt x="252" y="1007"/>
                </a:lnTo>
                <a:lnTo>
                  <a:pt x="246" y="1002"/>
                </a:lnTo>
                <a:lnTo>
                  <a:pt x="241" y="994"/>
                </a:lnTo>
                <a:lnTo>
                  <a:pt x="239" y="986"/>
                </a:lnTo>
                <a:lnTo>
                  <a:pt x="239" y="790"/>
                </a:lnTo>
                <a:lnTo>
                  <a:pt x="199" y="790"/>
                </a:lnTo>
                <a:lnTo>
                  <a:pt x="199" y="790"/>
                </a:lnTo>
                <a:lnTo>
                  <a:pt x="192" y="788"/>
                </a:lnTo>
                <a:lnTo>
                  <a:pt x="187" y="785"/>
                </a:lnTo>
                <a:lnTo>
                  <a:pt x="184" y="780"/>
                </a:lnTo>
                <a:lnTo>
                  <a:pt x="182" y="775"/>
                </a:lnTo>
                <a:lnTo>
                  <a:pt x="182" y="570"/>
                </a:lnTo>
                <a:lnTo>
                  <a:pt x="182" y="570"/>
                </a:lnTo>
                <a:lnTo>
                  <a:pt x="184" y="565"/>
                </a:lnTo>
                <a:lnTo>
                  <a:pt x="187" y="560"/>
                </a:lnTo>
                <a:lnTo>
                  <a:pt x="192" y="557"/>
                </a:lnTo>
                <a:lnTo>
                  <a:pt x="199" y="555"/>
                </a:lnTo>
                <a:lnTo>
                  <a:pt x="401" y="555"/>
                </a:lnTo>
                <a:lnTo>
                  <a:pt x="401" y="555"/>
                </a:lnTo>
                <a:lnTo>
                  <a:pt x="406" y="557"/>
                </a:lnTo>
                <a:lnTo>
                  <a:pt x="411" y="560"/>
                </a:lnTo>
                <a:lnTo>
                  <a:pt x="414" y="565"/>
                </a:lnTo>
                <a:lnTo>
                  <a:pt x="415" y="570"/>
                </a:lnTo>
                <a:lnTo>
                  <a:pt x="415" y="775"/>
                </a:lnTo>
                <a:close/>
                <a:moveTo>
                  <a:pt x="700" y="836"/>
                </a:moveTo>
                <a:lnTo>
                  <a:pt x="650" y="836"/>
                </a:lnTo>
                <a:lnTo>
                  <a:pt x="650" y="986"/>
                </a:lnTo>
                <a:lnTo>
                  <a:pt x="650" y="986"/>
                </a:lnTo>
                <a:lnTo>
                  <a:pt x="648" y="995"/>
                </a:lnTo>
                <a:lnTo>
                  <a:pt x="643" y="1002"/>
                </a:lnTo>
                <a:lnTo>
                  <a:pt x="637" y="1007"/>
                </a:lnTo>
                <a:lnTo>
                  <a:pt x="627" y="1010"/>
                </a:lnTo>
                <a:lnTo>
                  <a:pt x="627" y="1010"/>
                </a:lnTo>
                <a:lnTo>
                  <a:pt x="617" y="1007"/>
                </a:lnTo>
                <a:lnTo>
                  <a:pt x="611" y="1002"/>
                </a:lnTo>
                <a:lnTo>
                  <a:pt x="604" y="995"/>
                </a:lnTo>
                <a:lnTo>
                  <a:pt x="603" y="986"/>
                </a:lnTo>
                <a:lnTo>
                  <a:pt x="603" y="836"/>
                </a:lnTo>
                <a:lnTo>
                  <a:pt x="573" y="836"/>
                </a:lnTo>
                <a:lnTo>
                  <a:pt x="573" y="986"/>
                </a:lnTo>
                <a:lnTo>
                  <a:pt x="573" y="986"/>
                </a:lnTo>
                <a:lnTo>
                  <a:pt x="572" y="995"/>
                </a:lnTo>
                <a:lnTo>
                  <a:pt x="567" y="1002"/>
                </a:lnTo>
                <a:lnTo>
                  <a:pt x="559" y="1007"/>
                </a:lnTo>
                <a:lnTo>
                  <a:pt x="549" y="1010"/>
                </a:lnTo>
                <a:lnTo>
                  <a:pt x="549" y="1010"/>
                </a:lnTo>
                <a:lnTo>
                  <a:pt x="541" y="1007"/>
                </a:lnTo>
                <a:lnTo>
                  <a:pt x="533" y="1002"/>
                </a:lnTo>
                <a:lnTo>
                  <a:pt x="528" y="995"/>
                </a:lnTo>
                <a:lnTo>
                  <a:pt x="526" y="986"/>
                </a:lnTo>
                <a:lnTo>
                  <a:pt x="526" y="836"/>
                </a:lnTo>
                <a:lnTo>
                  <a:pt x="477" y="836"/>
                </a:lnTo>
                <a:lnTo>
                  <a:pt x="477" y="836"/>
                </a:lnTo>
                <a:lnTo>
                  <a:pt x="468" y="836"/>
                </a:lnTo>
                <a:lnTo>
                  <a:pt x="461" y="832"/>
                </a:lnTo>
                <a:lnTo>
                  <a:pt x="454" y="829"/>
                </a:lnTo>
                <a:lnTo>
                  <a:pt x="450" y="824"/>
                </a:lnTo>
                <a:lnTo>
                  <a:pt x="448" y="818"/>
                </a:lnTo>
                <a:lnTo>
                  <a:pt x="446" y="811"/>
                </a:lnTo>
                <a:lnTo>
                  <a:pt x="448" y="803"/>
                </a:lnTo>
                <a:lnTo>
                  <a:pt x="451" y="795"/>
                </a:lnTo>
                <a:lnTo>
                  <a:pt x="567" y="567"/>
                </a:lnTo>
                <a:lnTo>
                  <a:pt x="567" y="567"/>
                </a:lnTo>
                <a:lnTo>
                  <a:pt x="572" y="559"/>
                </a:lnTo>
                <a:lnTo>
                  <a:pt x="577" y="554"/>
                </a:lnTo>
                <a:lnTo>
                  <a:pt x="583" y="551"/>
                </a:lnTo>
                <a:lnTo>
                  <a:pt x="588" y="549"/>
                </a:lnTo>
                <a:lnTo>
                  <a:pt x="595" y="551"/>
                </a:lnTo>
                <a:lnTo>
                  <a:pt x="599" y="554"/>
                </a:lnTo>
                <a:lnTo>
                  <a:pt x="604" y="559"/>
                </a:lnTo>
                <a:lnTo>
                  <a:pt x="609" y="567"/>
                </a:lnTo>
                <a:lnTo>
                  <a:pt x="725" y="795"/>
                </a:lnTo>
                <a:lnTo>
                  <a:pt x="725" y="795"/>
                </a:lnTo>
                <a:lnTo>
                  <a:pt x="728" y="803"/>
                </a:lnTo>
                <a:lnTo>
                  <a:pt x="730" y="811"/>
                </a:lnTo>
                <a:lnTo>
                  <a:pt x="728" y="818"/>
                </a:lnTo>
                <a:lnTo>
                  <a:pt x="727" y="824"/>
                </a:lnTo>
                <a:lnTo>
                  <a:pt x="722" y="829"/>
                </a:lnTo>
                <a:lnTo>
                  <a:pt x="717" y="832"/>
                </a:lnTo>
                <a:lnTo>
                  <a:pt x="709" y="836"/>
                </a:lnTo>
                <a:lnTo>
                  <a:pt x="700" y="836"/>
                </a:lnTo>
                <a:lnTo>
                  <a:pt x="700" y="836"/>
                </a:lnTo>
                <a:close/>
                <a:moveTo>
                  <a:pt x="849" y="792"/>
                </a:moveTo>
                <a:lnTo>
                  <a:pt x="849" y="792"/>
                </a:lnTo>
                <a:lnTo>
                  <a:pt x="831" y="790"/>
                </a:lnTo>
                <a:lnTo>
                  <a:pt x="816" y="788"/>
                </a:lnTo>
                <a:lnTo>
                  <a:pt x="805" y="784"/>
                </a:lnTo>
                <a:lnTo>
                  <a:pt x="797" y="775"/>
                </a:lnTo>
                <a:lnTo>
                  <a:pt x="788" y="767"/>
                </a:lnTo>
                <a:lnTo>
                  <a:pt x="784" y="754"/>
                </a:lnTo>
                <a:lnTo>
                  <a:pt x="782" y="740"/>
                </a:lnTo>
                <a:lnTo>
                  <a:pt x="780" y="722"/>
                </a:lnTo>
                <a:lnTo>
                  <a:pt x="831" y="722"/>
                </a:lnTo>
                <a:lnTo>
                  <a:pt x="831" y="722"/>
                </a:lnTo>
                <a:lnTo>
                  <a:pt x="831" y="733"/>
                </a:lnTo>
                <a:lnTo>
                  <a:pt x="832" y="744"/>
                </a:lnTo>
                <a:lnTo>
                  <a:pt x="834" y="749"/>
                </a:lnTo>
                <a:lnTo>
                  <a:pt x="839" y="753"/>
                </a:lnTo>
                <a:lnTo>
                  <a:pt x="844" y="754"/>
                </a:lnTo>
                <a:lnTo>
                  <a:pt x="850" y="756"/>
                </a:lnTo>
                <a:lnTo>
                  <a:pt x="850" y="756"/>
                </a:lnTo>
                <a:lnTo>
                  <a:pt x="858" y="754"/>
                </a:lnTo>
                <a:lnTo>
                  <a:pt x="865" y="751"/>
                </a:lnTo>
                <a:lnTo>
                  <a:pt x="868" y="748"/>
                </a:lnTo>
                <a:lnTo>
                  <a:pt x="872" y="743"/>
                </a:lnTo>
                <a:lnTo>
                  <a:pt x="873" y="736"/>
                </a:lnTo>
                <a:lnTo>
                  <a:pt x="875" y="730"/>
                </a:lnTo>
                <a:lnTo>
                  <a:pt x="875" y="717"/>
                </a:lnTo>
                <a:lnTo>
                  <a:pt x="875" y="717"/>
                </a:lnTo>
                <a:lnTo>
                  <a:pt x="875" y="705"/>
                </a:lnTo>
                <a:lnTo>
                  <a:pt x="873" y="696"/>
                </a:lnTo>
                <a:lnTo>
                  <a:pt x="870" y="689"/>
                </a:lnTo>
                <a:lnTo>
                  <a:pt x="865" y="684"/>
                </a:lnTo>
                <a:lnTo>
                  <a:pt x="858" y="683"/>
                </a:lnTo>
                <a:lnTo>
                  <a:pt x="850" y="681"/>
                </a:lnTo>
                <a:lnTo>
                  <a:pt x="829" y="679"/>
                </a:lnTo>
                <a:lnTo>
                  <a:pt x="829" y="640"/>
                </a:lnTo>
                <a:lnTo>
                  <a:pt x="829" y="640"/>
                </a:lnTo>
                <a:lnTo>
                  <a:pt x="849" y="640"/>
                </a:lnTo>
                <a:lnTo>
                  <a:pt x="857" y="639"/>
                </a:lnTo>
                <a:lnTo>
                  <a:pt x="862" y="635"/>
                </a:lnTo>
                <a:lnTo>
                  <a:pt x="867" y="630"/>
                </a:lnTo>
                <a:lnTo>
                  <a:pt x="870" y="624"/>
                </a:lnTo>
                <a:lnTo>
                  <a:pt x="872" y="616"/>
                </a:lnTo>
                <a:lnTo>
                  <a:pt x="872" y="604"/>
                </a:lnTo>
                <a:lnTo>
                  <a:pt x="872" y="604"/>
                </a:lnTo>
                <a:lnTo>
                  <a:pt x="872" y="593"/>
                </a:lnTo>
                <a:lnTo>
                  <a:pt x="868" y="583"/>
                </a:lnTo>
                <a:lnTo>
                  <a:pt x="865" y="580"/>
                </a:lnTo>
                <a:lnTo>
                  <a:pt x="862" y="577"/>
                </a:lnTo>
                <a:lnTo>
                  <a:pt x="858" y="575"/>
                </a:lnTo>
                <a:lnTo>
                  <a:pt x="852" y="575"/>
                </a:lnTo>
                <a:lnTo>
                  <a:pt x="852" y="575"/>
                </a:lnTo>
                <a:lnTo>
                  <a:pt x="847" y="575"/>
                </a:lnTo>
                <a:lnTo>
                  <a:pt x="842" y="577"/>
                </a:lnTo>
                <a:lnTo>
                  <a:pt x="839" y="580"/>
                </a:lnTo>
                <a:lnTo>
                  <a:pt x="836" y="583"/>
                </a:lnTo>
                <a:lnTo>
                  <a:pt x="834" y="593"/>
                </a:lnTo>
                <a:lnTo>
                  <a:pt x="832" y="603"/>
                </a:lnTo>
                <a:lnTo>
                  <a:pt x="784" y="603"/>
                </a:lnTo>
                <a:lnTo>
                  <a:pt x="784" y="603"/>
                </a:lnTo>
                <a:lnTo>
                  <a:pt x="784" y="585"/>
                </a:lnTo>
                <a:lnTo>
                  <a:pt x="787" y="572"/>
                </a:lnTo>
                <a:lnTo>
                  <a:pt x="793" y="560"/>
                </a:lnTo>
                <a:lnTo>
                  <a:pt x="800" y="551"/>
                </a:lnTo>
                <a:lnTo>
                  <a:pt x="800" y="551"/>
                </a:lnTo>
                <a:lnTo>
                  <a:pt x="810" y="546"/>
                </a:lnTo>
                <a:lnTo>
                  <a:pt x="821" y="541"/>
                </a:lnTo>
                <a:lnTo>
                  <a:pt x="836" y="539"/>
                </a:lnTo>
                <a:lnTo>
                  <a:pt x="854" y="538"/>
                </a:lnTo>
                <a:lnTo>
                  <a:pt x="854" y="538"/>
                </a:lnTo>
                <a:lnTo>
                  <a:pt x="870" y="539"/>
                </a:lnTo>
                <a:lnTo>
                  <a:pt x="883" y="542"/>
                </a:lnTo>
                <a:lnTo>
                  <a:pt x="896" y="547"/>
                </a:lnTo>
                <a:lnTo>
                  <a:pt x="904" y="554"/>
                </a:lnTo>
                <a:lnTo>
                  <a:pt x="912" y="562"/>
                </a:lnTo>
                <a:lnTo>
                  <a:pt x="917" y="573"/>
                </a:lnTo>
                <a:lnTo>
                  <a:pt x="920" y="588"/>
                </a:lnTo>
                <a:lnTo>
                  <a:pt x="922" y="604"/>
                </a:lnTo>
                <a:lnTo>
                  <a:pt x="922" y="604"/>
                </a:lnTo>
                <a:lnTo>
                  <a:pt x="920" y="622"/>
                </a:lnTo>
                <a:lnTo>
                  <a:pt x="917" y="630"/>
                </a:lnTo>
                <a:lnTo>
                  <a:pt x="914" y="639"/>
                </a:lnTo>
                <a:lnTo>
                  <a:pt x="911" y="647"/>
                </a:lnTo>
                <a:lnTo>
                  <a:pt x="904" y="652"/>
                </a:lnTo>
                <a:lnTo>
                  <a:pt x="898" y="656"/>
                </a:lnTo>
                <a:lnTo>
                  <a:pt x="888" y="658"/>
                </a:lnTo>
                <a:lnTo>
                  <a:pt x="888" y="660"/>
                </a:lnTo>
                <a:lnTo>
                  <a:pt x="888" y="660"/>
                </a:lnTo>
                <a:lnTo>
                  <a:pt x="899" y="663"/>
                </a:lnTo>
                <a:lnTo>
                  <a:pt x="907" y="668"/>
                </a:lnTo>
                <a:lnTo>
                  <a:pt x="914" y="674"/>
                </a:lnTo>
                <a:lnTo>
                  <a:pt x="919" y="681"/>
                </a:lnTo>
                <a:lnTo>
                  <a:pt x="922" y="689"/>
                </a:lnTo>
                <a:lnTo>
                  <a:pt x="924" y="699"/>
                </a:lnTo>
                <a:lnTo>
                  <a:pt x="925" y="720"/>
                </a:lnTo>
                <a:lnTo>
                  <a:pt x="925" y="720"/>
                </a:lnTo>
                <a:lnTo>
                  <a:pt x="924" y="738"/>
                </a:lnTo>
                <a:lnTo>
                  <a:pt x="920" y="753"/>
                </a:lnTo>
                <a:lnTo>
                  <a:pt x="914" y="764"/>
                </a:lnTo>
                <a:lnTo>
                  <a:pt x="906" y="774"/>
                </a:lnTo>
                <a:lnTo>
                  <a:pt x="894" y="782"/>
                </a:lnTo>
                <a:lnTo>
                  <a:pt x="881" y="787"/>
                </a:lnTo>
                <a:lnTo>
                  <a:pt x="865" y="790"/>
                </a:lnTo>
                <a:lnTo>
                  <a:pt x="849" y="792"/>
                </a:lnTo>
                <a:lnTo>
                  <a:pt x="849" y="792"/>
                </a:lnTo>
                <a:close/>
                <a:moveTo>
                  <a:pt x="1005" y="792"/>
                </a:moveTo>
                <a:lnTo>
                  <a:pt x="1005" y="792"/>
                </a:lnTo>
                <a:lnTo>
                  <a:pt x="990" y="790"/>
                </a:lnTo>
                <a:lnTo>
                  <a:pt x="977" y="788"/>
                </a:lnTo>
                <a:lnTo>
                  <a:pt x="966" y="784"/>
                </a:lnTo>
                <a:lnTo>
                  <a:pt x="956" y="777"/>
                </a:lnTo>
                <a:lnTo>
                  <a:pt x="948" y="769"/>
                </a:lnTo>
                <a:lnTo>
                  <a:pt x="943" y="759"/>
                </a:lnTo>
                <a:lnTo>
                  <a:pt x="940" y="746"/>
                </a:lnTo>
                <a:lnTo>
                  <a:pt x="940" y="730"/>
                </a:lnTo>
                <a:lnTo>
                  <a:pt x="989" y="730"/>
                </a:lnTo>
                <a:lnTo>
                  <a:pt x="989" y="730"/>
                </a:lnTo>
                <a:lnTo>
                  <a:pt x="990" y="740"/>
                </a:lnTo>
                <a:lnTo>
                  <a:pt x="994" y="748"/>
                </a:lnTo>
                <a:lnTo>
                  <a:pt x="994" y="748"/>
                </a:lnTo>
                <a:lnTo>
                  <a:pt x="995" y="751"/>
                </a:lnTo>
                <a:lnTo>
                  <a:pt x="999" y="753"/>
                </a:lnTo>
                <a:lnTo>
                  <a:pt x="1003" y="754"/>
                </a:lnTo>
                <a:lnTo>
                  <a:pt x="1008" y="756"/>
                </a:lnTo>
                <a:lnTo>
                  <a:pt x="1008" y="756"/>
                </a:lnTo>
                <a:lnTo>
                  <a:pt x="1015" y="754"/>
                </a:lnTo>
                <a:lnTo>
                  <a:pt x="1020" y="753"/>
                </a:lnTo>
                <a:lnTo>
                  <a:pt x="1025" y="749"/>
                </a:lnTo>
                <a:lnTo>
                  <a:pt x="1026" y="743"/>
                </a:lnTo>
                <a:lnTo>
                  <a:pt x="1028" y="736"/>
                </a:lnTo>
                <a:lnTo>
                  <a:pt x="1030" y="728"/>
                </a:lnTo>
                <a:lnTo>
                  <a:pt x="1031" y="707"/>
                </a:lnTo>
                <a:lnTo>
                  <a:pt x="1031" y="707"/>
                </a:lnTo>
                <a:lnTo>
                  <a:pt x="1030" y="692"/>
                </a:lnTo>
                <a:lnTo>
                  <a:pt x="1028" y="676"/>
                </a:lnTo>
                <a:lnTo>
                  <a:pt x="1026" y="668"/>
                </a:lnTo>
                <a:lnTo>
                  <a:pt x="1021" y="663"/>
                </a:lnTo>
                <a:lnTo>
                  <a:pt x="1017" y="658"/>
                </a:lnTo>
                <a:lnTo>
                  <a:pt x="1010" y="656"/>
                </a:lnTo>
                <a:lnTo>
                  <a:pt x="1010" y="656"/>
                </a:lnTo>
                <a:lnTo>
                  <a:pt x="1003" y="658"/>
                </a:lnTo>
                <a:lnTo>
                  <a:pt x="1000" y="660"/>
                </a:lnTo>
                <a:lnTo>
                  <a:pt x="997" y="663"/>
                </a:lnTo>
                <a:lnTo>
                  <a:pt x="994" y="666"/>
                </a:lnTo>
                <a:lnTo>
                  <a:pt x="992" y="676"/>
                </a:lnTo>
                <a:lnTo>
                  <a:pt x="990" y="684"/>
                </a:lnTo>
                <a:lnTo>
                  <a:pt x="943" y="684"/>
                </a:lnTo>
                <a:lnTo>
                  <a:pt x="943" y="541"/>
                </a:lnTo>
                <a:lnTo>
                  <a:pt x="1072" y="541"/>
                </a:lnTo>
                <a:lnTo>
                  <a:pt x="1072" y="580"/>
                </a:lnTo>
                <a:lnTo>
                  <a:pt x="990" y="580"/>
                </a:lnTo>
                <a:lnTo>
                  <a:pt x="990" y="642"/>
                </a:lnTo>
                <a:lnTo>
                  <a:pt x="992" y="642"/>
                </a:lnTo>
                <a:lnTo>
                  <a:pt x="992" y="642"/>
                </a:lnTo>
                <a:lnTo>
                  <a:pt x="999" y="634"/>
                </a:lnTo>
                <a:lnTo>
                  <a:pt x="1007" y="629"/>
                </a:lnTo>
                <a:lnTo>
                  <a:pt x="1017" y="626"/>
                </a:lnTo>
                <a:lnTo>
                  <a:pt x="1028" y="626"/>
                </a:lnTo>
                <a:lnTo>
                  <a:pt x="1028" y="626"/>
                </a:lnTo>
                <a:lnTo>
                  <a:pt x="1041" y="627"/>
                </a:lnTo>
                <a:lnTo>
                  <a:pt x="1052" y="630"/>
                </a:lnTo>
                <a:lnTo>
                  <a:pt x="1062" y="637"/>
                </a:lnTo>
                <a:lnTo>
                  <a:pt x="1069" y="645"/>
                </a:lnTo>
                <a:lnTo>
                  <a:pt x="1074" y="658"/>
                </a:lnTo>
                <a:lnTo>
                  <a:pt x="1078" y="671"/>
                </a:lnTo>
                <a:lnTo>
                  <a:pt x="1080" y="687"/>
                </a:lnTo>
                <a:lnTo>
                  <a:pt x="1080" y="707"/>
                </a:lnTo>
                <a:lnTo>
                  <a:pt x="1080" y="707"/>
                </a:lnTo>
                <a:lnTo>
                  <a:pt x="1078" y="730"/>
                </a:lnTo>
                <a:lnTo>
                  <a:pt x="1075" y="748"/>
                </a:lnTo>
                <a:lnTo>
                  <a:pt x="1070" y="762"/>
                </a:lnTo>
                <a:lnTo>
                  <a:pt x="1062" y="774"/>
                </a:lnTo>
                <a:lnTo>
                  <a:pt x="1051" y="782"/>
                </a:lnTo>
                <a:lnTo>
                  <a:pt x="1038" y="787"/>
                </a:lnTo>
                <a:lnTo>
                  <a:pt x="1023" y="790"/>
                </a:lnTo>
                <a:lnTo>
                  <a:pt x="1005" y="792"/>
                </a:lnTo>
                <a:lnTo>
                  <a:pt x="1005" y="792"/>
                </a:lnTo>
                <a:close/>
                <a:moveTo>
                  <a:pt x="1220" y="694"/>
                </a:moveTo>
                <a:lnTo>
                  <a:pt x="1220" y="764"/>
                </a:lnTo>
                <a:lnTo>
                  <a:pt x="1181" y="764"/>
                </a:lnTo>
                <a:lnTo>
                  <a:pt x="1181" y="694"/>
                </a:lnTo>
                <a:lnTo>
                  <a:pt x="1121" y="694"/>
                </a:lnTo>
                <a:lnTo>
                  <a:pt x="1121" y="655"/>
                </a:lnTo>
                <a:lnTo>
                  <a:pt x="1181" y="655"/>
                </a:lnTo>
                <a:lnTo>
                  <a:pt x="1181" y="585"/>
                </a:lnTo>
                <a:lnTo>
                  <a:pt x="1220" y="585"/>
                </a:lnTo>
                <a:lnTo>
                  <a:pt x="1220" y="655"/>
                </a:lnTo>
                <a:lnTo>
                  <a:pt x="1280" y="655"/>
                </a:lnTo>
                <a:lnTo>
                  <a:pt x="1280" y="694"/>
                </a:lnTo>
                <a:lnTo>
                  <a:pt x="1220" y="694"/>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2" name="TextBox 1"/>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AUDIENCES</a:t>
            </a:r>
          </a:p>
        </p:txBody>
      </p:sp>
      <p:sp>
        <p:nvSpPr>
          <p:cNvPr id="90" name="TextBox 20"/>
          <p:cNvSpPr txBox="1">
            <a:spLocks noChangeArrowheads="1"/>
          </p:cNvSpPr>
          <p:nvPr userDrawn="1"/>
        </p:nvSpPr>
        <p:spPr bwMode="auto">
          <a:xfrm>
            <a:off x="10611285" y="6183028"/>
            <a:ext cx="98685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GP</a:t>
            </a:r>
          </a:p>
        </p:txBody>
      </p:sp>
      <p:sp>
        <p:nvSpPr>
          <p:cNvPr id="91" name="TextBox 21"/>
          <p:cNvSpPr txBox="1">
            <a:spLocks noChangeArrowheads="1"/>
          </p:cNvSpPr>
          <p:nvPr userDrawn="1"/>
        </p:nvSpPr>
        <p:spPr bwMode="auto">
          <a:xfrm>
            <a:off x="12026518" y="6183027"/>
            <a:ext cx="103286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 AGP</a:t>
            </a:r>
          </a:p>
        </p:txBody>
      </p:sp>
      <p:sp>
        <p:nvSpPr>
          <p:cNvPr id="92" name="Freeform 43"/>
          <p:cNvSpPr>
            <a:spLocks/>
          </p:cNvSpPr>
          <p:nvPr userDrawn="1"/>
        </p:nvSpPr>
        <p:spPr bwMode="auto">
          <a:xfrm>
            <a:off x="10452595" y="4868460"/>
            <a:ext cx="1263600" cy="1263600"/>
          </a:xfrm>
          <a:custGeom>
            <a:avLst/>
            <a:gdLst>
              <a:gd name="T0" fmla="*/ 704712 w 1087200"/>
              <a:gd name="T1" fmla="*/ 451360 h 1087200"/>
              <a:gd name="T2" fmla="*/ 751447 w 1087200"/>
              <a:gd name="T3" fmla="*/ 461199 h 1087200"/>
              <a:gd name="T4" fmla="*/ 758826 w 1087200"/>
              <a:gd name="T5" fmla="*/ 495635 h 1087200"/>
              <a:gd name="T6" fmla="*/ 739148 w 1087200"/>
              <a:gd name="T7" fmla="*/ 520232 h 1087200"/>
              <a:gd name="T8" fmla="*/ 654288 w 1087200"/>
              <a:gd name="T9" fmla="*/ 416924 h 1087200"/>
              <a:gd name="T10" fmla="*/ 747758 w 1087200"/>
              <a:gd name="T11" fmla="*/ 555899 h 1087200"/>
              <a:gd name="T12" fmla="*/ 796952 w 1087200"/>
              <a:gd name="T13" fmla="*/ 530071 h 1087200"/>
              <a:gd name="T14" fmla="*/ 808021 w 1087200"/>
              <a:gd name="T15" fmla="*/ 495635 h 1087200"/>
              <a:gd name="T16" fmla="*/ 794493 w 1087200"/>
              <a:gd name="T17" fmla="*/ 439062 h 1087200"/>
              <a:gd name="T18" fmla="*/ 758827 w 1087200"/>
              <a:gd name="T19" fmla="*/ 419384 h 1087200"/>
              <a:gd name="T20" fmla="*/ 254582 w 1087200"/>
              <a:gd name="T21" fmla="*/ 649368 h 1087200"/>
              <a:gd name="T22" fmla="*/ 446441 w 1087200"/>
              <a:gd name="T23" fmla="*/ 649368 h 1087200"/>
              <a:gd name="T24" fmla="*/ 512853 w 1087200"/>
              <a:gd name="T25" fmla="*/ 416924 h 1087200"/>
              <a:gd name="T26" fmla="*/ 478417 w 1087200"/>
              <a:gd name="T27" fmla="*/ 442751 h 1087200"/>
              <a:gd name="T28" fmla="*/ 462429 w 1087200"/>
              <a:gd name="T29" fmla="*/ 503014 h 1087200"/>
              <a:gd name="T30" fmla="*/ 467348 w 1087200"/>
              <a:gd name="T31" fmla="*/ 605093 h 1087200"/>
              <a:gd name="T32" fmla="*/ 490716 w 1087200"/>
              <a:gd name="T33" fmla="*/ 640759 h 1087200"/>
              <a:gd name="T34" fmla="*/ 533761 w 1087200"/>
              <a:gd name="T35" fmla="*/ 653058 h 1087200"/>
              <a:gd name="T36" fmla="*/ 570657 w 1087200"/>
              <a:gd name="T37" fmla="*/ 643219 h 1087200"/>
              <a:gd name="T38" fmla="*/ 586645 w 1087200"/>
              <a:gd name="T39" fmla="*/ 649369 h 1087200"/>
              <a:gd name="T40" fmla="*/ 575576 w 1087200"/>
              <a:gd name="T41" fmla="*/ 558358 h 1087200"/>
              <a:gd name="T42" fmla="*/ 564507 w 1087200"/>
              <a:gd name="T43" fmla="*/ 610013 h 1087200"/>
              <a:gd name="T44" fmla="*/ 539910 w 1087200"/>
              <a:gd name="T45" fmla="*/ 618622 h 1087200"/>
              <a:gd name="T46" fmla="*/ 516543 w 1087200"/>
              <a:gd name="T47" fmla="*/ 595254 h 1087200"/>
              <a:gd name="T48" fmla="*/ 511623 w 1087200"/>
              <a:gd name="T49" fmla="*/ 507934 h 1087200"/>
              <a:gd name="T50" fmla="*/ 528841 w 1087200"/>
              <a:gd name="T51" fmla="*/ 451360 h 1087200"/>
              <a:gd name="T52" fmla="*/ 562048 w 1087200"/>
              <a:gd name="T53" fmla="*/ 455050 h 1087200"/>
              <a:gd name="T54" fmla="*/ 573117 w 1087200"/>
              <a:gd name="T55" fmla="*/ 485796 h 1087200"/>
              <a:gd name="T56" fmla="*/ 606323 w 1087200"/>
              <a:gd name="T57" fmla="*/ 436602 h 1087200"/>
              <a:gd name="T58" fmla="*/ 578036 w 1087200"/>
              <a:gd name="T59" fmla="*/ 416924 h 1087200"/>
              <a:gd name="T60" fmla="*/ 543600 w 1087200"/>
              <a:gd name="T61" fmla="*/ 0 h 1087200"/>
              <a:gd name="T62" fmla="*/ 680115 w 1087200"/>
              <a:gd name="T63" fmla="*/ 17218 h 1087200"/>
              <a:gd name="T64" fmla="*/ 803101 w 1087200"/>
              <a:gd name="T65" fmla="*/ 65183 h 1087200"/>
              <a:gd name="T66" fmla="*/ 908870 w 1087200"/>
              <a:gd name="T67" fmla="*/ 141435 h 1087200"/>
              <a:gd name="T68" fmla="*/ 994960 w 1087200"/>
              <a:gd name="T69" fmla="*/ 239824 h 1087200"/>
              <a:gd name="T70" fmla="*/ 1053994 w 1087200"/>
              <a:gd name="T71" fmla="*/ 356661 h 1087200"/>
              <a:gd name="T72" fmla="*/ 1084740 w 1087200"/>
              <a:gd name="T73" fmla="*/ 488256 h 1087200"/>
              <a:gd name="T74" fmla="*/ 1081051 w 1087200"/>
              <a:gd name="T75" fmla="*/ 626001 h 1087200"/>
              <a:gd name="T76" fmla="*/ 1044155 w 1087200"/>
              <a:gd name="T77" fmla="*/ 755137 h 1087200"/>
              <a:gd name="T78" fmla="*/ 978972 w 1087200"/>
              <a:gd name="T79" fmla="*/ 868284 h 1087200"/>
              <a:gd name="T80" fmla="*/ 889192 w 1087200"/>
              <a:gd name="T81" fmla="*/ 962984 h 1087200"/>
              <a:gd name="T82" fmla="*/ 779734 w 1087200"/>
              <a:gd name="T83" fmla="*/ 1033086 h 1087200"/>
              <a:gd name="T84" fmla="*/ 653058 w 1087200"/>
              <a:gd name="T85" fmla="*/ 1076131 h 1087200"/>
              <a:gd name="T86" fmla="*/ 515313 w 1087200"/>
              <a:gd name="T87" fmla="*/ 1085970 h 1087200"/>
              <a:gd name="T88" fmla="*/ 382488 w 1087200"/>
              <a:gd name="T89" fmla="*/ 1062603 h 1087200"/>
              <a:gd name="T90" fmla="*/ 261961 w 1087200"/>
              <a:gd name="T91" fmla="*/ 1008489 h 1087200"/>
              <a:gd name="T92" fmla="*/ 159882 w 1087200"/>
              <a:gd name="T93" fmla="*/ 928548 h 1087200"/>
              <a:gd name="T94" fmla="*/ 78711 w 1087200"/>
              <a:gd name="T95" fmla="*/ 825239 h 1087200"/>
              <a:gd name="T96" fmla="*/ 24597 w 1087200"/>
              <a:gd name="T97" fmla="*/ 704712 h 1087200"/>
              <a:gd name="T98" fmla="*/ 1230 w 1087200"/>
              <a:gd name="T99" fmla="*/ 571887 h 1087200"/>
              <a:gd name="T100" fmla="*/ 11069 w 1087200"/>
              <a:gd name="T101" fmla="*/ 434142 h 1087200"/>
              <a:gd name="T102" fmla="*/ 54114 w 1087200"/>
              <a:gd name="T103" fmla="*/ 307466 h 1087200"/>
              <a:gd name="T104" fmla="*/ 124216 w 1087200"/>
              <a:gd name="T105" fmla="*/ 198008 h 1087200"/>
              <a:gd name="T106" fmla="*/ 218916 w 1087200"/>
              <a:gd name="T107" fmla="*/ 108228 h 1087200"/>
              <a:gd name="T108" fmla="*/ 332063 w 1087200"/>
              <a:gd name="T109" fmla="*/ 43045 h 1087200"/>
              <a:gd name="T110" fmla="*/ 461199 w 1087200"/>
              <a:gd name="T111"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200" h="1087200">
                <a:moveTo>
                  <a:pt x="350511" y="457510"/>
                </a:moveTo>
                <a:lnTo>
                  <a:pt x="375109" y="562048"/>
                </a:lnTo>
                <a:lnTo>
                  <a:pt x="325914" y="562048"/>
                </a:lnTo>
                <a:lnTo>
                  <a:pt x="350511" y="457510"/>
                </a:lnTo>
                <a:close/>
                <a:moveTo>
                  <a:pt x="704712" y="451360"/>
                </a:moveTo>
                <a:lnTo>
                  <a:pt x="724390" y="451360"/>
                </a:lnTo>
                <a:lnTo>
                  <a:pt x="732999" y="452590"/>
                </a:lnTo>
                <a:lnTo>
                  <a:pt x="740378" y="453820"/>
                </a:lnTo>
                <a:lnTo>
                  <a:pt x="746527" y="456280"/>
                </a:lnTo>
                <a:lnTo>
                  <a:pt x="751447" y="461199"/>
                </a:lnTo>
                <a:lnTo>
                  <a:pt x="755136" y="466118"/>
                </a:lnTo>
                <a:lnTo>
                  <a:pt x="757596" y="472268"/>
                </a:lnTo>
                <a:lnTo>
                  <a:pt x="758826" y="479647"/>
                </a:lnTo>
                <a:lnTo>
                  <a:pt x="758826" y="487026"/>
                </a:lnTo>
                <a:lnTo>
                  <a:pt x="758826" y="495635"/>
                </a:lnTo>
                <a:lnTo>
                  <a:pt x="757596" y="503014"/>
                </a:lnTo>
                <a:lnTo>
                  <a:pt x="753907" y="509164"/>
                </a:lnTo>
                <a:lnTo>
                  <a:pt x="750217" y="514083"/>
                </a:lnTo>
                <a:lnTo>
                  <a:pt x="745298" y="517773"/>
                </a:lnTo>
                <a:lnTo>
                  <a:pt x="739148" y="520232"/>
                </a:lnTo>
                <a:lnTo>
                  <a:pt x="732999" y="521462"/>
                </a:lnTo>
                <a:lnTo>
                  <a:pt x="726850" y="522692"/>
                </a:lnTo>
                <a:lnTo>
                  <a:pt x="704712" y="522692"/>
                </a:lnTo>
                <a:lnTo>
                  <a:pt x="704712" y="451360"/>
                </a:lnTo>
                <a:close/>
                <a:moveTo>
                  <a:pt x="654288" y="416924"/>
                </a:moveTo>
                <a:lnTo>
                  <a:pt x="654288" y="649368"/>
                </a:lnTo>
                <a:lnTo>
                  <a:pt x="704713" y="649368"/>
                </a:lnTo>
                <a:lnTo>
                  <a:pt x="704713" y="557128"/>
                </a:lnTo>
                <a:lnTo>
                  <a:pt x="730540" y="557128"/>
                </a:lnTo>
                <a:lnTo>
                  <a:pt x="747758" y="555899"/>
                </a:lnTo>
                <a:lnTo>
                  <a:pt x="762516" y="552209"/>
                </a:lnTo>
                <a:lnTo>
                  <a:pt x="776045" y="547290"/>
                </a:lnTo>
                <a:lnTo>
                  <a:pt x="787113" y="539910"/>
                </a:lnTo>
                <a:lnTo>
                  <a:pt x="792033" y="534991"/>
                </a:lnTo>
                <a:lnTo>
                  <a:pt x="796952" y="530071"/>
                </a:lnTo>
                <a:lnTo>
                  <a:pt x="800642" y="523922"/>
                </a:lnTo>
                <a:lnTo>
                  <a:pt x="803102" y="517773"/>
                </a:lnTo>
                <a:lnTo>
                  <a:pt x="805561" y="510394"/>
                </a:lnTo>
                <a:lnTo>
                  <a:pt x="808021" y="503014"/>
                </a:lnTo>
                <a:lnTo>
                  <a:pt x="808021" y="495635"/>
                </a:lnTo>
                <a:lnTo>
                  <a:pt x="809251" y="487026"/>
                </a:lnTo>
                <a:lnTo>
                  <a:pt x="808021" y="473498"/>
                </a:lnTo>
                <a:lnTo>
                  <a:pt x="805561" y="461199"/>
                </a:lnTo>
                <a:lnTo>
                  <a:pt x="800642" y="448901"/>
                </a:lnTo>
                <a:lnTo>
                  <a:pt x="794493" y="439062"/>
                </a:lnTo>
                <a:lnTo>
                  <a:pt x="789573" y="434142"/>
                </a:lnTo>
                <a:lnTo>
                  <a:pt x="784654" y="430453"/>
                </a:lnTo>
                <a:lnTo>
                  <a:pt x="773585" y="423073"/>
                </a:lnTo>
                <a:lnTo>
                  <a:pt x="766206" y="420614"/>
                </a:lnTo>
                <a:lnTo>
                  <a:pt x="758827" y="419384"/>
                </a:lnTo>
                <a:lnTo>
                  <a:pt x="750218" y="418154"/>
                </a:lnTo>
                <a:lnTo>
                  <a:pt x="741608" y="416924"/>
                </a:lnTo>
                <a:lnTo>
                  <a:pt x="654288" y="416924"/>
                </a:lnTo>
                <a:close/>
                <a:moveTo>
                  <a:pt x="319765" y="416924"/>
                </a:moveTo>
                <a:lnTo>
                  <a:pt x="254582" y="649368"/>
                </a:lnTo>
                <a:lnTo>
                  <a:pt x="306236" y="649368"/>
                </a:lnTo>
                <a:lnTo>
                  <a:pt x="317305" y="600174"/>
                </a:lnTo>
                <a:lnTo>
                  <a:pt x="383718" y="600174"/>
                </a:lnTo>
                <a:lnTo>
                  <a:pt x="394787" y="649368"/>
                </a:lnTo>
                <a:lnTo>
                  <a:pt x="446441" y="649368"/>
                </a:lnTo>
                <a:lnTo>
                  <a:pt x="381258" y="416924"/>
                </a:lnTo>
                <a:lnTo>
                  <a:pt x="319765" y="416924"/>
                </a:lnTo>
                <a:close/>
                <a:moveTo>
                  <a:pt x="532531" y="413234"/>
                </a:moveTo>
                <a:lnTo>
                  <a:pt x="521462" y="414464"/>
                </a:lnTo>
                <a:lnTo>
                  <a:pt x="512853" y="416924"/>
                </a:lnTo>
                <a:lnTo>
                  <a:pt x="504244" y="420613"/>
                </a:lnTo>
                <a:lnTo>
                  <a:pt x="496865" y="424303"/>
                </a:lnTo>
                <a:lnTo>
                  <a:pt x="489486" y="429222"/>
                </a:lnTo>
                <a:lnTo>
                  <a:pt x="483337" y="435372"/>
                </a:lnTo>
                <a:lnTo>
                  <a:pt x="478417" y="442751"/>
                </a:lnTo>
                <a:lnTo>
                  <a:pt x="473498" y="450130"/>
                </a:lnTo>
                <a:lnTo>
                  <a:pt x="469808" y="458739"/>
                </a:lnTo>
                <a:lnTo>
                  <a:pt x="467348" y="468578"/>
                </a:lnTo>
                <a:lnTo>
                  <a:pt x="464889" y="479647"/>
                </a:lnTo>
                <a:lnTo>
                  <a:pt x="462429" y="503014"/>
                </a:lnTo>
                <a:lnTo>
                  <a:pt x="461199" y="530071"/>
                </a:lnTo>
                <a:lnTo>
                  <a:pt x="461199" y="558358"/>
                </a:lnTo>
                <a:lnTo>
                  <a:pt x="463659" y="584186"/>
                </a:lnTo>
                <a:lnTo>
                  <a:pt x="464889" y="595254"/>
                </a:lnTo>
                <a:lnTo>
                  <a:pt x="467348" y="605093"/>
                </a:lnTo>
                <a:lnTo>
                  <a:pt x="471038" y="613702"/>
                </a:lnTo>
                <a:lnTo>
                  <a:pt x="474728" y="622311"/>
                </a:lnTo>
                <a:lnTo>
                  <a:pt x="479647" y="629691"/>
                </a:lnTo>
                <a:lnTo>
                  <a:pt x="484566" y="635840"/>
                </a:lnTo>
                <a:lnTo>
                  <a:pt x="490716" y="640759"/>
                </a:lnTo>
                <a:lnTo>
                  <a:pt x="496865" y="645679"/>
                </a:lnTo>
                <a:lnTo>
                  <a:pt x="504244" y="648139"/>
                </a:lnTo>
                <a:lnTo>
                  <a:pt x="512853" y="650598"/>
                </a:lnTo>
                <a:lnTo>
                  <a:pt x="522692" y="651828"/>
                </a:lnTo>
                <a:lnTo>
                  <a:pt x="533761" y="653058"/>
                </a:lnTo>
                <a:lnTo>
                  <a:pt x="542370" y="651828"/>
                </a:lnTo>
                <a:lnTo>
                  <a:pt x="549749" y="651828"/>
                </a:lnTo>
                <a:lnTo>
                  <a:pt x="557128" y="649369"/>
                </a:lnTo>
                <a:lnTo>
                  <a:pt x="564507" y="646909"/>
                </a:lnTo>
                <a:lnTo>
                  <a:pt x="570657" y="643219"/>
                </a:lnTo>
                <a:lnTo>
                  <a:pt x="575576" y="639530"/>
                </a:lnTo>
                <a:lnTo>
                  <a:pt x="580496" y="633380"/>
                </a:lnTo>
                <a:lnTo>
                  <a:pt x="585415" y="627231"/>
                </a:lnTo>
                <a:lnTo>
                  <a:pt x="586645" y="627231"/>
                </a:lnTo>
                <a:lnTo>
                  <a:pt x="586645" y="649369"/>
                </a:lnTo>
                <a:lnTo>
                  <a:pt x="622311" y="649369"/>
                </a:lnTo>
                <a:lnTo>
                  <a:pt x="622311" y="523922"/>
                </a:lnTo>
                <a:lnTo>
                  <a:pt x="542370" y="523922"/>
                </a:lnTo>
                <a:lnTo>
                  <a:pt x="542370" y="558358"/>
                </a:lnTo>
                <a:lnTo>
                  <a:pt x="575576" y="558358"/>
                </a:lnTo>
                <a:lnTo>
                  <a:pt x="575576" y="581726"/>
                </a:lnTo>
                <a:lnTo>
                  <a:pt x="574346" y="591565"/>
                </a:lnTo>
                <a:lnTo>
                  <a:pt x="571887" y="598944"/>
                </a:lnTo>
                <a:lnTo>
                  <a:pt x="568197" y="605093"/>
                </a:lnTo>
                <a:lnTo>
                  <a:pt x="564507" y="610013"/>
                </a:lnTo>
                <a:lnTo>
                  <a:pt x="559588" y="613702"/>
                </a:lnTo>
                <a:lnTo>
                  <a:pt x="554669" y="617392"/>
                </a:lnTo>
                <a:lnTo>
                  <a:pt x="549749" y="618622"/>
                </a:lnTo>
                <a:lnTo>
                  <a:pt x="544830" y="618622"/>
                </a:lnTo>
                <a:lnTo>
                  <a:pt x="539910" y="618622"/>
                </a:lnTo>
                <a:lnTo>
                  <a:pt x="534991" y="617392"/>
                </a:lnTo>
                <a:lnTo>
                  <a:pt x="531301" y="616162"/>
                </a:lnTo>
                <a:lnTo>
                  <a:pt x="527612" y="612473"/>
                </a:lnTo>
                <a:lnTo>
                  <a:pt x="521462" y="605093"/>
                </a:lnTo>
                <a:lnTo>
                  <a:pt x="516543" y="595254"/>
                </a:lnTo>
                <a:lnTo>
                  <a:pt x="514083" y="581726"/>
                </a:lnTo>
                <a:lnTo>
                  <a:pt x="511623" y="565738"/>
                </a:lnTo>
                <a:lnTo>
                  <a:pt x="510394" y="548519"/>
                </a:lnTo>
                <a:lnTo>
                  <a:pt x="510394" y="528842"/>
                </a:lnTo>
                <a:lnTo>
                  <a:pt x="511623" y="507934"/>
                </a:lnTo>
                <a:lnTo>
                  <a:pt x="512853" y="490716"/>
                </a:lnTo>
                <a:lnTo>
                  <a:pt x="515313" y="477187"/>
                </a:lnTo>
                <a:lnTo>
                  <a:pt x="519003" y="466118"/>
                </a:lnTo>
                <a:lnTo>
                  <a:pt x="522692" y="457509"/>
                </a:lnTo>
                <a:lnTo>
                  <a:pt x="528841" y="451360"/>
                </a:lnTo>
                <a:lnTo>
                  <a:pt x="536221" y="448900"/>
                </a:lnTo>
                <a:lnTo>
                  <a:pt x="544830" y="447670"/>
                </a:lnTo>
                <a:lnTo>
                  <a:pt x="550979" y="447670"/>
                </a:lnTo>
                <a:lnTo>
                  <a:pt x="557128" y="451360"/>
                </a:lnTo>
                <a:lnTo>
                  <a:pt x="562048" y="455050"/>
                </a:lnTo>
                <a:lnTo>
                  <a:pt x="565737" y="459969"/>
                </a:lnTo>
                <a:lnTo>
                  <a:pt x="569427" y="466118"/>
                </a:lnTo>
                <a:lnTo>
                  <a:pt x="570657" y="472268"/>
                </a:lnTo>
                <a:lnTo>
                  <a:pt x="571887" y="479647"/>
                </a:lnTo>
                <a:lnTo>
                  <a:pt x="573117" y="485796"/>
                </a:lnTo>
                <a:lnTo>
                  <a:pt x="619851" y="485796"/>
                </a:lnTo>
                <a:lnTo>
                  <a:pt x="618621" y="469808"/>
                </a:lnTo>
                <a:lnTo>
                  <a:pt x="614932" y="455050"/>
                </a:lnTo>
                <a:lnTo>
                  <a:pt x="610012" y="442751"/>
                </a:lnTo>
                <a:lnTo>
                  <a:pt x="606323" y="436602"/>
                </a:lnTo>
                <a:lnTo>
                  <a:pt x="602633" y="431682"/>
                </a:lnTo>
                <a:lnTo>
                  <a:pt x="597714" y="426763"/>
                </a:lnTo>
                <a:lnTo>
                  <a:pt x="591564" y="423073"/>
                </a:lnTo>
                <a:lnTo>
                  <a:pt x="585415" y="420613"/>
                </a:lnTo>
                <a:lnTo>
                  <a:pt x="578036" y="416924"/>
                </a:lnTo>
                <a:lnTo>
                  <a:pt x="562048" y="414464"/>
                </a:lnTo>
                <a:lnTo>
                  <a:pt x="543600" y="413234"/>
                </a:lnTo>
                <a:lnTo>
                  <a:pt x="532531" y="413234"/>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3" name="Freeform 20"/>
          <p:cNvSpPr>
            <a:spLocks/>
          </p:cNvSpPr>
          <p:nvPr userDrawn="1"/>
        </p:nvSpPr>
        <p:spPr bwMode="auto">
          <a:xfrm>
            <a:off x="11911150" y="4868460"/>
            <a:ext cx="1263600" cy="1263600"/>
          </a:xfrm>
          <a:custGeom>
            <a:avLst/>
            <a:gdLst>
              <a:gd name="T0" fmla="*/ 415953 w 1087438"/>
              <a:gd name="T1" fmla="*/ 567236 h 1087437"/>
              <a:gd name="T2" fmla="*/ 378977 w 1087438"/>
              <a:gd name="T3" fmla="*/ 598487 h 1087437"/>
              <a:gd name="T4" fmla="*/ 341214 w 1087438"/>
              <a:gd name="T5" fmla="*/ 580858 h 1087437"/>
              <a:gd name="T6" fmla="*/ 332560 w 1087438"/>
              <a:gd name="T7" fmla="*/ 514350 h 1087437"/>
              <a:gd name="T8" fmla="*/ 248444 w 1087438"/>
              <a:gd name="T9" fmla="*/ 607980 h 1087437"/>
              <a:gd name="T10" fmla="*/ 190500 w 1087438"/>
              <a:gd name="T11" fmla="*/ 730250 h 1087437"/>
              <a:gd name="T12" fmla="*/ 134144 w 1087438"/>
              <a:gd name="T13" fmla="*/ 626361 h 1087437"/>
              <a:gd name="T14" fmla="*/ 571905 w 1087438"/>
              <a:gd name="T15" fmla="*/ 481012 h 1087437"/>
              <a:gd name="T16" fmla="*/ 897369 w 1087438"/>
              <a:gd name="T17" fmla="*/ 477044 h 1087437"/>
              <a:gd name="T18" fmla="*/ 919163 w 1087438"/>
              <a:gd name="T19" fmla="*/ 507206 h 1087437"/>
              <a:gd name="T20" fmla="*/ 896561 w 1087438"/>
              <a:gd name="T21" fmla="*/ 536575 h 1087437"/>
              <a:gd name="T22" fmla="*/ 319223 w 1087438"/>
              <a:gd name="T23" fmla="*/ 467519 h 1087437"/>
              <a:gd name="T24" fmla="*/ 317616 w 1087438"/>
              <a:gd name="T25" fmla="*/ 583406 h 1087437"/>
              <a:gd name="T26" fmla="*/ 364215 w 1087438"/>
              <a:gd name="T27" fmla="*/ 707231 h 1087437"/>
              <a:gd name="T28" fmla="*/ 324044 w 1087438"/>
              <a:gd name="T29" fmla="*/ 729456 h 1087437"/>
              <a:gd name="T30" fmla="*/ 320027 w 1087438"/>
              <a:gd name="T31" fmla="*/ 749300 h 1087437"/>
              <a:gd name="T32" fmla="*/ 434114 w 1087438"/>
              <a:gd name="T33" fmla="*/ 735806 h 1087437"/>
              <a:gd name="T34" fmla="*/ 392336 w 1087438"/>
              <a:gd name="T35" fmla="*/ 719931 h 1087437"/>
              <a:gd name="T36" fmla="*/ 405994 w 1087438"/>
              <a:gd name="T37" fmla="*/ 608806 h 1087437"/>
              <a:gd name="T38" fmla="*/ 439738 w 1087438"/>
              <a:gd name="T39" fmla="*/ 545306 h 1087437"/>
              <a:gd name="T40" fmla="*/ 419652 w 1087438"/>
              <a:gd name="T41" fmla="*/ 460375 h 1087437"/>
              <a:gd name="T42" fmla="*/ 895351 w 1087438"/>
              <a:gd name="T43" fmla="*/ 565944 h 1087437"/>
              <a:gd name="T44" fmla="*/ 960439 w 1087438"/>
              <a:gd name="T45" fmla="*/ 520700 h 1087437"/>
              <a:gd name="T46" fmla="*/ 931070 w 1087438"/>
              <a:gd name="T47" fmla="*/ 452438 h 1087437"/>
              <a:gd name="T48" fmla="*/ 534771 w 1087438"/>
              <a:gd name="T49" fmla="*/ 644525 h 1087437"/>
              <a:gd name="T50" fmla="*/ 727075 w 1087438"/>
              <a:gd name="T51" fmla="*/ 444500 h 1087437"/>
              <a:gd name="T52" fmla="*/ 681831 w 1087438"/>
              <a:gd name="T53" fmla="*/ 469106 h 1087437"/>
              <a:gd name="T54" fmla="*/ 666750 w 1087438"/>
              <a:gd name="T55" fmla="*/ 567531 h 1087437"/>
              <a:gd name="T56" fmla="*/ 691356 w 1087438"/>
              <a:gd name="T57" fmla="*/ 638175 h 1087437"/>
              <a:gd name="T58" fmla="*/ 754063 w 1087438"/>
              <a:gd name="T59" fmla="*/ 642938 h 1087437"/>
              <a:gd name="T60" fmla="*/ 803275 w 1087438"/>
              <a:gd name="T61" fmla="*/ 538163 h 1087437"/>
              <a:gd name="T62" fmla="*/ 758031 w 1087438"/>
              <a:gd name="T63" fmla="*/ 607219 h 1087437"/>
              <a:gd name="T64" fmla="*/ 725488 w 1087438"/>
              <a:gd name="T65" fmla="*/ 616744 h 1087437"/>
              <a:gd name="T66" fmla="*/ 708819 w 1087438"/>
              <a:gd name="T67" fmla="*/ 524669 h 1087437"/>
              <a:gd name="T68" fmla="*/ 736600 w 1087438"/>
              <a:gd name="T69" fmla="*/ 473075 h 1087437"/>
              <a:gd name="T70" fmla="*/ 760413 w 1087438"/>
              <a:gd name="T71" fmla="*/ 506413 h 1087437"/>
              <a:gd name="T72" fmla="*/ 777081 w 1087438"/>
              <a:gd name="T73" fmla="*/ 453231 h 1087437"/>
              <a:gd name="T74" fmla="*/ 102377 w 1087438"/>
              <a:gd name="T75" fmla="*/ 434181 h 1087437"/>
              <a:gd name="T76" fmla="*/ 107909 w 1087438"/>
              <a:gd name="T77" fmla="*/ 596899 h 1087437"/>
              <a:gd name="T78" fmla="*/ 110280 w 1087438"/>
              <a:gd name="T79" fmla="*/ 734218 h 1087437"/>
              <a:gd name="T80" fmla="*/ 149005 w 1087438"/>
              <a:gd name="T81" fmla="*/ 749299 h 1087437"/>
              <a:gd name="T82" fmla="*/ 265972 w 1087438"/>
              <a:gd name="T83" fmla="*/ 740568 h 1087437"/>
              <a:gd name="T84" fmla="*/ 265182 w 1087438"/>
              <a:gd name="T85" fmla="*/ 628649 h 1087437"/>
              <a:gd name="T86" fmla="*/ 280988 w 1087438"/>
              <a:gd name="T87" fmla="*/ 476250 h 1087437"/>
              <a:gd name="T88" fmla="*/ 515144 w 1087438"/>
              <a:gd name="T89" fmla="*/ 0 h 1087437"/>
              <a:gd name="T90" fmla="*/ 706438 w 1087438"/>
              <a:gd name="T91" fmla="*/ 24606 h 1087437"/>
              <a:gd name="T92" fmla="*/ 869951 w 1087438"/>
              <a:gd name="T93" fmla="*/ 107950 h 1087437"/>
              <a:gd name="T94" fmla="*/ 995363 w 1087438"/>
              <a:gd name="T95" fmla="*/ 239713 h 1087437"/>
              <a:gd name="T96" fmla="*/ 1069976 w 1087438"/>
              <a:gd name="T97" fmla="*/ 407194 h 1087437"/>
              <a:gd name="T98" fmla="*/ 1085057 w 1087438"/>
              <a:gd name="T99" fmla="*/ 599281 h 1087437"/>
              <a:gd name="T100" fmla="*/ 1034257 w 1087438"/>
              <a:gd name="T101" fmla="*/ 780256 h 1087437"/>
              <a:gd name="T102" fmla="*/ 928688 w 1087438"/>
              <a:gd name="T103" fmla="*/ 928687 h 1087437"/>
              <a:gd name="T104" fmla="*/ 780257 w 1087438"/>
              <a:gd name="T105" fmla="*/ 1033462 h 1087437"/>
              <a:gd name="T106" fmla="*/ 599282 w 1087438"/>
              <a:gd name="T107" fmla="*/ 1085056 h 1087437"/>
              <a:gd name="T108" fmla="*/ 408782 w 1087438"/>
              <a:gd name="T109" fmla="*/ 1069975 h 1087437"/>
              <a:gd name="T110" fmla="*/ 239713 w 1087438"/>
              <a:gd name="T111" fmla="*/ 995362 h 1087437"/>
              <a:gd name="T112" fmla="*/ 107950 w 1087438"/>
              <a:gd name="T113" fmla="*/ 868362 h 1087437"/>
              <a:gd name="T114" fmla="*/ 24606 w 1087438"/>
              <a:gd name="T115" fmla="*/ 704850 h 1087437"/>
              <a:gd name="T116" fmla="*/ 1588 w 1087438"/>
              <a:gd name="T117" fmla="*/ 515144 h 1087437"/>
              <a:gd name="T118" fmla="*/ 42863 w 1087438"/>
              <a:gd name="T119" fmla="*/ 331787 h 1087437"/>
              <a:gd name="T120" fmla="*/ 141288 w 1087438"/>
              <a:gd name="T121" fmla="*/ 178594 h 1087437"/>
              <a:gd name="T122" fmla="*/ 284163 w 1087438"/>
              <a:gd name="T123" fmla="*/ 65088 h 1087437"/>
              <a:gd name="T124" fmla="*/ 461169 w 1087438"/>
              <a:gd name="T125" fmla="*/ 6350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438" h="1087437">
                <a:moveTo>
                  <a:pt x="332560" y="514350"/>
                </a:moveTo>
                <a:lnTo>
                  <a:pt x="416740" y="514350"/>
                </a:lnTo>
                <a:lnTo>
                  <a:pt x="418313" y="530376"/>
                </a:lnTo>
                <a:lnTo>
                  <a:pt x="419100" y="545601"/>
                </a:lnTo>
                <a:lnTo>
                  <a:pt x="419100" y="552813"/>
                </a:lnTo>
                <a:lnTo>
                  <a:pt x="418313" y="560024"/>
                </a:lnTo>
                <a:lnTo>
                  <a:pt x="415953" y="567236"/>
                </a:lnTo>
                <a:lnTo>
                  <a:pt x="412019" y="573647"/>
                </a:lnTo>
                <a:lnTo>
                  <a:pt x="408872" y="580858"/>
                </a:lnTo>
                <a:lnTo>
                  <a:pt x="402579" y="586468"/>
                </a:lnTo>
                <a:lnTo>
                  <a:pt x="396285" y="592077"/>
                </a:lnTo>
                <a:lnTo>
                  <a:pt x="387631" y="596083"/>
                </a:lnTo>
                <a:lnTo>
                  <a:pt x="384484" y="597686"/>
                </a:lnTo>
                <a:lnTo>
                  <a:pt x="378977" y="598487"/>
                </a:lnTo>
                <a:lnTo>
                  <a:pt x="374257" y="598487"/>
                </a:lnTo>
                <a:lnTo>
                  <a:pt x="370323" y="598487"/>
                </a:lnTo>
                <a:lnTo>
                  <a:pt x="365603" y="597686"/>
                </a:lnTo>
                <a:lnTo>
                  <a:pt x="362456" y="596083"/>
                </a:lnTo>
                <a:lnTo>
                  <a:pt x="353802" y="592077"/>
                </a:lnTo>
                <a:lnTo>
                  <a:pt x="345934" y="586468"/>
                </a:lnTo>
                <a:lnTo>
                  <a:pt x="341214" y="580858"/>
                </a:lnTo>
                <a:lnTo>
                  <a:pt x="336494" y="573647"/>
                </a:lnTo>
                <a:lnTo>
                  <a:pt x="334134" y="567236"/>
                </a:lnTo>
                <a:lnTo>
                  <a:pt x="331773" y="560024"/>
                </a:lnTo>
                <a:lnTo>
                  <a:pt x="330200" y="552813"/>
                </a:lnTo>
                <a:lnTo>
                  <a:pt x="330200" y="545601"/>
                </a:lnTo>
                <a:lnTo>
                  <a:pt x="330200" y="530376"/>
                </a:lnTo>
                <a:lnTo>
                  <a:pt x="332560" y="514350"/>
                </a:lnTo>
                <a:close/>
                <a:moveTo>
                  <a:pt x="119063" y="495300"/>
                </a:moveTo>
                <a:lnTo>
                  <a:pt x="261938" y="495300"/>
                </a:lnTo>
                <a:lnTo>
                  <a:pt x="261938" y="523270"/>
                </a:lnTo>
                <a:lnTo>
                  <a:pt x="261144" y="541651"/>
                </a:lnTo>
                <a:lnTo>
                  <a:pt x="259557" y="559232"/>
                </a:lnTo>
                <a:lnTo>
                  <a:pt x="252413" y="591198"/>
                </a:lnTo>
                <a:lnTo>
                  <a:pt x="248444" y="607980"/>
                </a:lnTo>
                <a:lnTo>
                  <a:pt x="246063" y="626361"/>
                </a:lnTo>
                <a:lnTo>
                  <a:pt x="243682" y="646339"/>
                </a:lnTo>
                <a:lnTo>
                  <a:pt x="242094" y="668716"/>
                </a:lnTo>
                <a:lnTo>
                  <a:pt x="243682" y="695887"/>
                </a:lnTo>
                <a:lnTo>
                  <a:pt x="247650" y="727853"/>
                </a:lnTo>
                <a:lnTo>
                  <a:pt x="230982" y="728652"/>
                </a:lnTo>
                <a:lnTo>
                  <a:pt x="190500" y="730250"/>
                </a:lnTo>
                <a:lnTo>
                  <a:pt x="163513" y="730250"/>
                </a:lnTo>
                <a:lnTo>
                  <a:pt x="142875" y="728652"/>
                </a:lnTo>
                <a:lnTo>
                  <a:pt x="132557" y="727853"/>
                </a:lnTo>
                <a:lnTo>
                  <a:pt x="136525" y="695887"/>
                </a:lnTo>
                <a:lnTo>
                  <a:pt x="138113" y="668716"/>
                </a:lnTo>
                <a:lnTo>
                  <a:pt x="136525" y="646339"/>
                </a:lnTo>
                <a:lnTo>
                  <a:pt x="134144" y="626361"/>
                </a:lnTo>
                <a:lnTo>
                  <a:pt x="131763" y="607980"/>
                </a:lnTo>
                <a:lnTo>
                  <a:pt x="127794" y="591198"/>
                </a:lnTo>
                <a:lnTo>
                  <a:pt x="121444" y="559232"/>
                </a:lnTo>
                <a:lnTo>
                  <a:pt x="119063" y="541651"/>
                </a:lnTo>
                <a:lnTo>
                  <a:pt x="119063" y="523270"/>
                </a:lnTo>
                <a:lnTo>
                  <a:pt x="119063" y="495300"/>
                </a:lnTo>
                <a:close/>
                <a:moveTo>
                  <a:pt x="571905" y="481012"/>
                </a:moveTo>
                <a:lnTo>
                  <a:pt x="572683" y="481012"/>
                </a:lnTo>
                <a:lnTo>
                  <a:pt x="592138" y="569912"/>
                </a:lnTo>
                <a:lnTo>
                  <a:pt x="552450" y="569912"/>
                </a:lnTo>
                <a:lnTo>
                  <a:pt x="571905" y="481012"/>
                </a:lnTo>
                <a:close/>
                <a:moveTo>
                  <a:pt x="871538" y="476250"/>
                </a:moveTo>
                <a:lnTo>
                  <a:pt x="890104" y="476250"/>
                </a:lnTo>
                <a:lnTo>
                  <a:pt x="897369" y="477044"/>
                </a:lnTo>
                <a:lnTo>
                  <a:pt x="903826" y="478631"/>
                </a:lnTo>
                <a:lnTo>
                  <a:pt x="908669" y="481013"/>
                </a:lnTo>
                <a:lnTo>
                  <a:pt x="912705" y="484981"/>
                </a:lnTo>
                <a:lnTo>
                  <a:pt x="915127" y="488156"/>
                </a:lnTo>
                <a:lnTo>
                  <a:pt x="917549" y="492919"/>
                </a:lnTo>
                <a:lnTo>
                  <a:pt x="919163" y="499269"/>
                </a:lnTo>
                <a:lnTo>
                  <a:pt x="919163" y="507206"/>
                </a:lnTo>
                <a:lnTo>
                  <a:pt x="919163" y="514350"/>
                </a:lnTo>
                <a:lnTo>
                  <a:pt x="917549" y="520700"/>
                </a:lnTo>
                <a:lnTo>
                  <a:pt x="915127" y="525463"/>
                </a:lnTo>
                <a:lnTo>
                  <a:pt x="911091" y="528638"/>
                </a:lnTo>
                <a:lnTo>
                  <a:pt x="907862" y="532606"/>
                </a:lnTo>
                <a:lnTo>
                  <a:pt x="903019" y="534988"/>
                </a:lnTo>
                <a:lnTo>
                  <a:pt x="896561" y="536575"/>
                </a:lnTo>
                <a:lnTo>
                  <a:pt x="891718" y="536575"/>
                </a:lnTo>
                <a:lnTo>
                  <a:pt x="871538" y="536575"/>
                </a:lnTo>
                <a:lnTo>
                  <a:pt x="871538" y="476250"/>
                </a:lnTo>
                <a:close/>
                <a:moveTo>
                  <a:pt x="326454" y="460375"/>
                </a:moveTo>
                <a:lnTo>
                  <a:pt x="323240" y="462756"/>
                </a:lnTo>
                <a:lnTo>
                  <a:pt x="320027" y="465138"/>
                </a:lnTo>
                <a:lnTo>
                  <a:pt x="319223" y="467519"/>
                </a:lnTo>
                <a:lnTo>
                  <a:pt x="312796" y="503238"/>
                </a:lnTo>
                <a:lnTo>
                  <a:pt x="309582" y="523875"/>
                </a:lnTo>
                <a:lnTo>
                  <a:pt x="307975" y="545306"/>
                </a:lnTo>
                <a:lnTo>
                  <a:pt x="309582" y="553244"/>
                </a:lnTo>
                <a:lnTo>
                  <a:pt x="310385" y="563563"/>
                </a:lnTo>
                <a:lnTo>
                  <a:pt x="314403" y="573088"/>
                </a:lnTo>
                <a:lnTo>
                  <a:pt x="317616" y="583406"/>
                </a:lnTo>
                <a:lnTo>
                  <a:pt x="324044" y="592931"/>
                </a:lnTo>
                <a:lnTo>
                  <a:pt x="332881" y="601663"/>
                </a:lnTo>
                <a:lnTo>
                  <a:pt x="342523" y="608806"/>
                </a:lnTo>
                <a:lnTo>
                  <a:pt x="353771" y="613569"/>
                </a:lnTo>
                <a:lnTo>
                  <a:pt x="359395" y="615950"/>
                </a:lnTo>
                <a:lnTo>
                  <a:pt x="364215" y="617538"/>
                </a:lnTo>
                <a:lnTo>
                  <a:pt x="364215" y="707231"/>
                </a:lnTo>
                <a:lnTo>
                  <a:pt x="362609" y="711994"/>
                </a:lnTo>
                <a:lnTo>
                  <a:pt x="360198" y="715963"/>
                </a:lnTo>
                <a:lnTo>
                  <a:pt x="355378" y="719931"/>
                </a:lnTo>
                <a:lnTo>
                  <a:pt x="350557" y="723106"/>
                </a:lnTo>
                <a:lnTo>
                  <a:pt x="342523" y="727075"/>
                </a:lnTo>
                <a:lnTo>
                  <a:pt x="335292" y="727869"/>
                </a:lnTo>
                <a:lnTo>
                  <a:pt x="324044" y="729456"/>
                </a:lnTo>
                <a:lnTo>
                  <a:pt x="320027" y="731044"/>
                </a:lnTo>
                <a:lnTo>
                  <a:pt x="316813" y="731838"/>
                </a:lnTo>
                <a:lnTo>
                  <a:pt x="315206" y="735806"/>
                </a:lnTo>
                <a:lnTo>
                  <a:pt x="314403" y="738981"/>
                </a:lnTo>
                <a:lnTo>
                  <a:pt x="315206" y="742950"/>
                </a:lnTo>
                <a:lnTo>
                  <a:pt x="316813" y="746919"/>
                </a:lnTo>
                <a:lnTo>
                  <a:pt x="320027" y="749300"/>
                </a:lnTo>
                <a:lnTo>
                  <a:pt x="324044" y="749300"/>
                </a:lnTo>
                <a:lnTo>
                  <a:pt x="425276" y="749300"/>
                </a:lnTo>
                <a:lnTo>
                  <a:pt x="428490" y="749300"/>
                </a:lnTo>
                <a:lnTo>
                  <a:pt x="432507" y="746919"/>
                </a:lnTo>
                <a:lnTo>
                  <a:pt x="434114" y="742950"/>
                </a:lnTo>
                <a:lnTo>
                  <a:pt x="434917" y="738981"/>
                </a:lnTo>
                <a:lnTo>
                  <a:pt x="434114" y="735806"/>
                </a:lnTo>
                <a:lnTo>
                  <a:pt x="432507" y="731838"/>
                </a:lnTo>
                <a:lnTo>
                  <a:pt x="428490" y="731044"/>
                </a:lnTo>
                <a:lnTo>
                  <a:pt x="425276" y="729456"/>
                </a:lnTo>
                <a:lnTo>
                  <a:pt x="414028" y="727869"/>
                </a:lnTo>
                <a:lnTo>
                  <a:pt x="405190" y="727075"/>
                </a:lnTo>
                <a:lnTo>
                  <a:pt x="398763" y="723106"/>
                </a:lnTo>
                <a:lnTo>
                  <a:pt x="392336" y="719931"/>
                </a:lnTo>
                <a:lnTo>
                  <a:pt x="389122" y="715963"/>
                </a:lnTo>
                <a:lnTo>
                  <a:pt x="386711" y="711994"/>
                </a:lnTo>
                <a:lnTo>
                  <a:pt x="385105" y="707231"/>
                </a:lnTo>
                <a:lnTo>
                  <a:pt x="385105" y="617538"/>
                </a:lnTo>
                <a:lnTo>
                  <a:pt x="389925" y="615950"/>
                </a:lnTo>
                <a:lnTo>
                  <a:pt x="394746" y="613569"/>
                </a:lnTo>
                <a:lnTo>
                  <a:pt x="405994" y="608806"/>
                </a:lnTo>
                <a:lnTo>
                  <a:pt x="416439" y="601663"/>
                </a:lnTo>
                <a:lnTo>
                  <a:pt x="425276" y="592931"/>
                </a:lnTo>
                <a:lnTo>
                  <a:pt x="430900" y="583406"/>
                </a:lnTo>
                <a:lnTo>
                  <a:pt x="434917" y="573088"/>
                </a:lnTo>
                <a:lnTo>
                  <a:pt x="438935" y="563563"/>
                </a:lnTo>
                <a:lnTo>
                  <a:pt x="439738" y="553244"/>
                </a:lnTo>
                <a:lnTo>
                  <a:pt x="439738" y="545306"/>
                </a:lnTo>
                <a:lnTo>
                  <a:pt x="438935" y="523875"/>
                </a:lnTo>
                <a:lnTo>
                  <a:pt x="436524" y="503238"/>
                </a:lnTo>
                <a:lnTo>
                  <a:pt x="430097" y="467519"/>
                </a:lnTo>
                <a:lnTo>
                  <a:pt x="428490" y="465138"/>
                </a:lnTo>
                <a:lnTo>
                  <a:pt x="426080" y="462756"/>
                </a:lnTo>
                <a:lnTo>
                  <a:pt x="422866" y="460375"/>
                </a:lnTo>
                <a:lnTo>
                  <a:pt x="419652" y="460375"/>
                </a:lnTo>
                <a:lnTo>
                  <a:pt x="328864" y="460375"/>
                </a:lnTo>
                <a:lnTo>
                  <a:pt x="326454" y="460375"/>
                </a:lnTo>
                <a:close/>
                <a:moveTo>
                  <a:pt x="830263" y="447675"/>
                </a:moveTo>
                <a:lnTo>
                  <a:pt x="830263" y="644525"/>
                </a:lnTo>
                <a:lnTo>
                  <a:pt x="872332" y="644525"/>
                </a:lnTo>
                <a:lnTo>
                  <a:pt x="872332" y="565944"/>
                </a:lnTo>
                <a:lnTo>
                  <a:pt x="895351" y="565944"/>
                </a:lnTo>
                <a:lnTo>
                  <a:pt x="908845" y="564356"/>
                </a:lnTo>
                <a:lnTo>
                  <a:pt x="922338" y="561975"/>
                </a:lnTo>
                <a:lnTo>
                  <a:pt x="933451" y="557213"/>
                </a:lnTo>
                <a:lnTo>
                  <a:pt x="943770" y="550863"/>
                </a:lnTo>
                <a:lnTo>
                  <a:pt x="950914" y="542131"/>
                </a:lnTo>
                <a:lnTo>
                  <a:pt x="957264" y="532606"/>
                </a:lnTo>
                <a:lnTo>
                  <a:pt x="960439" y="520700"/>
                </a:lnTo>
                <a:lnTo>
                  <a:pt x="962026" y="507206"/>
                </a:lnTo>
                <a:lnTo>
                  <a:pt x="960439" y="496094"/>
                </a:lnTo>
                <a:lnTo>
                  <a:pt x="958057" y="484981"/>
                </a:lnTo>
                <a:lnTo>
                  <a:pt x="954882" y="474663"/>
                </a:lnTo>
                <a:lnTo>
                  <a:pt x="948532" y="465931"/>
                </a:lnTo>
                <a:lnTo>
                  <a:pt x="941389" y="458788"/>
                </a:lnTo>
                <a:lnTo>
                  <a:pt x="931070" y="452438"/>
                </a:lnTo>
                <a:lnTo>
                  <a:pt x="924720" y="450056"/>
                </a:lnTo>
                <a:lnTo>
                  <a:pt x="919163" y="449263"/>
                </a:lnTo>
                <a:lnTo>
                  <a:pt x="904082" y="447675"/>
                </a:lnTo>
                <a:lnTo>
                  <a:pt x="830263" y="447675"/>
                </a:lnTo>
                <a:close/>
                <a:moveTo>
                  <a:pt x="545830" y="447675"/>
                </a:moveTo>
                <a:lnTo>
                  <a:pt x="490538" y="644525"/>
                </a:lnTo>
                <a:lnTo>
                  <a:pt x="534771" y="644525"/>
                </a:lnTo>
                <a:lnTo>
                  <a:pt x="545040" y="602456"/>
                </a:lnTo>
                <a:lnTo>
                  <a:pt x="599541" y="602456"/>
                </a:lnTo>
                <a:lnTo>
                  <a:pt x="609810" y="644525"/>
                </a:lnTo>
                <a:lnTo>
                  <a:pt x="652463" y="644525"/>
                </a:lnTo>
                <a:lnTo>
                  <a:pt x="597172" y="447675"/>
                </a:lnTo>
                <a:lnTo>
                  <a:pt x="545830" y="447675"/>
                </a:lnTo>
                <a:close/>
                <a:moveTo>
                  <a:pt x="727075" y="444500"/>
                </a:moveTo>
                <a:lnTo>
                  <a:pt x="718344" y="446088"/>
                </a:lnTo>
                <a:lnTo>
                  <a:pt x="709613" y="447675"/>
                </a:lnTo>
                <a:lnTo>
                  <a:pt x="702469" y="450850"/>
                </a:lnTo>
                <a:lnTo>
                  <a:pt x="696119" y="454819"/>
                </a:lnTo>
                <a:lnTo>
                  <a:pt x="689769" y="458788"/>
                </a:lnTo>
                <a:lnTo>
                  <a:pt x="685006" y="463550"/>
                </a:lnTo>
                <a:lnTo>
                  <a:pt x="681831" y="469106"/>
                </a:lnTo>
                <a:lnTo>
                  <a:pt x="677863" y="475456"/>
                </a:lnTo>
                <a:lnTo>
                  <a:pt x="673894" y="484188"/>
                </a:lnTo>
                <a:lnTo>
                  <a:pt x="671513" y="491331"/>
                </a:lnTo>
                <a:lnTo>
                  <a:pt x="669131" y="500063"/>
                </a:lnTo>
                <a:lnTo>
                  <a:pt x="666750" y="521494"/>
                </a:lnTo>
                <a:lnTo>
                  <a:pt x="666750" y="544513"/>
                </a:lnTo>
                <a:lnTo>
                  <a:pt x="666750" y="567531"/>
                </a:lnTo>
                <a:lnTo>
                  <a:pt x="668338" y="588963"/>
                </a:lnTo>
                <a:lnTo>
                  <a:pt x="671513" y="607219"/>
                </a:lnTo>
                <a:lnTo>
                  <a:pt x="673894" y="614363"/>
                </a:lnTo>
                <a:lnTo>
                  <a:pt x="677863" y="622300"/>
                </a:lnTo>
                <a:lnTo>
                  <a:pt x="681831" y="627856"/>
                </a:lnTo>
                <a:lnTo>
                  <a:pt x="686594" y="633413"/>
                </a:lnTo>
                <a:lnTo>
                  <a:pt x="691356" y="638175"/>
                </a:lnTo>
                <a:lnTo>
                  <a:pt x="696119" y="641350"/>
                </a:lnTo>
                <a:lnTo>
                  <a:pt x="703263" y="644525"/>
                </a:lnTo>
                <a:lnTo>
                  <a:pt x="711200" y="646906"/>
                </a:lnTo>
                <a:lnTo>
                  <a:pt x="718344" y="647700"/>
                </a:lnTo>
                <a:lnTo>
                  <a:pt x="727869" y="647700"/>
                </a:lnTo>
                <a:lnTo>
                  <a:pt x="742156" y="646906"/>
                </a:lnTo>
                <a:lnTo>
                  <a:pt x="754063" y="642938"/>
                </a:lnTo>
                <a:lnTo>
                  <a:pt x="758825" y="640556"/>
                </a:lnTo>
                <a:lnTo>
                  <a:pt x="763588" y="636588"/>
                </a:lnTo>
                <a:lnTo>
                  <a:pt x="767556" y="631825"/>
                </a:lnTo>
                <a:lnTo>
                  <a:pt x="772319" y="627063"/>
                </a:lnTo>
                <a:lnTo>
                  <a:pt x="772319" y="645319"/>
                </a:lnTo>
                <a:lnTo>
                  <a:pt x="803275" y="645319"/>
                </a:lnTo>
                <a:lnTo>
                  <a:pt x="803275" y="538163"/>
                </a:lnTo>
                <a:lnTo>
                  <a:pt x="735806" y="538163"/>
                </a:lnTo>
                <a:lnTo>
                  <a:pt x="735806" y="567531"/>
                </a:lnTo>
                <a:lnTo>
                  <a:pt x="762794" y="567531"/>
                </a:lnTo>
                <a:lnTo>
                  <a:pt x="762794" y="587375"/>
                </a:lnTo>
                <a:lnTo>
                  <a:pt x="762794" y="596106"/>
                </a:lnTo>
                <a:lnTo>
                  <a:pt x="760413" y="602456"/>
                </a:lnTo>
                <a:lnTo>
                  <a:pt x="758031" y="607219"/>
                </a:lnTo>
                <a:lnTo>
                  <a:pt x="754063" y="611981"/>
                </a:lnTo>
                <a:lnTo>
                  <a:pt x="750094" y="614363"/>
                </a:lnTo>
                <a:lnTo>
                  <a:pt x="745331" y="616744"/>
                </a:lnTo>
                <a:lnTo>
                  <a:pt x="740569" y="619919"/>
                </a:lnTo>
                <a:lnTo>
                  <a:pt x="736600" y="619919"/>
                </a:lnTo>
                <a:lnTo>
                  <a:pt x="729456" y="618331"/>
                </a:lnTo>
                <a:lnTo>
                  <a:pt x="725488" y="616744"/>
                </a:lnTo>
                <a:lnTo>
                  <a:pt x="722313" y="614363"/>
                </a:lnTo>
                <a:lnTo>
                  <a:pt x="717550" y="607219"/>
                </a:lnTo>
                <a:lnTo>
                  <a:pt x="713581" y="598488"/>
                </a:lnTo>
                <a:lnTo>
                  <a:pt x="711200" y="587375"/>
                </a:lnTo>
                <a:lnTo>
                  <a:pt x="709613" y="573881"/>
                </a:lnTo>
                <a:lnTo>
                  <a:pt x="708819" y="542131"/>
                </a:lnTo>
                <a:lnTo>
                  <a:pt x="708819" y="524669"/>
                </a:lnTo>
                <a:lnTo>
                  <a:pt x="709613" y="511175"/>
                </a:lnTo>
                <a:lnTo>
                  <a:pt x="711994" y="499269"/>
                </a:lnTo>
                <a:lnTo>
                  <a:pt x="714375" y="488950"/>
                </a:lnTo>
                <a:lnTo>
                  <a:pt x="718344" y="483394"/>
                </a:lnTo>
                <a:lnTo>
                  <a:pt x="723106" y="477838"/>
                </a:lnTo>
                <a:lnTo>
                  <a:pt x="729456" y="474663"/>
                </a:lnTo>
                <a:lnTo>
                  <a:pt x="736600" y="473075"/>
                </a:lnTo>
                <a:lnTo>
                  <a:pt x="742950" y="474663"/>
                </a:lnTo>
                <a:lnTo>
                  <a:pt x="747713" y="477044"/>
                </a:lnTo>
                <a:lnTo>
                  <a:pt x="751681" y="480219"/>
                </a:lnTo>
                <a:lnTo>
                  <a:pt x="755650" y="484188"/>
                </a:lnTo>
                <a:lnTo>
                  <a:pt x="758031" y="488950"/>
                </a:lnTo>
                <a:lnTo>
                  <a:pt x="758825" y="495300"/>
                </a:lnTo>
                <a:lnTo>
                  <a:pt x="760413" y="506413"/>
                </a:lnTo>
                <a:lnTo>
                  <a:pt x="800894" y="506413"/>
                </a:lnTo>
                <a:lnTo>
                  <a:pt x="799306" y="492919"/>
                </a:lnTo>
                <a:lnTo>
                  <a:pt x="796925" y="480219"/>
                </a:lnTo>
                <a:lnTo>
                  <a:pt x="792163" y="469106"/>
                </a:lnTo>
                <a:lnTo>
                  <a:pt x="785813" y="461169"/>
                </a:lnTo>
                <a:lnTo>
                  <a:pt x="782638" y="457200"/>
                </a:lnTo>
                <a:lnTo>
                  <a:pt x="777081" y="453231"/>
                </a:lnTo>
                <a:lnTo>
                  <a:pt x="766763" y="448469"/>
                </a:lnTo>
                <a:lnTo>
                  <a:pt x="752475" y="444500"/>
                </a:lnTo>
                <a:lnTo>
                  <a:pt x="736600" y="444500"/>
                </a:lnTo>
                <a:lnTo>
                  <a:pt x="727075" y="444500"/>
                </a:lnTo>
                <a:close/>
                <a:moveTo>
                  <a:pt x="107909" y="430212"/>
                </a:moveTo>
                <a:lnTo>
                  <a:pt x="104748" y="431800"/>
                </a:lnTo>
                <a:lnTo>
                  <a:pt x="102377" y="434181"/>
                </a:lnTo>
                <a:lnTo>
                  <a:pt x="100006" y="438150"/>
                </a:lnTo>
                <a:lnTo>
                  <a:pt x="98425" y="441325"/>
                </a:lnTo>
                <a:lnTo>
                  <a:pt x="98425" y="523874"/>
                </a:lnTo>
                <a:lnTo>
                  <a:pt x="100006" y="545306"/>
                </a:lnTo>
                <a:lnTo>
                  <a:pt x="102377" y="563562"/>
                </a:lnTo>
                <a:lnTo>
                  <a:pt x="104748" y="580231"/>
                </a:lnTo>
                <a:lnTo>
                  <a:pt x="107909" y="596899"/>
                </a:lnTo>
                <a:lnTo>
                  <a:pt x="111860" y="612774"/>
                </a:lnTo>
                <a:lnTo>
                  <a:pt x="114231" y="628649"/>
                </a:lnTo>
                <a:lnTo>
                  <a:pt x="116602" y="646906"/>
                </a:lnTo>
                <a:lnTo>
                  <a:pt x="118183" y="668337"/>
                </a:lnTo>
                <a:lnTo>
                  <a:pt x="115812" y="697705"/>
                </a:lnTo>
                <a:lnTo>
                  <a:pt x="111860" y="733424"/>
                </a:lnTo>
                <a:lnTo>
                  <a:pt x="110280" y="734218"/>
                </a:lnTo>
                <a:lnTo>
                  <a:pt x="111860" y="738187"/>
                </a:lnTo>
                <a:lnTo>
                  <a:pt x="113441" y="740568"/>
                </a:lnTo>
                <a:lnTo>
                  <a:pt x="115812" y="742949"/>
                </a:lnTo>
                <a:lnTo>
                  <a:pt x="118183" y="744537"/>
                </a:lnTo>
                <a:lnTo>
                  <a:pt x="122925" y="745330"/>
                </a:lnTo>
                <a:lnTo>
                  <a:pt x="133989" y="747712"/>
                </a:lnTo>
                <a:lnTo>
                  <a:pt x="149005" y="749299"/>
                </a:lnTo>
                <a:lnTo>
                  <a:pt x="190102" y="749299"/>
                </a:lnTo>
                <a:lnTo>
                  <a:pt x="216972" y="749299"/>
                </a:lnTo>
                <a:lnTo>
                  <a:pt x="239101" y="747712"/>
                </a:lnTo>
                <a:lnTo>
                  <a:pt x="254908" y="746918"/>
                </a:lnTo>
                <a:lnTo>
                  <a:pt x="260440" y="745330"/>
                </a:lnTo>
                <a:lnTo>
                  <a:pt x="263601" y="742949"/>
                </a:lnTo>
                <a:lnTo>
                  <a:pt x="265972" y="740568"/>
                </a:lnTo>
                <a:lnTo>
                  <a:pt x="267553" y="738187"/>
                </a:lnTo>
                <a:lnTo>
                  <a:pt x="268343" y="734218"/>
                </a:lnTo>
                <a:lnTo>
                  <a:pt x="268343" y="733424"/>
                </a:lnTo>
                <a:lnTo>
                  <a:pt x="263601" y="697705"/>
                </a:lnTo>
                <a:lnTo>
                  <a:pt x="262811" y="668337"/>
                </a:lnTo>
                <a:lnTo>
                  <a:pt x="262811" y="646906"/>
                </a:lnTo>
                <a:lnTo>
                  <a:pt x="265182" y="628649"/>
                </a:lnTo>
                <a:lnTo>
                  <a:pt x="267553" y="612774"/>
                </a:lnTo>
                <a:lnTo>
                  <a:pt x="271504" y="596899"/>
                </a:lnTo>
                <a:lnTo>
                  <a:pt x="274666" y="580231"/>
                </a:lnTo>
                <a:lnTo>
                  <a:pt x="278617" y="563562"/>
                </a:lnTo>
                <a:lnTo>
                  <a:pt x="279407" y="545306"/>
                </a:lnTo>
                <a:lnTo>
                  <a:pt x="280988" y="523874"/>
                </a:lnTo>
                <a:lnTo>
                  <a:pt x="280988" y="476250"/>
                </a:lnTo>
                <a:lnTo>
                  <a:pt x="280988" y="441325"/>
                </a:lnTo>
                <a:lnTo>
                  <a:pt x="280988" y="438150"/>
                </a:lnTo>
                <a:lnTo>
                  <a:pt x="278617" y="434181"/>
                </a:lnTo>
                <a:lnTo>
                  <a:pt x="274666" y="431800"/>
                </a:lnTo>
                <a:lnTo>
                  <a:pt x="271504" y="430212"/>
                </a:lnTo>
                <a:lnTo>
                  <a:pt x="107909" y="430212"/>
                </a:lnTo>
                <a:close/>
                <a:moveTo>
                  <a:pt x="515144" y="0"/>
                </a:moveTo>
                <a:lnTo>
                  <a:pt x="543719" y="0"/>
                </a:lnTo>
                <a:lnTo>
                  <a:pt x="572294" y="0"/>
                </a:lnTo>
                <a:lnTo>
                  <a:pt x="599282" y="2381"/>
                </a:lnTo>
                <a:lnTo>
                  <a:pt x="626269" y="6350"/>
                </a:lnTo>
                <a:lnTo>
                  <a:pt x="653257" y="11113"/>
                </a:lnTo>
                <a:lnTo>
                  <a:pt x="680244" y="17463"/>
                </a:lnTo>
                <a:lnTo>
                  <a:pt x="706438" y="24606"/>
                </a:lnTo>
                <a:lnTo>
                  <a:pt x="731044" y="33338"/>
                </a:lnTo>
                <a:lnTo>
                  <a:pt x="755650" y="42863"/>
                </a:lnTo>
                <a:lnTo>
                  <a:pt x="780257" y="53975"/>
                </a:lnTo>
                <a:lnTo>
                  <a:pt x="803275" y="65088"/>
                </a:lnTo>
                <a:lnTo>
                  <a:pt x="825501" y="78581"/>
                </a:lnTo>
                <a:lnTo>
                  <a:pt x="847726" y="92075"/>
                </a:lnTo>
                <a:lnTo>
                  <a:pt x="869951" y="107950"/>
                </a:lnTo>
                <a:lnTo>
                  <a:pt x="889001" y="124619"/>
                </a:lnTo>
                <a:lnTo>
                  <a:pt x="908844" y="141288"/>
                </a:lnTo>
                <a:lnTo>
                  <a:pt x="928688" y="158750"/>
                </a:lnTo>
                <a:lnTo>
                  <a:pt x="946151" y="178594"/>
                </a:lnTo>
                <a:lnTo>
                  <a:pt x="962819" y="198438"/>
                </a:lnTo>
                <a:lnTo>
                  <a:pt x="979488" y="217488"/>
                </a:lnTo>
                <a:lnTo>
                  <a:pt x="995363" y="239713"/>
                </a:lnTo>
                <a:lnTo>
                  <a:pt x="1008857" y="261938"/>
                </a:lnTo>
                <a:lnTo>
                  <a:pt x="1022351" y="284163"/>
                </a:lnTo>
                <a:lnTo>
                  <a:pt x="1034257" y="307181"/>
                </a:lnTo>
                <a:lnTo>
                  <a:pt x="1044576" y="331787"/>
                </a:lnTo>
                <a:lnTo>
                  <a:pt x="1054101" y="356394"/>
                </a:lnTo>
                <a:lnTo>
                  <a:pt x="1062832" y="382587"/>
                </a:lnTo>
                <a:lnTo>
                  <a:pt x="1069976" y="407194"/>
                </a:lnTo>
                <a:lnTo>
                  <a:pt x="1076326" y="434181"/>
                </a:lnTo>
                <a:lnTo>
                  <a:pt x="1081088" y="461169"/>
                </a:lnTo>
                <a:lnTo>
                  <a:pt x="1085057" y="488156"/>
                </a:lnTo>
                <a:lnTo>
                  <a:pt x="1087438" y="515144"/>
                </a:lnTo>
                <a:lnTo>
                  <a:pt x="1087438" y="543719"/>
                </a:lnTo>
                <a:lnTo>
                  <a:pt x="1087438" y="572294"/>
                </a:lnTo>
                <a:lnTo>
                  <a:pt x="1085057" y="599281"/>
                </a:lnTo>
                <a:lnTo>
                  <a:pt x="1081088" y="626269"/>
                </a:lnTo>
                <a:lnTo>
                  <a:pt x="1076326" y="653256"/>
                </a:lnTo>
                <a:lnTo>
                  <a:pt x="1069976" y="678656"/>
                </a:lnTo>
                <a:lnTo>
                  <a:pt x="1062832" y="704850"/>
                </a:lnTo>
                <a:lnTo>
                  <a:pt x="1054101" y="731044"/>
                </a:lnTo>
                <a:lnTo>
                  <a:pt x="1044576" y="755650"/>
                </a:lnTo>
                <a:lnTo>
                  <a:pt x="1034257" y="780256"/>
                </a:lnTo>
                <a:lnTo>
                  <a:pt x="1022351" y="803275"/>
                </a:lnTo>
                <a:lnTo>
                  <a:pt x="1008857" y="825500"/>
                </a:lnTo>
                <a:lnTo>
                  <a:pt x="995363" y="847725"/>
                </a:lnTo>
                <a:lnTo>
                  <a:pt x="979488" y="868362"/>
                </a:lnTo>
                <a:lnTo>
                  <a:pt x="962819" y="889000"/>
                </a:lnTo>
                <a:lnTo>
                  <a:pt x="946151" y="908843"/>
                </a:lnTo>
                <a:lnTo>
                  <a:pt x="928688" y="928687"/>
                </a:lnTo>
                <a:lnTo>
                  <a:pt x="908844" y="946150"/>
                </a:lnTo>
                <a:lnTo>
                  <a:pt x="889001" y="962818"/>
                </a:lnTo>
                <a:lnTo>
                  <a:pt x="869951" y="979487"/>
                </a:lnTo>
                <a:lnTo>
                  <a:pt x="847726" y="995362"/>
                </a:lnTo>
                <a:lnTo>
                  <a:pt x="825501" y="1008856"/>
                </a:lnTo>
                <a:lnTo>
                  <a:pt x="803275" y="1022350"/>
                </a:lnTo>
                <a:lnTo>
                  <a:pt x="780257" y="1033462"/>
                </a:lnTo>
                <a:lnTo>
                  <a:pt x="755650" y="1044575"/>
                </a:lnTo>
                <a:lnTo>
                  <a:pt x="731044" y="1054100"/>
                </a:lnTo>
                <a:lnTo>
                  <a:pt x="706438" y="1062831"/>
                </a:lnTo>
                <a:lnTo>
                  <a:pt x="680244" y="1069975"/>
                </a:lnTo>
                <a:lnTo>
                  <a:pt x="653257" y="1076325"/>
                </a:lnTo>
                <a:lnTo>
                  <a:pt x="626269" y="1081087"/>
                </a:lnTo>
                <a:lnTo>
                  <a:pt x="599282" y="1085056"/>
                </a:lnTo>
                <a:lnTo>
                  <a:pt x="572294" y="1085850"/>
                </a:lnTo>
                <a:lnTo>
                  <a:pt x="543719" y="1087437"/>
                </a:lnTo>
                <a:lnTo>
                  <a:pt x="515144" y="1085850"/>
                </a:lnTo>
                <a:lnTo>
                  <a:pt x="488157" y="1085056"/>
                </a:lnTo>
                <a:lnTo>
                  <a:pt x="461169" y="1081087"/>
                </a:lnTo>
                <a:lnTo>
                  <a:pt x="434182" y="1076325"/>
                </a:lnTo>
                <a:lnTo>
                  <a:pt x="408782" y="1069975"/>
                </a:lnTo>
                <a:lnTo>
                  <a:pt x="382588" y="1062831"/>
                </a:lnTo>
                <a:lnTo>
                  <a:pt x="356394" y="1054100"/>
                </a:lnTo>
                <a:lnTo>
                  <a:pt x="331788"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975"/>
                </a:lnTo>
                <a:lnTo>
                  <a:pt x="331788" y="42863"/>
                </a:lnTo>
                <a:lnTo>
                  <a:pt x="356394" y="33338"/>
                </a:lnTo>
                <a:lnTo>
                  <a:pt x="382588" y="24606"/>
                </a:lnTo>
                <a:lnTo>
                  <a:pt x="408782" y="17463"/>
                </a:lnTo>
                <a:lnTo>
                  <a:pt x="434182" y="11113"/>
                </a:lnTo>
                <a:lnTo>
                  <a:pt x="461169" y="6350"/>
                </a:lnTo>
                <a:lnTo>
                  <a:pt x="488157"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Tree>
    <p:extLst>
      <p:ext uri="{BB962C8B-B14F-4D97-AF65-F5344CB8AC3E}">
        <p14:creationId xmlns:p14="http://schemas.microsoft.com/office/powerpoint/2010/main" val="997457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cons_2">
    <p:spTree>
      <p:nvGrpSpPr>
        <p:cNvPr id="1" name=""/>
        <p:cNvGrpSpPr/>
        <p:nvPr/>
      </p:nvGrpSpPr>
      <p:grpSpPr>
        <a:xfrm>
          <a:off x="0" y="0"/>
          <a:ext cx="0" cy="0"/>
          <a:chOff x="0" y="0"/>
          <a:chExt cx="0" cy="0"/>
        </a:xfrm>
      </p:grpSpPr>
      <p:sp>
        <p:nvSpPr>
          <p:cNvPr id="6" name="Freeform 111"/>
          <p:cNvSpPr>
            <a:spLocks noEditPoints="1"/>
          </p:cNvSpPr>
          <p:nvPr userDrawn="1"/>
        </p:nvSpPr>
        <p:spPr bwMode="auto">
          <a:xfrm>
            <a:off x="1587956" y="1080648"/>
            <a:ext cx="1080000" cy="1080000"/>
          </a:xfrm>
          <a:custGeom>
            <a:avLst/>
            <a:gdLst>
              <a:gd name="T0" fmla="*/ 274 w 726"/>
              <a:gd name="T1" fmla="*/ 246 h 726"/>
              <a:gd name="T2" fmla="*/ 262 w 726"/>
              <a:gd name="T3" fmla="*/ 296 h 726"/>
              <a:gd name="T4" fmla="*/ 278 w 726"/>
              <a:gd name="T5" fmla="*/ 352 h 726"/>
              <a:gd name="T6" fmla="*/ 296 w 726"/>
              <a:gd name="T7" fmla="*/ 344 h 726"/>
              <a:gd name="T8" fmla="*/ 286 w 726"/>
              <a:gd name="T9" fmla="*/ 306 h 726"/>
              <a:gd name="T10" fmla="*/ 296 w 726"/>
              <a:gd name="T11" fmla="*/ 258 h 726"/>
              <a:gd name="T12" fmla="*/ 364 w 726"/>
              <a:gd name="T13" fmla="*/ 0 h 726"/>
              <a:gd name="T14" fmla="*/ 190 w 726"/>
              <a:gd name="T15" fmla="*/ 44 h 726"/>
              <a:gd name="T16" fmla="*/ 44 w 726"/>
              <a:gd name="T17" fmla="*/ 190 h 726"/>
              <a:gd name="T18" fmla="*/ 0 w 726"/>
              <a:gd name="T19" fmla="*/ 362 h 726"/>
              <a:gd name="T20" fmla="*/ 62 w 726"/>
              <a:gd name="T21" fmla="*/ 566 h 726"/>
              <a:gd name="T22" fmla="*/ 222 w 726"/>
              <a:gd name="T23" fmla="*/ 698 h 726"/>
              <a:gd name="T24" fmla="*/ 400 w 726"/>
              <a:gd name="T25" fmla="*/ 724 h 726"/>
              <a:gd name="T26" fmla="*/ 594 w 726"/>
              <a:gd name="T27" fmla="*/ 642 h 726"/>
              <a:gd name="T28" fmla="*/ 710 w 726"/>
              <a:gd name="T29" fmla="*/ 470 h 726"/>
              <a:gd name="T30" fmla="*/ 718 w 726"/>
              <a:gd name="T31" fmla="*/ 290 h 726"/>
              <a:gd name="T32" fmla="*/ 620 w 726"/>
              <a:gd name="T33" fmla="*/ 106 h 726"/>
              <a:gd name="T34" fmla="*/ 436 w 726"/>
              <a:gd name="T35" fmla="*/ 8 h 726"/>
              <a:gd name="T36" fmla="*/ 456 w 726"/>
              <a:gd name="T37" fmla="*/ 544 h 726"/>
              <a:gd name="T38" fmla="*/ 336 w 726"/>
              <a:gd name="T39" fmla="*/ 556 h 726"/>
              <a:gd name="T40" fmla="*/ 262 w 726"/>
              <a:gd name="T41" fmla="*/ 450 h 726"/>
              <a:gd name="T42" fmla="*/ 262 w 726"/>
              <a:gd name="T43" fmla="*/ 440 h 726"/>
              <a:gd name="T44" fmla="*/ 282 w 726"/>
              <a:gd name="T45" fmla="*/ 440 h 726"/>
              <a:gd name="T46" fmla="*/ 312 w 726"/>
              <a:gd name="T47" fmla="*/ 484 h 726"/>
              <a:gd name="T48" fmla="*/ 330 w 726"/>
              <a:gd name="T49" fmla="*/ 480 h 726"/>
              <a:gd name="T50" fmla="*/ 332 w 726"/>
              <a:gd name="T51" fmla="*/ 294 h 726"/>
              <a:gd name="T52" fmla="*/ 348 w 726"/>
              <a:gd name="T53" fmla="*/ 288 h 726"/>
              <a:gd name="T54" fmla="*/ 354 w 726"/>
              <a:gd name="T55" fmla="*/ 390 h 726"/>
              <a:gd name="T56" fmla="*/ 376 w 726"/>
              <a:gd name="T57" fmla="*/ 398 h 726"/>
              <a:gd name="T58" fmla="*/ 394 w 726"/>
              <a:gd name="T59" fmla="*/ 400 h 726"/>
              <a:gd name="T60" fmla="*/ 410 w 726"/>
              <a:gd name="T61" fmla="*/ 416 h 726"/>
              <a:gd name="T62" fmla="*/ 428 w 726"/>
              <a:gd name="T63" fmla="*/ 410 h 726"/>
              <a:gd name="T64" fmla="*/ 436 w 726"/>
              <a:gd name="T65" fmla="*/ 428 h 726"/>
              <a:gd name="T66" fmla="*/ 454 w 726"/>
              <a:gd name="T67" fmla="*/ 434 h 726"/>
              <a:gd name="T68" fmla="*/ 464 w 726"/>
              <a:gd name="T69" fmla="*/ 428 h 726"/>
              <a:gd name="T70" fmla="*/ 474 w 726"/>
              <a:gd name="T71" fmla="*/ 458 h 726"/>
              <a:gd name="T72" fmla="*/ 474 w 726"/>
              <a:gd name="T73" fmla="*/ 514 h 726"/>
              <a:gd name="T74" fmla="*/ 456 w 726"/>
              <a:gd name="T75" fmla="*/ 404 h 726"/>
              <a:gd name="T76" fmla="*/ 424 w 726"/>
              <a:gd name="T77" fmla="*/ 384 h 726"/>
              <a:gd name="T78" fmla="*/ 384 w 726"/>
              <a:gd name="T79" fmla="*/ 370 h 726"/>
              <a:gd name="T80" fmla="*/ 376 w 726"/>
              <a:gd name="T81" fmla="*/ 282 h 726"/>
              <a:gd name="T82" fmla="*/ 344 w 726"/>
              <a:gd name="T83" fmla="*/ 262 h 726"/>
              <a:gd name="T84" fmla="*/ 314 w 726"/>
              <a:gd name="T85" fmla="*/ 278 h 726"/>
              <a:gd name="T86" fmla="*/ 302 w 726"/>
              <a:gd name="T87" fmla="*/ 426 h 726"/>
              <a:gd name="T88" fmla="*/ 272 w 726"/>
              <a:gd name="T89" fmla="*/ 410 h 726"/>
              <a:gd name="T90" fmla="*/ 222 w 726"/>
              <a:gd name="T91" fmla="*/ 434 h 726"/>
              <a:gd name="T92" fmla="*/ 494 w 726"/>
              <a:gd name="T93" fmla="*/ 422 h 726"/>
              <a:gd name="T94" fmla="*/ 576 w 726"/>
              <a:gd name="T95" fmla="*/ 472 h 726"/>
              <a:gd name="T96" fmla="*/ 500 w 726"/>
              <a:gd name="T97" fmla="*/ 474 h 726"/>
              <a:gd name="T98" fmla="*/ 240 w 726"/>
              <a:gd name="T99" fmla="*/ 458 h 726"/>
              <a:gd name="T100" fmla="*/ 164 w 726"/>
              <a:gd name="T101" fmla="*/ 486 h 726"/>
              <a:gd name="T102" fmla="*/ 150 w 726"/>
              <a:gd name="T103" fmla="*/ 194 h 726"/>
              <a:gd name="T104" fmla="*/ 562 w 726"/>
              <a:gd name="T105" fmla="*/ 180 h 726"/>
              <a:gd name="T106" fmla="*/ 396 w 726"/>
              <a:gd name="T107" fmla="*/ 240 h 726"/>
              <a:gd name="T108" fmla="*/ 390 w 726"/>
              <a:gd name="T109" fmla="*/ 258 h 726"/>
              <a:gd name="T110" fmla="*/ 400 w 726"/>
              <a:gd name="T111" fmla="*/ 306 h 726"/>
              <a:gd name="T112" fmla="*/ 390 w 726"/>
              <a:gd name="T113" fmla="*/ 344 h 726"/>
              <a:gd name="T114" fmla="*/ 408 w 726"/>
              <a:gd name="T115" fmla="*/ 352 h 726"/>
              <a:gd name="T116" fmla="*/ 424 w 726"/>
              <a:gd name="T117" fmla="*/ 310 h 726"/>
              <a:gd name="T118" fmla="*/ 412 w 726"/>
              <a:gd name="T119" fmla="*/ 246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290" y="240"/>
                </a:moveTo>
                <a:lnTo>
                  <a:pt x="290" y="240"/>
                </a:lnTo>
                <a:lnTo>
                  <a:pt x="286" y="240"/>
                </a:lnTo>
                <a:lnTo>
                  <a:pt x="282" y="240"/>
                </a:lnTo>
                <a:lnTo>
                  <a:pt x="278" y="242"/>
                </a:lnTo>
                <a:lnTo>
                  <a:pt x="274" y="246"/>
                </a:lnTo>
                <a:lnTo>
                  <a:pt x="268" y="258"/>
                </a:lnTo>
                <a:lnTo>
                  <a:pt x="264" y="270"/>
                </a:lnTo>
                <a:lnTo>
                  <a:pt x="262" y="284"/>
                </a:lnTo>
                <a:lnTo>
                  <a:pt x="262" y="296"/>
                </a:lnTo>
                <a:lnTo>
                  <a:pt x="262" y="310"/>
                </a:lnTo>
                <a:lnTo>
                  <a:pt x="264" y="322"/>
                </a:lnTo>
                <a:lnTo>
                  <a:pt x="268" y="334"/>
                </a:lnTo>
                <a:lnTo>
                  <a:pt x="274" y="346"/>
                </a:lnTo>
                <a:lnTo>
                  <a:pt x="278" y="352"/>
                </a:lnTo>
                <a:lnTo>
                  <a:pt x="284" y="354"/>
                </a:lnTo>
                <a:lnTo>
                  <a:pt x="290" y="352"/>
                </a:lnTo>
                <a:lnTo>
                  <a:pt x="294" y="348"/>
                </a:lnTo>
                <a:lnTo>
                  <a:pt x="296" y="344"/>
                </a:lnTo>
                <a:lnTo>
                  <a:pt x="298" y="340"/>
                </a:lnTo>
                <a:lnTo>
                  <a:pt x="296" y="336"/>
                </a:lnTo>
                <a:lnTo>
                  <a:pt x="292" y="326"/>
                </a:lnTo>
                <a:lnTo>
                  <a:pt x="288" y="316"/>
                </a:lnTo>
                <a:lnTo>
                  <a:pt x="286" y="306"/>
                </a:lnTo>
                <a:lnTo>
                  <a:pt x="286" y="296"/>
                </a:lnTo>
                <a:lnTo>
                  <a:pt x="286" y="286"/>
                </a:lnTo>
                <a:lnTo>
                  <a:pt x="288" y="276"/>
                </a:lnTo>
                <a:lnTo>
                  <a:pt x="292" y="266"/>
                </a:lnTo>
                <a:lnTo>
                  <a:pt x="296" y="258"/>
                </a:lnTo>
                <a:lnTo>
                  <a:pt x="298" y="252"/>
                </a:lnTo>
                <a:lnTo>
                  <a:pt x="296" y="248"/>
                </a:lnTo>
                <a:lnTo>
                  <a:pt x="294" y="244"/>
                </a:lnTo>
                <a:lnTo>
                  <a:pt x="290" y="24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4" y="532"/>
                </a:moveTo>
                <a:lnTo>
                  <a:pt x="464" y="532"/>
                </a:lnTo>
                <a:lnTo>
                  <a:pt x="456" y="544"/>
                </a:lnTo>
                <a:lnTo>
                  <a:pt x="452" y="552"/>
                </a:lnTo>
                <a:lnTo>
                  <a:pt x="450" y="562"/>
                </a:lnTo>
                <a:lnTo>
                  <a:pt x="450" y="608"/>
                </a:lnTo>
                <a:lnTo>
                  <a:pt x="336" y="608"/>
                </a:lnTo>
                <a:lnTo>
                  <a:pt x="336" y="556"/>
                </a:lnTo>
                <a:lnTo>
                  <a:pt x="334" y="550"/>
                </a:lnTo>
                <a:lnTo>
                  <a:pt x="298" y="498"/>
                </a:lnTo>
                <a:lnTo>
                  <a:pt x="288" y="486"/>
                </a:lnTo>
                <a:lnTo>
                  <a:pt x="280" y="474"/>
                </a:lnTo>
                <a:lnTo>
                  <a:pt x="270" y="458"/>
                </a:lnTo>
                <a:lnTo>
                  <a:pt x="262" y="450"/>
                </a:lnTo>
                <a:lnTo>
                  <a:pt x="262" y="446"/>
                </a:lnTo>
                <a:lnTo>
                  <a:pt x="262" y="444"/>
                </a:lnTo>
                <a:lnTo>
                  <a:pt x="262" y="440"/>
                </a:lnTo>
                <a:lnTo>
                  <a:pt x="266" y="438"/>
                </a:lnTo>
                <a:lnTo>
                  <a:pt x="272" y="436"/>
                </a:lnTo>
                <a:lnTo>
                  <a:pt x="278" y="436"/>
                </a:lnTo>
                <a:lnTo>
                  <a:pt x="282" y="440"/>
                </a:lnTo>
                <a:lnTo>
                  <a:pt x="286" y="446"/>
                </a:lnTo>
                <a:lnTo>
                  <a:pt x="294" y="458"/>
                </a:lnTo>
                <a:lnTo>
                  <a:pt x="306" y="474"/>
                </a:lnTo>
                <a:lnTo>
                  <a:pt x="310" y="480"/>
                </a:lnTo>
                <a:lnTo>
                  <a:pt x="312" y="484"/>
                </a:lnTo>
                <a:lnTo>
                  <a:pt x="316" y="484"/>
                </a:lnTo>
                <a:lnTo>
                  <a:pt x="320" y="486"/>
                </a:lnTo>
                <a:lnTo>
                  <a:pt x="324" y="484"/>
                </a:lnTo>
                <a:lnTo>
                  <a:pt x="328" y="484"/>
                </a:lnTo>
                <a:lnTo>
                  <a:pt x="330" y="480"/>
                </a:lnTo>
                <a:lnTo>
                  <a:pt x="332" y="474"/>
                </a:lnTo>
                <a:lnTo>
                  <a:pt x="332" y="296"/>
                </a:lnTo>
                <a:lnTo>
                  <a:pt x="332" y="294"/>
                </a:lnTo>
                <a:lnTo>
                  <a:pt x="336" y="290"/>
                </a:lnTo>
                <a:lnTo>
                  <a:pt x="338" y="288"/>
                </a:lnTo>
                <a:lnTo>
                  <a:pt x="344" y="288"/>
                </a:lnTo>
                <a:lnTo>
                  <a:pt x="348" y="288"/>
                </a:lnTo>
                <a:lnTo>
                  <a:pt x="352" y="290"/>
                </a:lnTo>
                <a:lnTo>
                  <a:pt x="354" y="294"/>
                </a:lnTo>
                <a:lnTo>
                  <a:pt x="354" y="296"/>
                </a:lnTo>
                <a:lnTo>
                  <a:pt x="354" y="390"/>
                </a:lnTo>
                <a:lnTo>
                  <a:pt x="356" y="396"/>
                </a:lnTo>
                <a:lnTo>
                  <a:pt x="362" y="402"/>
                </a:lnTo>
                <a:lnTo>
                  <a:pt x="370" y="402"/>
                </a:lnTo>
                <a:lnTo>
                  <a:pt x="376" y="398"/>
                </a:lnTo>
                <a:lnTo>
                  <a:pt x="380" y="394"/>
                </a:lnTo>
                <a:lnTo>
                  <a:pt x="384" y="394"/>
                </a:lnTo>
                <a:lnTo>
                  <a:pt x="388" y="394"/>
                </a:lnTo>
                <a:lnTo>
                  <a:pt x="392" y="396"/>
                </a:lnTo>
                <a:lnTo>
                  <a:pt x="394" y="400"/>
                </a:lnTo>
                <a:lnTo>
                  <a:pt x="394" y="404"/>
                </a:lnTo>
                <a:lnTo>
                  <a:pt x="398" y="410"/>
                </a:lnTo>
                <a:lnTo>
                  <a:pt x="402" y="416"/>
                </a:lnTo>
                <a:lnTo>
                  <a:pt x="410" y="416"/>
                </a:lnTo>
                <a:lnTo>
                  <a:pt x="416" y="412"/>
                </a:lnTo>
                <a:lnTo>
                  <a:pt x="420" y="410"/>
                </a:lnTo>
                <a:lnTo>
                  <a:pt x="424" y="408"/>
                </a:lnTo>
                <a:lnTo>
                  <a:pt x="428" y="410"/>
                </a:lnTo>
                <a:lnTo>
                  <a:pt x="432" y="412"/>
                </a:lnTo>
                <a:lnTo>
                  <a:pt x="434" y="414"/>
                </a:lnTo>
                <a:lnTo>
                  <a:pt x="434" y="418"/>
                </a:lnTo>
                <a:lnTo>
                  <a:pt x="434" y="422"/>
                </a:lnTo>
                <a:lnTo>
                  <a:pt x="436" y="428"/>
                </a:lnTo>
                <a:lnTo>
                  <a:pt x="440" y="434"/>
                </a:lnTo>
                <a:lnTo>
                  <a:pt x="442" y="434"/>
                </a:lnTo>
                <a:lnTo>
                  <a:pt x="448" y="436"/>
                </a:lnTo>
                <a:lnTo>
                  <a:pt x="454" y="434"/>
                </a:lnTo>
                <a:lnTo>
                  <a:pt x="456" y="432"/>
                </a:lnTo>
                <a:lnTo>
                  <a:pt x="460" y="428"/>
                </a:lnTo>
                <a:lnTo>
                  <a:pt x="464" y="428"/>
                </a:lnTo>
                <a:lnTo>
                  <a:pt x="470" y="430"/>
                </a:lnTo>
                <a:lnTo>
                  <a:pt x="474" y="434"/>
                </a:lnTo>
                <a:lnTo>
                  <a:pt x="474" y="438"/>
                </a:lnTo>
                <a:lnTo>
                  <a:pt x="474" y="446"/>
                </a:lnTo>
                <a:lnTo>
                  <a:pt x="474" y="458"/>
                </a:lnTo>
                <a:lnTo>
                  <a:pt x="474" y="474"/>
                </a:lnTo>
                <a:lnTo>
                  <a:pt x="474" y="486"/>
                </a:lnTo>
                <a:lnTo>
                  <a:pt x="474" y="498"/>
                </a:lnTo>
                <a:lnTo>
                  <a:pt x="474" y="502"/>
                </a:lnTo>
                <a:lnTo>
                  <a:pt x="474" y="514"/>
                </a:lnTo>
                <a:lnTo>
                  <a:pt x="472" y="522"/>
                </a:lnTo>
                <a:lnTo>
                  <a:pt x="468" y="528"/>
                </a:lnTo>
                <a:lnTo>
                  <a:pt x="464" y="532"/>
                </a:lnTo>
                <a:close/>
                <a:moveTo>
                  <a:pt x="464" y="404"/>
                </a:moveTo>
                <a:lnTo>
                  <a:pt x="464" y="404"/>
                </a:lnTo>
                <a:lnTo>
                  <a:pt x="456" y="404"/>
                </a:lnTo>
                <a:lnTo>
                  <a:pt x="450" y="396"/>
                </a:lnTo>
                <a:lnTo>
                  <a:pt x="444" y="390"/>
                </a:lnTo>
                <a:lnTo>
                  <a:pt x="434" y="386"/>
                </a:lnTo>
                <a:lnTo>
                  <a:pt x="424" y="384"/>
                </a:lnTo>
                <a:lnTo>
                  <a:pt x="414" y="386"/>
                </a:lnTo>
                <a:lnTo>
                  <a:pt x="408" y="378"/>
                </a:lnTo>
                <a:lnTo>
                  <a:pt x="402" y="374"/>
                </a:lnTo>
                <a:lnTo>
                  <a:pt x="394" y="370"/>
                </a:lnTo>
                <a:lnTo>
                  <a:pt x="384" y="370"/>
                </a:lnTo>
                <a:lnTo>
                  <a:pt x="378" y="370"/>
                </a:lnTo>
                <a:lnTo>
                  <a:pt x="378" y="296"/>
                </a:lnTo>
                <a:lnTo>
                  <a:pt x="378" y="290"/>
                </a:lnTo>
                <a:lnTo>
                  <a:pt x="376" y="282"/>
                </a:lnTo>
                <a:lnTo>
                  <a:pt x="372" y="278"/>
                </a:lnTo>
                <a:lnTo>
                  <a:pt x="368" y="272"/>
                </a:lnTo>
                <a:lnTo>
                  <a:pt x="362" y="268"/>
                </a:lnTo>
                <a:lnTo>
                  <a:pt x="356" y="266"/>
                </a:lnTo>
                <a:lnTo>
                  <a:pt x="350" y="264"/>
                </a:lnTo>
                <a:lnTo>
                  <a:pt x="344" y="262"/>
                </a:lnTo>
                <a:lnTo>
                  <a:pt x="336" y="264"/>
                </a:lnTo>
                <a:lnTo>
                  <a:pt x="330" y="266"/>
                </a:lnTo>
                <a:lnTo>
                  <a:pt x="324" y="268"/>
                </a:lnTo>
                <a:lnTo>
                  <a:pt x="318" y="272"/>
                </a:lnTo>
                <a:lnTo>
                  <a:pt x="314" y="278"/>
                </a:lnTo>
                <a:lnTo>
                  <a:pt x="310" y="282"/>
                </a:lnTo>
                <a:lnTo>
                  <a:pt x="308" y="290"/>
                </a:lnTo>
                <a:lnTo>
                  <a:pt x="308" y="296"/>
                </a:lnTo>
                <a:lnTo>
                  <a:pt x="308" y="434"/>
                </a:lnTo>
                <a:lnTo>
                  <a:pt x="302" y="426"/>
                </a:lnTo>
                <a:lnTo>
                  <a:pt x="296" y="420"/>
                </a:lnTo>
                <a:lnTo>
                  <a:pt x="288" y="414"/>
                </a:lnTo>
                <a:lnTo>
                  <a:pt x="280" y="412"/>
                </a:lnTo>
                <a:lnTo>
                  <a:pt x="272" y="410"/>
                </a:lnTo>
                <a:lnTo>
                  <a:pt x="262" y="412"/>
                </a:lnTo>
                <a:lnTo>
                  <a:pt x="254" y="416"/>
                </a:lnTo>
                <a:lnTo>
                  <a:pt x="244" y="424"/>
                </a:lnTo>
                <a:lnTo>
                  <a:pt x="238" y="434"/>
                </a:lnTo>
                <a:lnTo>
                  <a:pt x="222" y="434"/>
                </a:lnTo>
                <a:lnTo>
                  <a:pt x="222" y="232"/>
                </a:lnTo>
                <a:lnTo>
                  <a:pt x="504" y="232"/>
                </a:lnTo>
                <a:lnTo>
                  <a:pt x="504" y="434"/>
                </a:lnTo>
                <a:lnTo>
                  <a:pt x="498" y="434"/>
                </a:lnTo>
                <a:lnTo>
                  <a:pt x="494" y="422"/>
                </a:lnTo>
                <a:lnTo>
                  <a:pt x="488" y="412"/>
                </a:lnTo>
                <a:lnTo>
                  <a:pt x="476" y="406"/>
                </a:lnTo>
                <a:lnTo>
                  <a:pt x="470" y="404"/>
                </a:lnTo>
                <a:lnTo>
                  <a:pt x="464" y="404"/>
                </a:lnTo>
                <a:close/>
                <a:moveTo>
                  <a:pt x="576" y="472"/>
                </a:moveTo>
                <a:lnTo>
                  <a:pt x="576" y="472"/>
                </a:lnTo>
                <a:lnTo>
                  <a:pt x="574" y="478"/>
                </a:lnTo>
                <a:lnTo>
                  <a:pt x="572" y="482"/>
                </a:lnTo>
                <a:lnTo>
                  <a:pt x="568" y="484"/>
                </a:lnTo>
                <a:lnTo>
                  <a:pt x="562" y="486"/>
                </a:lnTo>
                <a:lnTo>
                  <a:pt x="500" y="486"/>
                </a:lnTo>
                <a:lnTo>
                  <a:pt x="500" y="474"/>
                </a:lnTo>
                <a:lnTo>
                  <a:pt x="500" y="458"/>
                </a:lnTo>
                <a:lnTo>
                  <a:pt x="528" y="458"/>
                </a:lnTo>
                <a:lnTo>
                  <a:pt x="528" y="208"/>
                </a:lnTo>
                <a:lnTo>
                  <a:pt x="198" y="208"/>
                </a:lnTo>
                <a:lnTo>
                  <a:pt x="198" y="458"/>
                </a:lnTo>
                <a:lnTo>
                  <a:pt x="240" y="458"/>
                </a:lnTo>
                <a:lnTo>
                  <a:pt x="242" y="464"/>
                </a:lnTo>
                <a:lnTo>
                  <a:pt x="250" y="474"/>
                </a:lnTo>
                <a:lnTo>
                  <a:pt x="258" y="486"/>
                </a:lnTo>
                <a:lnTo>
                  <a:pt x="164" y="486"/>
                </a:lnTo>
                <a:lnTo>
                  <a:pt x="158" y="484"/>
                </a:lnTo>
                <a:lnTo>
                  <a:pt x="154" y="482"/>
                </a:lnTo>
                <a:lnTo>
                  <a:pt x="150" y="478"/>
                </a:lnTo>
                <a:lnTo>
                  <a:pt x="150" y="472"/>
                </a:lnTo>
                <a:lnTo>
                  <a:pt x="150" y="194"/>
                </a:lnTo>
                <a:lnTo>
                  <a:pt x="150" y="188"/>
                </a:lnTo>
                <a:lnTo>
                  <a:pt x="154" y="184"/>
                </a:lnTo>
                <a:lnTo>
                  <a:pt x="158" y="180"/>
                </a:lnTo>
                <a:lnTo>
                  <a:pt x="164" y="180"/>
                </a:lnTo>
                <a:lnTo>
                  <a:pt x="562" y="180"/>
                </a:lnTo>
                <a:lnTo>
                  <a:pt x="568" y="180"/>
                </a:lnTo>
                <a:lnTo>
                  <a:pt x="572" y="184"/>
                </a:lnTo>
                <a:lnTo>
                  <a:pt x="574" y="188"/>
                </a:lnTo>
                <a:lnTo>
                  <a:pt x="576" y="194"/>
                </a:lnTo>
                <a:lnTo>
                  <a:pt x="576" y="472"/>
                </a:lnTo>
                <a:close/>
                <a:moveTo>
                  <a:pt x="396" y="240"/>
                </a:moveTo>
                <a:lnTo>
                  <a:pt x="396" y="240"/>
                </a:lnTo>
                <a:lnTo>
                  <a:pt x="392" y="244"/>
                </a:lnTo>
                <a:lnTo>
                  <a:pt x="390" y="248"/>
                </a:lnTo>
                <a:lnTo>
                  <a:pt x="388" y="252"/>
                </a:lnTo>
                <a:lnTo>
                  <a:pt x="390" y="258"/>
                </a:lnTo>
                <a:lnTo>
                  <a:pt x="394" y="266"/>
                </a:lnTo>
                <a:lnTo>
                  <a:pt x="398" y="276"/>
                </a:lnTo>
                <a:lnTo>
                  <a:pt x="400" y="286"/>
                </a:lnTo>
                <a:lnTo>
                  <a:pt x="400" y="296"/>
                </a:lnTo>
                <a:lnTo>
                  <a:pt x="400" y="306"/>
                </a:lnTo>
                <a:lnTo>
                  <a:pt x="398" y="316"/>
                </a:lnTo>
                <a:lnTo>
                  <a:pt x="394" y="326"/>
                </a:lnTo>
                <a:lnTo>
                  <a:pt x="390" y="336"/>
                </a:lnTo>
                <a:lnTo>
                  <a:pt x="388" y="340"/>
                </a:lnTo>
                <a:lnTo>
                  <a:pt x="390" y="344"/>
                </a:lnTo>
                <a:lnTo>
                  <a:pt x="392" y="348"/>
                </a:lnTo>
                <a:lnTo>
                  <a:pt x="396" y="352"/>
                </a:lnTo>
                <a:lnTo>
                  <a:pt x="402" y="354"/>
                </a:lnTo>
                <a:lnTo>
                  <a:pt x="408" y="352"/>
                </a:lnTo>
                <a:lnTo>
                  <a:pt x="412" y="346"/>
                </a:lnTo>
                <a:lnTo>
                  <a:pt x="418" y="334"/>
                </a:lnTo>
                <a:lnTo>
                  <a:pt x="422" y="322"/>
                </a:lnTo>
                <a:lnTo>
                  <a:pt x="424" y="310"/>
                </a:lnTo>
                <a:lnTo>
                  <a:pt x="424" y="296"/>
                </a:lnTo>
                <a:lnTo>
                  <a:pt x="424" y="284"/>
                </a:lnTo>
                <a:lnTo>
                  <a:pt x="422" y="270"/>
                </a:lnTo>
                <a:lnTo>
                  <a:pt x="418" y="258"/>
                </a:lnTo>
                <a:lnTo>
                  <a:pt x="412" y="246"/>
                </a:lnTo>
                <a:lnTo>
                  <a:pt x="408" y="242"/>
                </a:lnTo>
                <a:lnTo>
                  <a:pt x="404" y="240"/>
                </a:lnTo>
                <a:lnTo>
                  <a:pt x="400" y="240"/>
                </a:lnTo>
                <a:lnTo>
                  <a:pt x="396" y="2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 name="Freeform 118"/>
          <p:cNvSpPr>
            <a:spLocks noEditPoints="1"/>
          </p:cNvSpPr>
          <p:nvPr userDrawn="1"/>
        </p:nvSpPr>
        <p:spPr bwMode="auto">
          <a:xfrm>
            <a:off x="8161141"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20 w 726"/>
              <a:gd name="T55" fmla="*/ 290 h 726"/>
              <a:gd name="T56" fmla="*/ 698 w 726"/>
              <a:gd name="T57" fmla="*/ 222 h 726"/>
              <a:gd name="T58" fmla="*/ 664 w 726"/>
              <a:gd name="T59" fmla="*/ 160 h 726"/>
              <a:gd name="T60" fmla="*/ 620 w 726"/>
              <a:gd name="T61" fmla="*/ 106 h 726"/>
              <a:gd name="T62" fmla="*/ 566 w 726"/>
              <a:gd name="T63" fmla="*/ 62 h 726"/>
              <a:gd name="T64" fmla="*/ 506 w 726"/>
              <a:gd name="T65" fmla="*/ 28 h 726"/>
              <a:gd name="T66" fmla="*/ 436 w 726"/>
              <a:gd name="T67" fmla="*/ 8 h 726"/>
              <a:gd name="T68" fmla="*/ 364 w 726"/>
              <a:gd name="T69" fmla="*/ 0 h 726"/>
              <a:gd name="T70" fmla="*/ 120 w 726"/>
              <a:gd name="T71" fmla="*/ 490 h 726"/>
              <a:gd name="T72" fmla="*/ 608 w 726"/>
              <a:gd name="T73" fmla="*/ 236 h 726"/>
              <a:gd name="T74" fmla="*/ 266 w 726"/>
              <a:gd name="T75" fmla="*/ 414 h 726"/>
              <a:gd name="T76" fmla="*/ 218 w 726"/>
              <a:gd name="T77" fmla="*/ 286 h 726"/>
              <a:gd name="T78" fmla="*/ 186 w 726"/>
              <a:gd name="T79" fmla="*/ 440 h 726"/>
              <a:gd name="T80" fmla="*/ 266 w 726"/>
              <a:gd name="T81" fmla="*/ 414 h 726"/>
              <a:gd name="T82" fmla="*/ 280 w 726"/>
              <a:gd name="T83" fmla="*/ 286 h 726"/>
              <a:gd name="T84" fmla="*/ 312 w 726"/>
              <a:gd name="T85" fmla="*/ 440 h 726"/>
              <a:gd name="T86" fmla="*/ 402 w 726"/>
              <a:gd name="T87" fmla="*/ 440 h 726"/>
              <a:gd name="T88" fmla="*/ 410 w 726"/>
              <a:gd name="T89" fmla="*/ 286 h 726"/>
              <a:gd name="T90" fmla="*/ 384 w 726"/>
              <a:gd name="T91" fmla="*/ 398 h 726"/>
              <a:gd name="T92" fmla="*/ 326 w 726"/>
              <a:gd name="T93" fmla="*/ 286 h 726"/>
              <a:gd name="T94" fmla="*/ 402 w 726"/>
              <a:gd name="T95" fmla="*/ 440 h 726"/>
              <a:gd name="T96" fmla="*/ 488 w 726"/>
              <a:gd name="T97" fmla="*/ 416 h 726"/>
              <a:gd name="T98" fmla="*/ 536 w 726"/>
              <a:gd name="T99" fmla="*/ 372 h 726"/>
              <a:gd name="T100" fmla="*/ 488 w 726"/>
              <a:gd name="T101" fmla="*/ 348 h 726"/>
              <a:gd name="T102" fmla="*/ 540 w 726"/>
              <a:gd name="T103" fmla="*/ 310 h 726"/>
              <a:gd name="T104" fmla="*/ 456 w 726"/>
              <a:gd name="T105" fmla="*/ 286 h 726"/>
              <a:gd name="T106" fmla="*/ 542 w 726"/>
              <a:gd name="T107" fmla="*/ 440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608" y="490"/>
                </a:moveTo>
                <a:lnTo>
                  <a:pt x="120" y="490"/>
                </a:lnTo>
                <a:lnTo>
                  <a:pt x="120" y="236"/>
                </a:lnTo>
                <a:lnTo>
                  <a:pt x="608" y="236"/>
                </a:lnTo>
                <a:lnTo>
                  <a:pt x="608" y="490"/>
                </a:lnTo>
                <a:close/>
                <a:moveTo>
                  <a:pt x="266" y="414"/>
                </a:moveTo>
                <a:lnTo>
                  <a:pt x="218" y="414"/>
                </a:lnTo>
                <a:lnTo>
                  <a:pt x="218" y="286"/>
                </a:lnTo>
                <a:lnTo>
                  <a:pt x="186" y="286"/>
                </a:lnTo>
                <a:lnTo>
                  <a:pt x="186" y="440"/>
                </a:lnTo>
                <a:lnTo>
                  <a:pt x="266" y="440"/>
                </a:lnTo>
                <a:lnTo>
                  <a:pt x="266" y="414"/>
                </a:lnTo>
                <a:close/>
                <a:moveTo>
                  <a:pt x="312" y="286"/>
                </a:moveTo>
                <a:lnTo>
                  <a:pt x="280" y="286"/>
                </a:lnTo>
                <a:lnTo>
                  <a:pt x="280" y="440"/>
                </a:lnTo>
                <a:lnTo>
                  <a:pt x="312" y="440"/>
                </a:lnTo>
                <a:lnTo>
                  <a:pt x="312" y="286"/>
                </a:lnTo>
                <a:close/>
                <a:moveTo>
                  <a:pt x="402" y="440"/>
                </a:moveTo>
                <a:lnTo>
                  <a:pt x="442" y="286"/>
                </a:lnTo>
                <a:lnTo>
                  <a:pt x="410" y="286"/>
                </a:lnTo>
                <a:lnTo>
                  <a:pt x="384" y="398"/>
                </a:lnTo>
                <a:lnTo>
                  <a:pt x="360" y="286"/>
                </a:lnTo>
                <a:lnTo>
                  <a:pt x="326" y="286"/>
                </a:lnTo>
                <a:lnTo>
                  <a:pt x="364" y="440"/>
                </a:lnTo>
                <a:lnTo>
                  <a:pt x="402" y="440"/>
                </a:lnTo>
                <a:close/>
                <a:moveTo>
                  <a:pt x="542" y="416"/>
                </a:moveTo>
                <a:lnTo>
                  <a:pt x="488" y="416"/>
                </a:lnTo>
                <a:lnTo>
                  <a:pt x="488" y="372"/>
                </a:lnTo>
                <a:lnTo>
                  <a:pt x="536" y="372"/>
                </a:lnTo>
                <a:lnTo>
                  <a:pt x="536" y="348"/>
                </a:lnTo>
                <a:lnTo>
                  <a:pt x="488" y="348"/>
                </a:lnTo>
                <a:lnTo>
                  <a:pt x="488" y="310"/>
                </a:lnTo>
                <a:lnTo>
                  <a:pt x="540" y="310"/>
                </a:lnTo>
                <a:lnTo>
                  <a:pt x="540" y="286"/>
                </a:lnTo>
                <a:lnTo>
                  <a:pt x="456" y="286"/>
                </a:lnTo>
                <a:lnTo>
                  <a:pt x="456" y="440"/>
                </a:lnTo>
                <a:lnTo>
                  <a:pt x="542" y="440"/>
                </a:lnTo>
                <a:lnTo>
                  <a:pt x="542" y="41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8" name="Freeform 140"/>
          <p:cNvSpPr>
            <a:spLocks noEditPoints="1"/>
          </p:cNvSpPr>
          <p:nvPr userDrawn="1"/>
        </p:nvSpPr>
        <p:spPr bwMode="auto">
          <a:xfrm>
            <a:off x="5531867" y="1080648"/>
            <a:ext cx="1080000" cy="1080000"/>
          </a:xfrm>
          <a:custGeom>
            <a:avLst/>
            <a:gdLst>
              <a:gd name="T0" fmla="*/ 362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6 w 726"/>
              <a:gd name="T15" fmla="*/ 290 h 726"/>
              <a:gd name="T16" fmla="*/ 0 w 726"/>
              <a:gd name="T17" fmla="*/ 362 h 726"/>
              <a:gd name="T18" fmla="*/ 2 w 726"/>
              <a:gd name="T19" fmla="*/ 400 h 726"/>
              <a:gd name="T20" fmla="*/ 16 w 726"/>
              <a:gd name="T21" fmla="*/ 470 h 726"/>
              <a:gd name="T22" fmla="*/ 44 w 726"/>
              <a:gd name="T23" fmla="*/ 536 h 726"/>
              <a:gd name="T24" fmla="*/ 82 w 726"/>
              <a:gd name="T25" fmla="*/ 594 h 726"/>
              <a:gd name="T26" fmla="*/ 132 w 726"/>
              <a:gd name="T27" fmla="*/ 642 h 726"/>
              <a:gd name="T28" fmla="*/ 190 w 726"/>
              <a:gd name="T29" fmla="*/ 682 h 726"/>
              <a:gd name="T30" fmla="*/ 254 w 726"/>
              <a:gd name="T31" fmla="*/ 710 h 726"/>
              <a:gd name="T32" fmla="*/ 326 w 726"/>
              <a:gd name="T33" fmla="*/ 724 h 726"/>
              <a:gd name="T34" fmla="*/ 362 w 726"/>
              <a:gd name="T35" fmla="*/ 726 h 726"/>
              <a:gd name="T36" fmla="*/ 436 w 726"/>
              <a:gd name="T37" fmla="*/ 718 h 726"/>
              <a:gd name="T38" fmla="*/ 504 w 726"/>
              <a:gd name="T39" fmla="*/ 698 h 726"/>
              <a:gd name="T40" fmla="*/ 566 w 726"/>
              <a:gd name="T41" fmla="*/ 664 h 726"/>
              <a:gd name="T42" fmla="*/ 618 w 726"/>
              <a:gd name="T43" fmla="*/ 620 h 726"/>
              <a:gd name="T44" fmla="*/ 664 w 726"/>
              <a:gd name="T45" fmla="*/ 566 h 726"/>
              <a:gd name="T46" fmla="*/ 696 w 726"/>
              <a:gd name="T47" fmla="*/ 504 h 726"/>
              <a:gd name="T48" fmla="*/ 718 w 726"/>
              <a:gd name="T49" fmla="*/ 436 h 726"/>
              <a:gd name="T50" fmla="*/ 726 w 726"/>
              <a:gd name="T51" fmla="*/ 362 h 726"/>
              <a:gd name="T52" fmla="*/ 724 w 726"/>
              <a:gd name="T53" fmla="*/ 326 h 726"/>
              <a:gd name="T54" fmla="*/ 708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472 w 726"/>
              <a:gd name="T69" fmla="*/ 562 h 726"/>
              <a:gd name="T70" fmla="*/ 470 w 726"/>
              <a:gd name="T71" fmla="*/ 566 h 726"/>
              <a:gd name="T72" fmla="*/ 256 w 726"/>
              <a:gd name="T73" fmla="*/ 568 h 726"/>
              <a:gd name="T74" fmla="*/ 252 w 726"/>
              <a:gd name="T75" fmla="*/ 566 h 726"/>
              <a:gd name="T76" fmla="*/ 250 w 726"/>
              <a:gd name="T77" fmla="*/ 162 h 726"/>
              <a:gd name="T78" fmla="*/ 252 w 726"/>
              <a:gd name="T79" fmla="*/ 158 h 726"/>
              <a:gd name="T80" fmla="*/ 468 w 726"/>
              <a:gd name="T81" fmla="*/ 156 h 726"/>
              <a:gd name="T82" fmla="*/ 470 w 726"/>
              <a:gd name="T83" fmla="*/ 158 h 726"/>
              <a:gd name="T84" fmla="*/ 472 w 726"/>
              <a:gd name="T85" fmla="*/ 562 h 726"/>
              <a:gd name="T86" fmla="*/ 454 w 726"/>
              <a:gd name="T87" fmla="*/ 522 h 726"/>
              <a:gd name="T88" fmla="*/ 270 w 726"/>
              <a:gd name="T89" fmla="*/ 202 h 726"/>
              <a:gd name="T90" fmla="*/ 294 w 726"/>
              <a:gd name="T91" fmla="*/ 226 h 726"/>
              <a:gd name="T92" fmla="*/ 430 w 726"/>
              <a:gd name="T93" fmla="*/ 498 h 726"/>
              <a:gd name="T94" fmla="*/ 294 w 726"/>
              <a:gd name="T95" fmla="*/ 226 h 726"/>
              <a:gd name="T96" fmla="*/ 362 w 726"/>
              <a:gd name="T97" fmla="*/ 536 h 726"/>
              <a:gd name="T98" fmla="*/ 352 w 726"/>
              <a:gd name="T99" fmla="*/ 538 h 726"/>
              <a:gd name="T100" fmla="*/ 350 w 726"/>
              <a:gd name="T101" fmla="*/ 548 h 726"/>
              <a:gd name="T102" fmla="*/ 350 w 726"/>
              <a:gd name="T103" fmla="*/ 552 h 726"/>
              <a:gd name="T104" fmla="*/ 356 w 726"/>
              <a:gd name="T105" fmla="*/ 560 h 726"/>
              <a:gd name="T106" fmla="*/ 362 w 726"/>
              <a:gd name="T107" fmla="*/ 560 h 726"/>
              <a:gd name="T108" fmla="*/ 370 w 726"/>
              <a:gd name="T109" fmla="*/ 556 h 726"/>
              <a:gd name="T110" fmla="*/ 374 w 726"/>
              <a:gd name="T111" fmla="*/ 548 h 726"/>
              <a:gd name="T112" fmla="*/ 374 w 726"/>
              <a:gd name="T113" fmla="*/ 542 h 726"/>
              <a:gd name="T114" fmla="*/ 366 w 726"/>
              <a:gd name="T115" fmla="*/ 5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472" y="562"/>
                </a:moveTo>
                <a:lnTo>
                  <a:pt x="472" y="562"/>
                </a:lnTo>
                <a:lnTo>
                  <a:pt x="470" y="566"/>
                </a:lnTo>
                <a:lnTo>
                  <a:pt x="468" y="568"/>
                </a:lnTo>
                <a:lnTo>
                  <a:pt x="256" y="568"/>
                </a:lnTo>
                <a:lnTo>
                  <a:pt x="252" y="566"/>
                </a:lnTo>
                <a:lnTo>
                  <a:pt x="250" y="562"/>
                </a:lnTo>
                <a:lnTo>
                  <a:pt x="250" y="162"/>
                </a:lnTo>
                <a:lnTo>
                  <a:pt x="252" y="158"/>
                </a:lnTo>
                <a:lnTo>
                  <a:pt x="256" y="156"/>
                </a:lnTo>
                <a:lnTo>
                  <a:pt x="468" y="156"/>
                </a:lnTo>
                <a:lnTo>
                  <a:pt x="470" y="158"/>
                </a:lnTo>
                <a:lnTo>
                  <a:pt x="472" y="162"/>
                </a:lnTo>
                <a:lnTo>
                  <a:pt x="472" y="562"/>
                </a:lnTo>
                <a:close/>
                <a:moveTo>
                  <a:pt x="270" y="522"/>
                </a:moveTo>
                <a:lnTo>
                  <a:pt x="454" y="522"/>
                </a:lnTo>
                <a:lnTo>
                  <a:pt x="454" y="202"/>
                </a:lnTo>
                <a:lnTo>
                  <a:pt x="270" y="202"/>
                </a:lnTo>
                <a:lnTo>
                  <a:pt x="270" y="522"/>
                </a:lnTo>
                <a:close/>
                <a:moveTo>
                  <a:pt x="294" y="226"/>
                </a:moveTo>
                <a:lnTo>
                  <a:pt x="430" y="226"/>
                </a:lnTo>
                <a:lnTo>
                  <a:pt x="430" y="498"/>
                </a:lnTo>
                <a:lnTo>
                  <a:pt x="294" y="498"/>
                </a:lnTo>
                <a:lnTo>
                  <a:pt x="294" y="226"/>
                </a:lnTo>
                <a:close/>
                <a:moveTo>
                  <a:pt x="362" y="536"/>
                </a:moveTo>
                <a:lnTo>
                  <a:pt x="362" y="536"/>
                </a:lnTo>
                <a:lnTo>
                  <a:pt x="356" y="536"/>
                </a:lnTo>
                <a:lnTo>
                  <a:pt x="352" y="538"/>
                </a:lnTo>
                <a:lnTo>
                  <a:pt x="350" y="542"/>
                </a:lnTo>
                <a:lnTo>
                  <a:pt x="350" y="548"/>
                </a:lnTo>
                <a:lnTo>
                  <a:pt x="350" y="552"/>
                </a:lnTo>
                <a:lnTo>
                  <a:pt x="352" y="556"/>
                </a:lnTo>
                <a:lnTo>
                  <a:pt x="356" y="560"/>
                </a:lnTo>
                <a:lnTo>
                  <a:pt x="362" y="560"/>
                </a:lnTo>
                <a:lnTo>
                  <a:pt x="366" y="560"/>
                </a:lnTo>
                <a:lnTo>
                  <a:pt x="370" y="556"/>
                </a:lnTo>
                <a:lnTo>
                  <a:pt x="374" y="552"/>
                </a:lnTo>
                <a:lnTo>
                  <a:pt x="374" y="548"/>
                </a:lnTo>
                <a:lnTo>
                  <a:pt x="374" y="542"/>
                </a:lnTo>
                <a:lnTo>
                  <a:pt x="370" y="538"/>
                </a:lnTo>
                <a:lnTo>
                  <a:pt x="366" y="536"/>
                </a:lnTo>
                <a:lnTo>
                  <a:pt x="362" y="5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9" name="Freeform 163"/>
          <p:cNvSpPr>
            <a:spLocks noEditPoints="1"/>
          </p:cNvSpPr>
          <p:nvPr userDrawn="1"/>
        </p:nvSpPr>
        <p:spPr bwMode="auto">
          <a:xfrm>
            <a:off x="10790415"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62 w 726"/>
              <a:gd name="T69" fmla="*/ 532 h 726"/>
              <a:gd name="T70" fmla="*/ 348 w 726"/>
              <a:gd name="T71" fmla="*/ 426 h 726"/>
              <a:gd name="T72" fmla="*/ 268 w 726"/>
              <a:gd name="T73" fmla="*/ 172 h 726"/>
              <a:gd name="T74" fmla="*/ 404 w 726"/>
              <a:gd name="T75" fmla="*/ 402 h 7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2" y="532"/>
                </a:moveTo>
                <a:lnTo>
                  <a:pt x="406" y="558"/>
                </a:lnTo>
                <a:lnTo>
                  <a:pt x="348" y="426"/>
                </a:lnTo>
                <a:lnTo>
                  <a:pt x="266" y="496"/>
                </a:lnTo>
                <a:lnTo>
                  <a:pt x="268" y="172"/>
                </a:lnTo>
                <a:lnTo>
                  <a:pt x="512" y="388"/>
                </a:lnTo>
                <a:lnTo>
                  <a:pt x="404" y="402"/>
                </a:lnTo>
                <a:lnTo>
                  <a:pt x="462" y="5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0" name="Freeform 170"/>
          <p:cNvSpPr>
            <a:spLocks noEditPoints="1"/>
          </p:cNvSpPr>
          <p:nvPr userDrawn="1"/>
        </p:nvSpPr>
        <p:spPr bwMode="auto">
          <a:xfrm>
            <a:off x="6846504" y="1080648"/>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354 w 724"/>
              <a:gd name="T35" fmla="*/ 424 h 726"/>
              <a:gd name="T36" fmla="*/ 346 w 724"/>
              <a:gd name="T37" fmla="*/ 408 h 726"/>
              <a:gd name="T38" fmla="*/ 360 w 724"/>
              <a:gd name="T39" fmla="*/ 388 h 726"/>
              <a:gd name="T40" fmla="*/ 384 w 724"/>
              <a:gd name="T41" fmla="*/ 392 h 726"/>
              <a:gd name="T42" fmla="*/ 496 w 724"/>
              <a:gd name="T43" fmla="*/ 346 h 726"/>
              <a:gd name="T44" fmla="*/ 484 w 724"/>
              <a:gd name="T45" fmla="*/ 552 h 726"/>
              <a:gd name="T46" fmla="*/ 472 w 724"/>
              <a:gd name="T47" fmla="*/ 444 h 726"/>
              <a:gd name="T48" fmla="*/ 386 w 724"/>
              <a:gd name="T49" fmla="*/ 364 h 726"/>
              <a:gd name="T50" fmla="*/ 360 w 724"/>
              <a:gd name="T51" fmla="*/ 362 h 726"/>
              <a:gd name="T52" fmla="*/ 336 w 724"/>
              <a:gd name="T53" fmla="*/ 374 h 726"/>
              <a:gd name="T54" fmla="*/ 322 w 724"/>
              <a:gd name="T55" fmla="*/ 408 h 726"/>
              <a:gd name="T56" fmla="*/ 330 w 724"/>
              <a:gd name="T57" fmla="*/ 434 h 726"/>
              <a:gd name="T58" fmla="*/ 286 w 724"/>
              <a:gd name="T59" fmla="*/ 534 h 726"/>
              <a:gd name="T60" fmla="*/ 282 w 724"/>
              <a:gd name="T61" fmla="*/ 202 h 726"/>
              <a:gd name="T62" fmla="*/ 466 w 724"/>
              <a:gd name="T63" fmla="*/ 198 h 726"/>
              <a:gd name="T64" fmla="*/ 144 w 724"/>
              <a:gd name="T65" fmla="*/ 490 h 726"/>
              <a:gd name="T66" fmla="*/ 134 w 724"/>
              <a:gd name="T67" fmla="*/ 490 h 726"/>
              <a:gd name="T68" fmla="*/ 106 w 724"/>
              <a:gd name="T69" fmla="*/ 428 h 726"/>
              <a:gd name="T70" fmla="*/ 98 w 724"/>
              <a:gd name="T71" fmla="*/ 332 h 726"/>
              <a:gd name="T72" fmla="*/ 130 w 724"/>
              <a:gd name="T73" fmla="*/ 242 h 726"/>
              <a:gd name="T74" fmla="*/ 144 w 724"/>
              <a:gd name="T75" fmla="*/ 238 h 726"/>
              <a:gd name="T76" fmla="*/ 148 w 724"/>
              <a:gd name="T77" fmla="*/ 248 h 726"/>
              <a:gd name="T78" fmla="*/ 124 w 724"/>
              <a:gd name="T79" fmla="*/ 306 h 726"/>
              <a:gd name="T80" fmla="*/ 118 w 724"/>
              <a:gd name="T81" fmla="*/ 394 h 726"/>
              <a:gd name="T82" fmla="*/ 148 w 724"/>
              <a:gd name="T83" fmla="*/ 476 h 726"/>
              <a:gd name="T84" fmla="*/ 144 w 724"/>
              <a:gd name="T85" fmla="*/ 490 h 726"/>
              <a:gd name="T86" fmla="*/ 190 w 724"/>
              <a:gd name="T87" fmla="*/ 462 h 726"/>
              <a:gd name="T88" fmla="*/ 180 w 724"/>
              <a:gd name="T89" fmla="*/ 468 h 726"/>
              <a:gd name="T90" fmla="*/ 172 w 724"/>
              <a:gd name="T91" fmla="*/ 464 h 726"/>
              <a:gd name="T92" fmla="*/ 144 w 724"/>
              <a:gd name="T93" fmla="*/ 364 h 726"/>
              <a:gd name="T94" fmla="*/ 160 w 724"/>
              <a:gd name="T95" fmla="*/ 288 h 726"/>
              <a:gd name="T96" fmla="*/ 178 w 724"/>
              <a:gd name="T97" fmla="*/ 260 h 726"/>
              <a:gd name="T98" fmla="*/ 188 w 724"/>
              <a:gd name="T99" fmla="*/ 262 h 726"/>
              <a:gd name="T100" fmla="*/ 188 w 724"/>
              <a:gd name="T101" fmla="*/ 274 h 726"/>
              <a:gd name="T102" fmla="*/ 164 w 724"/>
              <a:gd name="T103" fmla="*/ 364 h 726"/>
              <a:gd name="T104" fmla="*/ 178 w 724"/>
              <a:gd name="T105" fmla="*/ 432 h 726"/>
              <a:gd name="T106" fmla="*/ 222 w 724"/>
              <a:gd name="T107" fmla="*/ 446 h 726"/>
              <a:gd name="T108" fmla="*/ 212 w 724"/>
              <a:gd name="T109" fmla="*/ 442 h 726"/>
              <a:gd name="T110" fmla="*/ 192 w 724"/>
              <a:gd name="T111" fmla="*/ 364 h 726"/>
              <a:gd name="T112" fmla="*/ 204 w 724"/>
              <a:gd name="T113" fmla="*/ 304 h 726"/>
              <a:gd name="T114" fmla="*/ 218 w 724"/>
              <a:gd name="T115" fmla="*/ 282 h 726"/>
              <a:gd name="T116" fmla="*/ 230 w 724"/>
              <a:gd name="T117" fmla="*/ 284 h 726"/>
              <a:gd name="T118" fmla="*/ 230 w 724"/>
              <a:gd name="T119" fmla="*/ 296 h 726"/>
              <a:gd name="T120" fmla="*/ 212 w 724"/>
              <a:gd name="T121" fmla="*/ 364 h 726"/>
              <a:gd name="T122" fmla="*/ 222 w 724"/>
              <a:gd name="T123" fmla="*/ 416 h 726"/>
              <a:gd name="T124" fmla="*/ 232 w 724"/>
              <a:gd name="T125" fmla="*/ 440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474" y="544"/>
                </a:moveTo>
                <a:lnTo>
                  <a:pt x="464" y="534"/>
                </a:lnTo>
                <a:lnTo>
                  <a:pt x="354" y="424"/>
                </a:lnTo>
                <a:lnTo>
                  <a:pt x="348" y="416"/>
                </a:lnTo>
                <a:lnTo>
                  <a:pt x="346" y="408"/>
                </a:lnTo>
                <a:lnTo>
                  <a:pt x="348" y="400"/>
                </a:lnTo>
                <a:lnTo>
                  <a:pt x="354" y="392"/>
                </a:lnTo>
                <a:lnTo>
                  <a:pt x="360" y="388"/>
                </a:lnTo>
                <a:lnTo>
                  <a:pt x="370" y="386"/>
                </a:lnTo>
                <a:lnTo>
                  <a:pt x="378" y="388"/>
                </a:lnTo>
                <a:lnTo>
                  <a:pt x="384" y="392"/>
                </a:lnTo>
                <a:lnTo>
                  <a:pt x="472" y="478"/>
                </a:lnTo>
                <a:lnTo>
                  <a:pt x="484" y="492"/>
                </a:lnTo>
                <a:lnTo>
                  <a:pt x="496" y="504"/>
                </a:lnTo>
                <a:lnTo>
                  <a:pt x="496" y="346"/>
                </a:lnTo>
                <a:lnTo>
                  <a:pt x="564" y="414"/>
                </a:lnTo>
                <a:lnTo>
                  <a:pt x="564" y="582"/>
                </a:lnTo>
                <a:lnTo>
                  <a:pt x="512" y="582"/>
                </a:lnTo>
                <a:lnTo>
                  <a:pt x="484" y="552"/>
                </a:lnTo>
                <a:lnTo>
                  <a:pt x="474" y="544"/>
                </a:lnTo>
                <a:close/>
                <a:moveTo>
                  <a:pt x="472" y="286"/>
                </a:moveTo>
                <a:lnTo>
                  <a:pt x="472" y="286"/>
                </a:lnTo>
                <a:lnTo>
                  <a:pt x="472" y="444"/>
                </a:lnTo>
                <a:lnTo>
                  <a:pt x="402" y="374"/>
                </a:lnTo>
                <a:lnTo>
                  <a:pt x="394" y="368"/>
                </a:lnTo>
                <a:lnTo>
                  <a:pt x="386" y="364"/>
                </a:lnTo>
                <a:lnTo>
                  <a:pt x="378" y="362"/>
                </a:lnTo>
                <a:lnTo>
                  <a:pt x="370" y="360"/>
                </a:lnTo>
                <a:lnTo>
                  <a:pt x="360" y="362"/>
                </a:lnTo>
                <a:lnTo>
                  <a:pt x="352" y="364"/>
                </a:lnTo>
                <a:lnTo>
                  <a:pt x="344" y="368"/>
                </a:lnTo>
                <a:lnTo>
                  <a:pt x="336" y="374"/>
                </a:lnTo>
                <a:lnTo>
                  <a:pt x="330" y="382"/>
                </a:lnTo>
                <a:lnTo>
                  <a:pt x="326" y="390"/>
                </a:lnTo>
                <a:lnTo>
                  <a:pt x="324" y="398"/>
                </a:lnTo>
                <a:lnTo>
                  <a:pt x="322" y="408"/>
                </a:lnTo>
                <a:lnTo>
                  <a:pt x="324" y="416"/>
                </a:lnTo>
                <a:lnTo>
                  <a:pt x="326" y="426"/>
                </a:lnTo>
                <a:lnTo>
                  <a:pt x="330" y="434"/>
                </a:lnTo>
                <a:lnTo>
                  <a:pt x="336" y="440"/>
                </a:lnTo>
                <a:lnTo>
                  <a:pt x="430" y="534"/>
                </a:lnTo>
                <a:lnTo>
                  <a:pt x="286" y="534"/>
                </a:lnTo>
                <a:lnTo>
                  <a:pt x="282" y="532"/>
                </a:lnTo>
                <a:lnTo>
                  <a:pt x="282" y="528"/>
                </a:lnTo>
                <a:lnTo>
                  <a:pt x="282" y="202"/>
                </a:lnTo>
                <a:lnTo>
                  <a:pt x="282" y="198"/>
                </a:lnTo>
                <a:lnTo>
                  <a:pt x="286" y="198"/>
                </a:lnTo>
                <a:lnTo>
                  <a:pt x="466" y="198"/>
                </a:lnTo>
                <a:lnTo>
                  <a:pt x="470" y="198"/>
                </a:lnTo>
                <a:lnTo>
                  <a:pt x="472" y="202"/>
                </a:lnTo>
                <a:lnTo>
                  <a:pt x="472" y="286"/>
                </a:lnTo>
                <a:close/>
                <a:moveTo>
                  <a:pt x="144" y="490"/>
                </a:moveTo>
                <a:lnTo>
                  <a:pt x="144" y="490"/>
                </a:lnTo>
                <a:lnTo>
                  <a:pt x="138" y="490"/>
                </a:lnTo>
                <a:lnTo>
                  <a:pt x="134" y="490"/>
                </a:lnTo>
                <a:lnTo>
                  <a:pt x="130" y="486"/>
                </a:lnTo>
                <a:lnTo>
                  <a:pt x="116" y="458"/>
                </a:lnTo>
                <a:lnTo>
                  <a:pt x="106" y="428"/>
                </a:lnTo>
                <a:lnTo>
                  <a:pt x="98" y="396"/>
                </a:lnTo>
                <a:lnTo>
                  <a:pt x="96" y="364"/>
                </a:lnTo>
                <a:lnTo>
                  <a:pt x="98" y="332"/>
                </a:lnTo>
                <a:lnTo>
                  <a:pt x="106" y="300"/>
                </a:lnTo>
                <a:lnTo>
                  <a:pt x="116" y="270"/>
                </a:lnTo>
                <a:lnTo>
                  <a:pt x="130" y="242"/>
                </a:lnTo>
                <a:lnTo>
                  <a:pt x="132" y="240"/>
                </a:lnTo>
                <a:lnTo>
                  <a:pt x="136" y="238"/>
                </a:lnTo>
                <a:lnTo>
                  <a:pt x="140" y="238"/>
                </a:lnTo>
                <a:lnTo>
                  <a:pt x="144" y="238"/>
                </a:lnTo>
                <a:lnTo>
                  <a:pt x="146" y="242"/>
                </a:lnTo>
                <a:lnTo>
                  <a:pt x="148" y="244"/>
                </a:lnTo>
                <a:lnTo>
                  <a:pt x="148" y="248"/>
                </a:lnTo>
                <a:lnTo>
                  <a:pt x="148" y="252"/>
                </a:lnTo>
                <a:lnTo>
                  <a:pt x="134" y="278"/>
                </a:lnTo>
                <a:lnTo>
                  <a:pt x="124" y="306"/>
                </a:lnTo>
                <a:lnTo>
                  <a:pt x="118" y="334"/>
                </a:lnTo>
                <a:lnTo>
                  <a:pt x="116" y="364"/>
                </a:lnTo>
                <a:lnTo>
                  <a:pt x="118" y="394"/>
                </a:lnTo>
                <a:lnTo>
                  <a:pt x="124" y="422"/>
                </a:lnTo>
                <a:lnTo>
                  <a:pt x="134" y="450"/>
                </a:lnTo>
                <a:lnTo>
                  <a:pt x="148" y="476"/>
                </a:lnTo>
                <a:lnTo>
                  <a:pt x="148" y="480"/>
                </a:lnTo>
                <a:lnTo>
                  <a:pt x="148" y="484"/>
                </a:lnTo>
                <a:lnTo>
                  <a:pt x="146" y="486"/>
                </a:lnTo>
                <a:lnTo>
                  <a:pt x="144" y="490"/>
                </a:lnTo>
                <a:close/>
                <a:moveTo>
                  <a:pt x="188" y="454"/>
                </a:moveTo>
                <a:lnTo>
                  <a:pt x="188" y="454"/>
                </a:lnTo>
                <a:lnTo>
                  <a:pt x="190" y="458"/>
                </a:lnTo>
                <a:lnTo>
                  <a:pt x="190" y="462"/>
                </a:lnTo>
                <a:lnTo>
                  <a:pt x="188" y="464"/>
                </a:lnTo>
                <a:lnTo>
                  <a:pt x="184" y="468"/>
                </a:lnTo>
                <a:lnTo>
                  <a:pt x="180" y="468"/>
                </a:lnTo>
                <a:lnTo>
                  <a:pt x="176" y="468"/>
                </a:lnTo>
                <a:lnTo>
                  <a:pt x="172" y="464"/>
                </a:lnTo>
                <a:lnTo>
                  <a:pt x="160" y="440"/>
                </a:lnTo>
                <a:lnTo>
                  <a:pt x="152" y="416"/>
                </a:lnTo>
                <a:lnTo>
                  <a:pt x="146" y="390"/>
                </a:lnTo>
                <a:lnTo>
                  <a:pt x="144" y="364"/>
                </a:lnTo>
                <a:lnTo>
                  <a:pt x="146" y="338"/>
                </a:lnTo>
                <a:lnTo>
                  <a:pt x="152" y="312"/>
                </a:lnTo>
                <a:lnTo>
                  <a:pt x="160" y="288"/>
                </a:lnTo>
                <a:lnTo>
                  <a:pt x="172" y="264"/>
                </a:lnTo>
                <a:lnTo>
                  <a:pt x="174" y="260"/>
                </a:lnTo>
                <a:lnTo>
                  <a:pt x="178" y="260"/>
                </a:lnTo>
                <a:lnTo>
                  <a:pt x="182" y="260"/>
                </a:lnTo>
                <a:lnTo>
                  <a:pt x="184" y="260"/>
                </a:lnTo>
                <a:lnTo>
                  <a:pt x="188" y="262"/>
                </a:lnTo>
                <a:lnTo>
                  <a:pt x="190" y="266"/>
                </a:lnTo>
                <a:lnTo>
                  <a:pt x="190" y="270"/>
                </a:lnTo>
                <a:lnTo>
                  <a:pt x="188" y="274"/>
                </a:lnTo>
                <a:lnTo>
                  <a:pt x="178" y="294"/>
                </a:lnTo>
                <a:lnTo>
                  <a:pt x="170" y="318"/>
                </a:lnTo>
                <a:lnTo>
                  <a:pt x="166" y="340"/>
                </a:lnTo>
                <a:lnTo>
                  <a:pt x="164" y="364"/>
                </a:lnTo>
                <a:lnTo>
                  <a:pt x="166" y="388"/>
                </a:lnTo>
                <a:lnTo>
                  <a:pt x="170" y="410"/>
                </a:lnTo>
                <a:lnTo>
                  <a:pt x="178" y="432"/>
                </a:lnTo>
                <a:lnTo>
                  <a:pt x="188" y="454"/>
                </a:lnTo>
                <a:close/>
                <a:moveTo>
                  <a:pt x="226" y="446"/>
                </a:moveTo>
                <a:lnTo>
                  <a:pt x="226" y="446"/>
                </a:lnTo>
                <a:lnTo>
                  <a:pt x="222" y="446"/>
                </a:lnTo>
                <a:lnTo>
                  <a:pt x="216" y="446"/>
                </a:lnTo>
                <a:lnTo>
                  <a:pt x="212" y="442"/>
                </a:lnTo>
                <a:lnTo>
                  <a:pt x="204" y="424"/>
                </a:lnTo>
                <a:lnTo>
                  <a:pt x="198" y="404"/>
                </a:lnTo>
                <a:lnTo>
                  <a:pt x="194" y="384"/>
                </a:lnTo>
                <a:lnTo>
                  <a:pt x="192" y="364"/>
                </a:lnTo>
                <a:lnTo>
                  <a:pt x="194" y="344"/>
                </a:lnTo>
                <a:lnTo>
                  <a:pt x="198" y="324"/>
                </a:lnTo>
                <a:lnTo>
                  <a:pt x="204" y="304"/>
                </a:lnTo>
                <a:lnTo>
                  <a:pt x="212" y="286"/>
                </a:lnTo>
                <a:lnTo>
                  <a:pt x="216" y="284"/>
                </a:lnTo>
                <a:lnTo>
                  <a:pt x="218" y="282"/>
                </a:lnTo>
                <a:lnTo>
                  <a:pt x="222" y="280"/>
                </a:lnTo>
                <a:lnTo>
                  <a:pt x="226" y="282"/>
                </a:lnTo>
                <a:lnTo>
                  <a:pt x="230" y="284"/>
                </a:lnTo>
                <a:lnTo>
                  <a:pt x="232" y="288"/>
                </a:lnTo>
                <a:lnTo>
                  <a:pt x="232" y="292"/>
                </a:lnTo>
                <a:lnTo>
                  <a:pt x="230" y="296"/>
                </a:lnTo>
                <a:lnTo>
                  <a:pt x="222" y="312"/>
                </a:lnTo>
                <a:lnTo>
                  <a:pt x="218" y="328"/>
                </a:lnTo>
                <a:lnTo>
                  <a:pt x="214" y="346"/>
                </a:lnTo>
                <a:lnTo>
                  <a:pt x="212" y="364"/>
                </a:lnTo>
                <a:lnTo>
                  <a:pt x="214" y="382"/>
                </a:lnTo>
                <a:lnTo>
                  <a:pt x="218" y="400"/>
                </a:lnTo>
                <a:lnTo>
                  <a:pt x="222" y="416"/>
                </a:lnTo>
                <a:lnTo>
                  <a:pt x="230" y="432"/>
                </a:lnTo>
                <a:lnTo>
                  <a:pt x="232" y="436"/>
                </a:lnTo>
                <a:lnTo>
                  <a:pt x="232" y="440"/>
                </a:lnTo>
                <a:lnTo>
                  <a:pt x="230" y="444"/>
                </a:lnTo>
                <a:lnTo>
                  <a:pt x="226" y="44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1" name="Freeform 253"/>
          <p:cNvSpPr>
            <a:spLocks noEditPoints="1"/>
          </p:cNvSpPr>
          <p:nvPr userDrawn="1"/>
        </p:nvSpPr>
        <p:spPr bwMode="auto">
          <a:xfrm>
            <a:off x="9475778"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2" name="Freeform 296"/>
          <p:cNvSpPr>
            <a:spLocks noEditPoints="1"/>
          </p:cNvSpPr>
          <p:nvPr userDrawn="1"/>
        </p:nvSpPr>
        <p:spPr bwMode="auto">
          <a:xfrm>
            <a:off x="2902593" y="1080648"/>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54 w 726"/>
              <a:gd name="T47" fmla="*/ 556 h 726"/>
              <a:gd name="T48" fmla="*/ 252 w 726"/>
              <a:gd name="T49" fmla="*/ 152 h 726"/>
              <a:gd name="T50" fmla="*/ 468 w 726"/>
              <a:gd name="T51" fmla="*/ 146 h 726"/>
              <a:gd name="T52" fmla="*/ 474 w 726"/>
              <a:gd name="T53" fmla="*/ 152 h 726"/>
              <a:gd name="T54" fmla="*/ 456 w 726"/>
              <a:gd name="T55" fmla="*/ 192 h 726"/>
              <a:gd name="T56" fmla="*/ 402 w 726"/>
              <a:gd name="T57" fmla="*/ 512 h 726"/>
              <a:gd name="T58" fmla="*/ 338 w 726"/>
              <a:gd name="T59" fmla="*/ 448 h 726"/>
              <a:gd name="T60" fmla="*/ 296 w 726"/>
              <a:gd name="T61" fmla="*/ 216 h 726"/>
              <a:gd name="T62" fmla="*/ 404 w 726"/>
              <a:gd name="T63" fmla="*/ 382 h 726"/>
              <a:gd name="T64" fmla="*/ 390 w 726"/>
              <a:gd name="T65" fmla="*/ 372 h 726"/>
              <a:gd name="T66" fmla="*/ 372 w 726"/>
              <a:gd name="T67" fmla="*/ 368 h 726"/>
              <a:gd name="T68" fmla="*/ 346 w 726"/>
              <a:gd name="T69" fmla="*/ 376 h 726"/>
              <a:gd name="T70" fmla="*/ 332 w 726"/>
              <a:gd name="T71" fmla="*/ 390 h 726"/>
              <a:gd name="T72" fmla="*/ 324 w 726"/>
              <a:gd name="T73" fmla="*/ 416 h 726"/>
              <a:gd name="T74" fmla="*/ 328 w 726"/>
              <a:gd name="T75" fmla="*/ 432 h 726"/>
              <a:gd name="T76" fmla="*/ 566 w 726"/>
              <a:gd name="T77" fmla="*/ 590 h 726"/>
              <a:gd name="T78" fmla="*/ 484 w 726"/>
              <a:gd name="T79" fmla="*/ 560 h 726"/>
              <a:gd name="T80" fmla="*/ 426 w 726"/>
              <a:gd name="T81" fmla="*/ 500 h 726"/>
              <a:gd name="T82" fmla="*/ 356 w 726"/>
              <a:gd name="T83" fmla="*/ 430 h 726"/>
              <a:gd name="T84" fmla="*/ 350 w 726"/>
              <a:gd name="T85" fmla="*/ 416 h 726"/>
              <a:gd name="T86" fmla="*/ 356 w 726"/>
              <a:gd name="T87" fmla="*/ 400 h 726"/>
              <a:gd name="T88" fmla="*/ 372 w 726"/>
              <a:gd name="T89" fmla="*/ 392 h 726"/>
              <a:gd name="T90" fmla="*/ 430 w 726"/>
              <a:gd name="T91" fmla="*/ 442 h 726"/>
              <a:gd name="T92" fmla="*/ 474 w 726"/>
              <a:gd name="T93" fmla="*/ 486 h 726"/>
              <a:gd name="T94" fmla="*/ 498 w 726"/>
              <a:gd name="T95" fmla="*/ 352 h 726"/>
              <a:gd name="T96" fmla="*/ 566 w 726"/>
              <a:gd name="T97" fmla="*/ 590 h 726"/>
              <a:gd name="T98" fmla="*/ 358 w 726"/>
              <a:gd name="T99" fmla="*/ 524 h 726"/>
              <a:gd name="T100" fmla="*/ 350 w 726"/>
              <a:gd name="T101" fmla="*/ 536 h 726"/>
              <a:gd name="T102" fmla="*/ 354 w 726"/>
              <a:gd name="T103" fmla="*/ 544 h 726"/>
              <a:gd name="T104" fmla="*/ 364 w 726"/>
              <a:gd name="T105" fmla="*/ 548 h 726"/>
              <a:gd name="T106" fmla="*/ 374 w 726"/>
              <a:gd name="T107" fmla="*/ 540 h 726"/>
              <a:gd name="T108" fmla="*/ 374 w 726"/>
              <a:gd name="T109" fmla="*/ 530 h 726"/>
              <a:gd name="T110" fmla="*/ 364 w 726"/>
              <a:gd name="T111" fmla="*/ 52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8" y="558"/>
                </a:moveTo>
                <a:lnTo>
                  <a:pt x="258" y="558"/>
                </a:lnTo>
                <a:lnTo>
                  <a:pt x="254" y="556"/>
                </a:lnTo>
                <a:lnTo>
                  <a:pt x="252" y="552"/>
                </a:lnTo>
                <a:lnTo>
                  <a:pt x="252" y="152"/>
                </a:lnTo>
                <a:lnTo>
                  <a:pt x="254" y="148"/>
                </a:lnTo>
                <a:lnTo>
                  <a:pt x="258" y="146"/>
                </a:lnTo>
                <a:lnTo>
                  <a:pt x="468" y="146"/>
                </a:lnTo>
                <a:lnTo>
                  <a:pt x="472" y="148"/>
                </a:lnTo>
                <a:lnTo>
                  <a:pt x="474" y="152"/>
                </a:lnTo>
                <a:lnTo>
                  <a:pt x="474" y="452"/>
                </a:lnTo>
                <a:lnTo>
                  <a:pt x="456" y="432"/>
                </a:lnTo>
                <a:lnTo>
                  <a:pt x="456" y="192"/>
                </a:lnTo>
                <a:lnTo>
                  <a:pt x="272" y="192"/>
                </a:lnTo>
                <a:lnTo>
                  <a:pt x="272" y="512"/>
                </a:lnTo>
                <a:lnTo>
                  <a:pt x="402" y="512"/>
                </a:lnTo>
                <a:lnTo>
                  <a:pt x="448" y="558"/>
                </a:lnTo>
                <a:lnTo>
                  <a:pt x="258" y="558"/>
                </a:lnTo>
                <a:close/>
                <a:moveTo>
                  <a:pt x="338" y="448"/>
                </a:moveTo>
                <a:lnTo>
                  <a:pt x="378" y="488"/>
                </a:lnTo>
                <a:lnTo>
                  <a:pt x="296" y="488"/>
                </a:lnTo>
                <a:lnTo>
                  <a:pt x="296" y="216"/>
                </a:lnTo>
                <a:lnTo>
                  <a:pt x="430" y="216"/>
                </a:lnTo>
                <a:lnTo>
                  <a:pt x="430" y="408"/>
                </a:lnTo>
                <a:lnTo>
                  <a:pt x="404" y="382"/>
                </a:lnTo>
                <a:lnTo>
                  <a:pt x="398" y="376"/>
                </a:lnTo>
                <a:lnTo>
                  <a:pt x="390" y="372"/>
                </a:lnTo>
                <a:lnTo>
                  <a:pt x="380" y="370"/>
                </a:lnTo>
                <a:lnTo>
                  <a:pt x="372" y="368"/>
                </a:lnTo>
                <a:lnTo>
                  <a:pt x="362" y="370"/>
                </a:lnTo>
                <a:lnTo>
                  <a:pt x="354" y="372"/>
                </a:lnTo>
                <a:lnTo>
                  <a:pt x="346" y="376"/>
                </a:lnTo>
                <a:lnTo>
                  <a:pt x="338" y="382"/>
                </a:lnTo>
                <a:lnTo>
                  <a:pt x="332" y="390"/>
                </a:lnTo>
                <a:lnTo>
                  <a:pt x="328" y="398"/>
                </a:lnTo>
                <a:lnTo>
                  <a:pt x="326" y="406"/>
                </a:lnTo>
                <a:lnTo>
                  <a:pt x="324" y="416"/>
                </a:lnTo>
                <a:lnTo>
                  <a:pt x="326" y="424"/>
                </a:lnTo>
                <a:lnTo>
                  <a:pt x="328" y="432"/>
                </a:lnTo>
                <a:lnTo>
                  <a:pt x="332" y="440"/>
                </a:lnTo>
                <a:lnTo>
                  <a:pt x="338" y="448"/>
                </a:lnTo>
                <a:close/>
                <a:moveTo>
                  <a:pt x="566" y="590"/>
                </a:moveTo>
                <a:lnTo>
                  <a:pt x="516" y="590"/>
                </a:lnTo>
                <a:lnTo>
                  <a:pt x="494" y="568"/>
                </a:lnTo>
                <a:lnTo>
                  <a:pt x="484" y="560"/>
                </a:lnTo>
                <a:lnTo>
                  <a:pt x="474" y="548"/>
                </a:lnTo>
                <a:lnTo>
                  <a:pt x="438" y="512"/>
                </a:lnTo>
                <a:lnTo>
                  <a:pt x="426" y="500"/>
                </a:lnTo>
                <a:lnTo>
                  <a:pt x="412" y="488"/>
                </a:lnTo>
                <a:lnTo>
                  <a:pt x="356" y="430"/>
                </a:lnTo>
                <a:lnTo>
                  <a:pt x="352" y="424"/>
                </a:lnTo>
                <a:lnTo>
                  <a:pt x="350" y="416"/>
                </a:lnTo>
                <a:lnTo>
                  <a:pt x="352" y="406"/>
                </a:lnTo>
                <a:lnTo>
                  <a:pt x="356" y="400"/>
                </a:lnTo>
                <a:lnTo>
                  <a:pt x="364" y="394"/>
                </a:lnTo>
                <a:lnTo>
                  <a:pt x="372" y="392"/>
                </a:lnTo>
                <a:lnTo>
                  <a:pt x="380" y="394"/>
                </a:lnTo>
                <a:lnTo>
                  <a:pt x="388" y="400"/>
                </a:lnTo>
                <a:lnTo>
                  <a:pt x="430" y="442"/>
                </a:lnTo>
                <a:lnTo>
                  <a:pt x="442" y="454"/>
                </a:lnTo>
                <a:lnTo>
                  <a:pt x="456" y="468"/>
                </a:lnTo>
                <a:lnTo>
                  <a:pt x="474" y="486"/>
                </a:lnTo>
                <a:lnTo>
                  <a:pt x="486" y="498"/>
                </a:lnTo>
                <a:lnTo>
                  <a:pt x="498" y="510"/>
                </a:lnTo>
                <a:lnTo>
                  <a:pt x="498" y="352"/>
                </a:lnTo>
                <a:lnTo>
                  <a:pt x="566" y="420"/>
                </a:lnTo>
                <a:lnTo>
                  <a:pt x="566" y="590"/>
                </a:lnTo>
                <a:close/>
                <a:moveTo>
                  <a:pt x="364" y="524"/>
                </a:moveTo>
                <a:lnTo>
                  <a:pt x="364" y="524"/>
                </a:lnTo>
                <a:lnTo>
                  <a:pt x="358" y="524"/>
                </a:lnTo>
                <a:lnTo>
                  <a:pt x="354" y="526"/>
                </a:lnTo>
                <a:lnTo>
                  <a:pt x="352" y="530"/>
                </a:lnTo>
                <a:lnTo>
                  <a:pt x="350" y="536"/>
                </a:lnTo>
                <a:lnTo>
                  <a:pt x="352" y="540"/>
                </a:lnTo>
                <a:lnTo>
                  <a:pt x="354" y="544"/>
                </a:lnTo>
                <a:lnTo>
                  <a:pt x="358" y="548"/>
                </a:lnTo>
                <a:lnTo>
                  <a:pt x="364" y="548"/>
                </a:lnTo>
                <a:lnTo>
                  <a:pt x="368" y="548"/>
                </a:lnTo>
                <a:lnTo>
                  <a:pt x="372" y="544"/>
                </a:lnTo>
                <a:lnTo>
                  <a:pt x="374" y="540"/>
                </a:lnTo>
                <a:lnTo>
                  <a:pt x="376" y="536"/>
                </a:lnTo>
                <a:lnTo>
                  <a:pt x="374" y="530"/>
                </a:lnTo>
                <a:lnTo>
                  <a:pt x="372" y="526"/>
                </a:lnTo>
                <a:lnTo>
                  <a:pt x="368" y="524"/>
                </a:lnTo>
                <a:lnTo>
                  <a:pt x="364" y="5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3" name="Freeform 302"/>
          <p:cNvSpPr>
            <a:spLocks noEditPoints="1"/>
          </p:cNvSpPr>
          <p:nvPr userDrawn="1"/>
        </p:nvSpPr>
        <p:spPr bwMode="auto">
          <a:xfrm>
            <a:off x="4217230" y="1080648"/>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466 w 726"/>
              <a:gd name="T19" fmla="*/ 146 h 726"/>
              <a:gd name="T20" fmla="*/ 344 w 726"/>
              <a:gd name="T21" fmla="*/ 192 h 726"/>
              <a:gd name="T22" fmla="*/ 336 w 726"/>
              <a:gd name="T23" fmla="*/ 448 h 726"/>
              <a:gd name="T24" fmla="*/ 326 w 726"/>
              <a:gd name="T25" fmla="*/ 304 h 726"/>
              <a:gd name="T26" fmla="*/ 350 w 726"/>
              <a:gd name="T27" fmla="*/ 218 h 726"/>
              <a:gd name="T28" fmla="*/ 378 w 726"/>
              <a:gd name="T29" fmla="*/ 370 h 726"/>
              <a:gd name="T30" fmla="*/ 336 w 726"/>
              <a:gd name="T31" fmla="*/ 382 h 726"/>
              <a:gd name="T32" fmla="*/ 326 w 726"/>
              <a:gd name="T33" fmla="*/ 434 h 726"/>
              <a:gd name="T34" fmla="*/ 208 w 726"/>
              <a:gd name="T35" fmla="*/ 322 h 726"/>
              <a:gd name="T36" fmla="*/ 138 w 726"/>
              <a:gd name="T37" fmla="*/ 232 h 726"/>
              <a:gd name="T38" fmla="*/ 194 w 726"/>
              <a:gd name="T39" fmla="*/ 146 h 726"/>
              <a:gd name="T40" fmla="*/ 244 w 726"/>
              <a:gd name="T41" fmla="*/ 140 h 726"/>
              <a:gd name="T42" fmla="*/ 318 w 726"/>
              <a:gd name="T43" fmla="*/ 192 h 726"/>
              <a:gd name="T44" fmla="*/ 326 w 726"/>
              <a:gd name="T45" fmla="*/ 232 h 726"/>
              <a:gd name="T46" fmla="*/ 282 w 726"/>
              <a:gd name="T47" fmla="*/ 312 h 726"/>
              <a:gd name="T48" fmla="*/ 232 w 726"/>
              <a:gd name="T49" fmla="*/ 326 h 726"/>
              <a:gd name="T50" fmla="*/ 270 w 726"/>
              <a:gd name="T51" fmla="*/ 344 h 726"/>
              <a:gd name="T52" fmla="*/ 482 w 726"/>
              <a:gd name="T53" fmla="*/ 560 h 726"/>
              <a:gd name="T54" fmla="*/ 348 w 726"/>
              <a:gd name="T55" fmla="*/ 416 h 726"/>
              <a:gd name="T56" fmla="*/ 378 w 726"/>
              <a:gd name="T57" fmla="*/ 396 h 726"/>
              <a:gd name="T58" fmla="*/ 496 w 726"/>
              <a:gd name="T59" fmla="*/ 512 h 726"/>
              <a:gd name="T60" fmla="*/ 194 w 726"/>
              <a:gd name="T61" fmla="*/ 228 h 726"/>
              <a:gd name="T62" fmla="*/ 174 w 726"/>
              <a:gd name="T63" fmla="*/ 222 h 726"/>
              <a:gd name="T64" fmla="*/ 188 w 726"/>
              <a:gd name="T65" fmla="*/ 264 h 726"/>
              <a:gd name="T66" fmla="*/ 236 w 726"/>
              <a:gd name="T67" fmla="*/ 194 h 726"/>
              <a:gd name="T68" fmla="*/ 264 w 726"/>
              <a:gd name="T69" fmla="*/ 264 h 726"/>
              <a:gd name="T70" fmla="*/ 362 w 726"/>
              <a:gd name="T71" fmla="*/ 526 h 726"/>
              <a:gd name="T72" fmla="*/ 350 w 726"/>
              <a:gd name="T73" fmla="*/ 544 h 726"/>
              <a:gd name="T74" fmla="*/ 372 w 726"/>
              <a:gd name="T75" fmla="*/ 544 h 726"/>
              <a:gd name="T76" fmla="*/ 292 w 726"/>
              <a:gd name="T77" fmla="*/ 172 h 726"/>
              <a:gd name="T78" fmla="*/ 256 w 726"/>
              <a:gd name="T79" fmla="*/ 180 h 726"/>
              <a:gd name="T80" fmla="*/ 174 w 726"/>
              <a:gd name="T81" fmla="*/ 292 h 726"/>
              <a:gd name="T82" fmla="*/ 278 w 726"/>
              <a:gd name="T83" fmla="*/ 264 h 726"/>
              <a:gd name="T84" fmla="*/ 292 w 726"/>
              <a:gd name="T85" fmla="*/ 292 h 726"/>
              <a:gd name="T86" fmla="*/ 270 w 726"/>
              <a:gd name="T87" fmla="*/ 270 h 726"/>
              <a:gd name="T88" fmla="*/ 242 w 726"/>
              <a:gd name="T89" fmla="*/ 242 h 726"/>
              <a:gd name="T90" fmla="*/ 284 w 726"/>
              <a:gd name="T91" fmla="*/ 222 h 726"/>
              <a:gd name="T92" fmla="*/ 250 w 726"/>
              <a:gd name="T93" fmla="*/ 236 h 726"/>
              <a:gd name="T94" fmla="*/ 250 w 726"/>
              <a:gd name="T95" fmla="*/ 270 h 726"/>
              <a:gd name="T96" fmla="*/ 242 w 726"/>
              <a:gd name="T97" fmla="*/ 208 h 726"/>
              <a:gd name="T98" fmla="*/ 228 w 726"/>
              <a:gd name="T99" fmla="*/ 242 h 726"/>
              <a:gd name="T100" fmla="*/ 250 w 726"/>
              <a:gd name="T101" fmla="*/ 256 h 726"/>
              <a:gd name="T102" fmla="*/ 208 w 726"/>
              <a:gd name="T103" fmla="*/ 236 h 726"/>
              <a:gd name="T104" fmla="*/ 208 w 726"/>
              <a:gd name="T105" fmla="*/ 180 h 726"/>
              <a:gd name="T106" fmla="*/ 222 w 726"/>
              <a:gd name="T107" fmla="*/ 214 h 726"/>
              <a:gd name="T108" fmla="*/ 222 w 726"/>
              <a:gd name="T109" fmla="*/ 292 h 726"/>
              <a:gd name="T110" fmla="*/ 228 w 726"/>
              <a:gd name="T111" fmla="*/ 26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66" y="146"/>
                </a:moveTo>
                <a:lnTo>
                  <a:pt x="466" y="146"/>
                </a:lnTo>
                <a:lnTo>
                  <a:pt x="470" y="148"/>
                </a:lnTo>
                <a:lnTo>
                  <a:pt x="472" y="152"/>
                </a:lnTo>
                <a:lnTo>
                  <a:pt x="472" y="452"/>
                </a:lnTo>
                <a:lnTo>
                  <a:pt x="454" y="432"/>
                </a:lnTo>
                <a:lnTo>
                  <a:pt x="454" y="192"/>
                </a:lnTo>
                <a:lnTo>
                  <a:pt x="344" y="192"/>
                </a:lnTo>
                <a:lnTo>
                  <a:pt x="338" y="180"/>
                </a:lnTo>
                <a:lnTo>
                  <a:pt x="332" y="168"/>
                </a:lnTo>
                <a:lnTo>
                  <a:pt x="324" y="156"/>
                </a:lnTo>
                <a:lnTo>
                  <a:pt x="314" y="146"/>
                </a:lnTo>
                <a:lnTo>
                  <a:pt x="466" y="146"/>
                </a:lnTo>
                <a:close/>
                <a:moveTo>
                  <a:pt x="336" y="448"/>
                </a:moveTo>
                <a:lnTo>
                  <a:pt x="376" y="488"/>
                </a:lnTo>
                <a:lnTo>
                  <a:pt x="294" y="488"/>
                </a:lnTo>
                <a:lnTo>
                  <a:pt x="294" y="334"/>
                </a:lnTo>
                <a:lnTo>
                  <a:pt x="306" y="324"/>
                </a:lnTo>
                <a:lnTo>
                  <a:pt x="318" y="314"/>
                </a:lnTo>
                <a:lnTo>
                  <a:pt x="326" y="304"/>
                </a:lnTo>
                <a:lnTo>
                  <a:pt x="336" y="292"/>
                </a:lnTo>
                <a:lnTo>
                  <a:pt x="342" y="278"/>
                </a:lnTo>
                <a:lnTo>
                  <a:pt x="346" y="264"/>
                </a:lnTo>
                <a:lnTo>
                  <a:pt x="350" y="248"/>
                </a:lnTo>
                <a:lnTo>
                  <a:pt x="350" y="232"/>
                </a:lnTo>
                <a:lnTo>
                  <a:pt x="350" y="218"/>
                </a:lnTo>
                <a:lnTo>
                  <a:pt x="428" y="218"/>
                </a:lnTo>
                <a:lnTo>
                  <a:pt x="428" y="408"/>
                </a:lnTo>
                <a:lnTo>
                  <a:pt x="402" y="382"/>
                </a:lnTo>
                <a:lnTo>
                  <a:pt x="396" y="376"/>
                </a:lnTo>
                <a:lnTo>
                  <a:pt x="388" y="372"/>
                </a:lnTo>
                <a:lnTo>
                  <a:pt x="378" y="370"/>
                </a:lnTo>
                <a:lnTo>
                  <a:pt x="370" y="368"/>
                </a:lnTo>
                <a:lnTo>
                  <a:pt x="360" y="370"/>
                </a:lnTo>
                <a:lnTo>
                  <a:pt x="352" y="372"/>
                </a:lnTo>
                <a:lnTo>
                  <a:pt x="344" y="376"/>
                </a:lnTo>
                <a:lnTo>
                  <a:pt x="336" y="382"/>
                </a:lnTo>
                <a:lnTo>
                  <a:pt x="330" y="390"/>
                </a:lnTo>
                <a:lnTo>
                  <a:pt x="326" y="398"/>
                </a:lnTo>
                <a:lnTo>
                  <a:pt x="324" y="406"/>
                </a:lnTo>
                <a:lnTo>
                  <a:pt x="322" y="416"/>
                </a:lnTo>
                <a:lnTo>
                  <a:pt x="324" y="424"/>
                </a:lnTo>
                <a:lnTo>
                  <a:pt x="326" y="434"/>
                </a:lnTo>
                <a:lnTo>
                  <a:pt x="330" y="442"/>
                </a:lnTo>
                <a:lnTo>
                  <a:pt x="336" y="448"/>
                </a:lnTo>
                <a:close/>
                <a:moveTo>
                  <a:pt x="232" y="326"/>
                </a:moveTo>
                <a:lnTo>
                  <a:pt x="232" y="326"/>
                </a:lnTo>
                <a:lnTo>
                  <a:pt x="226" y="326"/>
                </a:lnTo>
                <a:lnTo>
                  <a:pt x="208" y="322"/>
                </a:lnTo>
                <a:lnTo>
                  <a:pt x="192" y="316"/>
                </a:lnTo>
                <a:lnTo>
                  <a:pt x="176" y="308"/>
                </a:lnTo>
                <a:lnTo>
                  <a:pt x="164" y="296"/>
                </a:lnTo>
                <a:lnTo>
                  <a:pt x="154" y="282"/>
                </a:lnTo>
                <a:lnTo>
                  <a:pt x="146" y="268"/>
                </a:lnTo>
                <a:lnTo>
                  <a:pt x="140" y="250"/>
                </a:lnTo>
                <a:lnTo>
                  <a:pt x="138" y="232"/>
                </a:lnTo>
                <a:lnTo>
                  <a:pt x="140" y="214"/>
                </a:lnTo>
                <a:lnTo>
                  <a:pt x="146" y="196"/>
                </a:lnTo>
                <a:lnTo>
                  <a:pt x="154" y="180"/>
                </a:lnTo>
                <a:lnTo>
                  <a:pt x="166" y="166"/>
                </a:lnTo>
                <a:lnTo>
                  <a:pt x="178" y="156"/>
                </a:lnTo>
                <a:lnTo>
                  <a:pt x="194" y="146"/>
                </a:lnTo>
                <a:lnTo>
                  <a:pt x="210" y="140"/>
                </a:lnTo>
                <a:lnTo>
                  <a:pt x="230" y="138"/>
                </a:lnTo>
                <a:lnTo>
                  <a:pt x="232" y="138"/>
                </a:lnTo>
                <a:lnTo>
                  <a:pt x="244" y="140"/>
                </a:lnTo>
                <a:lnTo>
                  <a:pt x="258" y="142"/>
                </a:lnTo>
                <a:lnTo>
                  <a:pt x="272" y="146"/>
                </a:lnTo>
                <a:lnTo>
                  <a:pt x="286" y="156"/>
                </a:lnTo>
                <a:lnTo>
                  <a:pt x="298" y="166"/>
                </a:lnTo>
                <a:lnTo>
                  <a:pt x="310" y="178"/>
                </a:lnTo>
                <a:lnTo>
                  <a:pt x="318" y="192"/>
                </a:lnTo>
                <a:lnTo>
                  <a:pt x="322" y="204"/>
                </a:lnTo>
                <a:lnTo>
                  <a:pt x="326" y="218"/>
                </a:lnTo>
                <a:lnTo>
                  <a:pt x="326" y="232"/>
                </a:lnTo>
                <a:lnTo>
                  <a:pt x="324" y="252"/>
                </a:lnTo>
                <a:lnTo>
                  <a:pt x="318" y="272"/>
                </a:lnTo>
                <a:lnTo>
                  <a:pt x="308" y="288"/>
                </a:lnTo>
                <a:lnTo>
                  <a:pt x="294" y="302"/>
                </a:lnTo>
                <a:lnTo>
                  <a:pt x="282" y="312"/>
                </a:lnTo>
                <a:lnTo>
                  <a:pt x="270" y="318"/>
                </a:lnTo>
                <a:lnTo>
                  <a:pt x="250" y="324"/>
                </a:lnTo>
                <a:lnTo>
                  <a:pt x="238" y="326"/>
                </a:lnTo>
                <a:lnTo>
                  <a:pt x="232" y="326"/>
                </a:lnTo>
                <a:close/>
                <a:moveTo>
                  <a:pt x="256" y="558"/>
                </a:moveTo>
                <a:lnTo>
                  <a:pt x="256" y="558"/>
                </a:lnTo>
                <a:lnTo>
                  <a:pt x="252" y="556"/>
                </a:lnTo>
                <a:lnTo>
                  <a:pt x="250" y="552"/>
                </a:lnTo>
                <a:lnTo>
                  <a:pt x="250" y="350"/>
                </a:lnTo>
                <a:lnTo>
                  <a:pt x="270" y="344"/>
                </a:lnTo>
                <a:lnTo>
                  <a:pt x="270" y="512"/>
                </a:lnTo>
                <a:lnTo>
                  <a:pt x="400" y="512"/>
                </a:lnTo>
                <a:lnTo>
                  <a:pt x="446" y="558"/>
                </a:lnTo>
                <a:lnTo>
                  <a:pt x="256" y="558"/>
                </a:lnTo>
                <a:close/>
                <a:moveTo>
                  <a:pt x="564" y="590"/>
                </a:moveTo>
                <a:lnTo>
                  <a:pt x="514" y="590"/>
                </a:lnTo>
                <a:lnTo>
                  <a:pt x="482" y="560"/>
                </a:lnTo>
                <a:lnTo>
                  <a:pt x="472" y="548"/>
                </a:lnTo>
                <a:lnTo>
                  <a:pt x="436" y="512"/>
                </a:lnTo>
                <a:lnTo>
                  <a:pt x="354" y="432"/>
                </a:lnTo>
                <a:lnTo>
                  <a:pt x="350" y="424"/>
                </a:lnTo>
                <a:lnTo>
                  <a:pt x="348" y="416"/>
                </a:lnTo>
                <a:lnTo>
                  <a:pt x="350" y="408"/>
                </a:lnTo>
                <a:lnTo>
                  <a:pt x="354" y="400"/>
                </a:lnTo>
                <a:lnTo>
                  <a:pt x="362" y="396"/>
                </a:lnTo>
                <a:lnTo>
                  <a:pt x="370" y="394"/>
                </a:lnTo>
                <a:lnTo>
                  <a:pt x="378" y="396"/>
                </a:lnTo>
                <a:lnTo>
                  <a:pt x="386" y="400"/>
                </a:lnTo>
                <a:lnTo>
                  <a:pt x="428" y="444"/>
                </a:lnTo>
                <a:lnTo>
                  <a:pt x="440" y="456"/>
                </a:lnTo>
                <a:lnTo>
                  <a:pt x="454" y="468"/>
                </a:lnTo>
                <a:lnTo>
                  <a:pt x="472" y="486"/>
                </a:lnTo>
                <a:lnTo>
                  <a:pt x="484" y="498"/>
                </a:lnTo>
                <a:lnTo>
                  <a:pt x="496" y="512"/>
                </a:lnTo>
                <a:lnTo>
                  <a:pt x="496" y="354"/>
                </a:lnTo>
                <a:lnTo>
                  <a:pt x="564" y="422"/>
                </a:lnTo>
                <a:lnTo>
                  <a:pt x="564" y="590"/>
                </a:lnTo>
                <a:close/>
                <a:moveTo>
                  <a:pt x="202" y="236"/>
                </a:moveTo>
                <a:lnTo>
                  <a:pt x="194" y="236"/>
                </a:lnTo>
                <a:lnTo>
                  <a:pt x="194" y="228"/>
                </a:lnTo>
                <a:lnTo>
                  <a:pt x="202" y="228"/>
                </a:lnTo>
                <a:lnTo>
                  <a:pt x="202" y="222"/>
                </a:lnTo>
                <a:lnTo>
                  <a:pt x="188" y="222"/>
                </a:lnTo>
                <a:lnTo>
                  <a:pt x="188" y="228"/>
                </a:lnTo>
                <a:lnTo>
                  <a:pt x="180" y="228"/>
                </a:lnTo>
                <a:lnTo>
                  <a:pt x="180" y="222"/>
                </a:lnTo>
                <a:lnTo>
                  <a:pt x="174" y="222"/>
                </a:lnTo>
                <a:lnTo>
                  <a:pt x="174" y="242"/>
                </a:lnTo>
                <a:lnTo>
                  <a:pt x="202" y="242"/>
                </a:lnTo>
                <a:lnTo>
                  <a:pt x="202" y="236"/>
                </a:lnTo>
                <a:close/>
                <a:moveTo>
                  <a:pt x="188" y="278"/>
                </a:moveTo>
                <a:lnTo>
                  <a:pt x="202" y="278"/>
                </a:lnTo>
                <a:lnTo>
                  <a:pt x="202" y="264"/>
                </a:lnTo>
                <a:lnTo>
                  <a:pt x="188" y="264"/>
                </a:lnTo>
                <a:lnTo>
                  <a:pt x="188" y="278"/>
                </a:lnTo>
                <a:close/>
                <a:moveTo>
                  <a:pt x="278" y="186"/>
                </a:moveTo>
                <a:lnTo>
                  <a:pt x="264" y="186"/>
                </a:lnTo>
                <a:lnTo>
                  <a:pt x="264" y="200"/>
                </a:lnTo>
                <a:lnTo>
                  <a:pt x="278" y="200"/>
                </a:lnTo>
                <a:lnTo>
                  <a:pt x="278" y="186"/>
                </a:lnTo>
                <a:close/>
                <a:moveTo>
                  <a:pt x="236" y="194"/>
                </a:moveTo>
                <a:lnTo>
                  <a:pt x="242" y="194"/>
                </a:lnTo>
                <a:lnTo>
                  <a:pt x="242" y="180"/>
                </a:lnTo>
                <a:lnTo>
                  <a:pt x="222" y="180"/>
                </a:lnTo>
                <a:lnTo>
                  <a:pt x="222" y="186"/>
                </a:lnTo>
                <a:lnTo>
                  <a:pt x="236" y="186"/>
                </a:lnTo>
                <a:lnTo>
                  <a:pt x="236" y="194"/>
                </a:lnTo>
                <a:close/>
                <a:moveTo>
                  <a:pt x="264" y="264"/>
                </a:moveTo>
                <a:lnTo>
                  <a:pt x="256" y="264"/>
                </a:lnTo>
                <a:lnTo>
                  <a:pt x="256" y="292"/>
                </a:lnTo>
                <a:lnTo>
                  <a:pt x="270" y="292"/>
                </a:lnTo>
                <a:lnTo>
                  <a:pt x="270" y="278"/>
                </a:lnTo>
                <a:lnTo>
                  <a:pt x="264" y="278"/>
                </a:lnTo>
                <a:lnTo>
                  <a:pt x="264" y="264"/>
                </a:lnTo>
                <a:close/>
                <a:moveTo>
                  <a:pt x="362" y="526"/>
                </a:moveTo>
                <a:lnTo>
                  <a:pt x="362" y="526"/>
                </a:lnTo>
                <a:lnTo>
                  <a:pt x="356" y="526"/>
                </a:lnTo>
                <a:lnTo>
                  <a:pt x="352" y="530"/>
                </a:lnTo>
                <a:lnTo>
                  <a:pt x="350" y="534"/>
                </a:lnTo>
                <a:lnTo>
                  <a:pt x="348" y="538"/>
                </a:lnTo>
                <a:lnTo>
                  <a:pt x="350" y="544"/>
                </a:lnTo>
                <a:lnTo>
                  <a:pt x="352" y="548"/>
                </a:lnTo>
                <a:lnTo>
                  <a:pt x="356" y="550"/>
                </a:lnTo>
                <a:lnTo>
                  <a:pt x="362" y="550"/>
                </a:lnTo>
                <a:lnTo>
                  <a:pt x="366" y="550"/>
                </a:lnTo>
                <a:lnTo>
                  <a:pt x="370" y="548"/>
                </a:lnTo>
                <a:lnTo>
                  <a:pt x="372" y="544"/>
                </a:lnTo>
                <a:lnTo>
                  <a:pt x="374" y="538"/>
                </a:lnTo>
                <a:lnTo>
                  <a:pt x="372" y="534"/>
                </a:lnTo>
                <a:lnTo>
                  <a:pt x="370" y="530"/>
                </a:lnTo>
                <a:lnTo>
                  <a:pt x="366" y="526"/>
                </a:lnTo>
                <a:lnTo>
                  <a:pt x="362" y="526"/>
                </a:lnTo>
                <a:close/>
                <a:moveTo>
                  <a:pt x="292" y="172"/>
                </a:moveTo>
                <a:lnTo>
                  <a:pt x="250" y="172"/>
                </a:lnTo>
                <a:lnTo>
                  <a:pt x="250" y="214"/>
                </a:lnTo>
                <a:lnTo>
                  <a:pt x="292" y="214"/>
                </a:lnTo>
                <a:lnTo>
                  <a:pt x="292" y="172"/>
                </a:lnTo>
                <a:close/>
                <a:moveTo>
                  <a:pt x="284" y="208"/>
                </a:moveTo>
                <a:lnTo>
                  <a:pt x="256" y="208"/>
                </a:lnTo>
                <a:lnTo>
                  <a:pt x="256" y="180"/>
                </a:lnTo>
                <a:lnTo>
                  <a:pt x="284" y="180"/>
                </a:lnTo>
                <a:lnTo>
                  <a:pt x="284" y="208"/>
                </a:lnTo>
                <a:close/>
                <a:moveTo>
                  <a:pt x="174" y="292"/>
                </a:moveTo>
                <a:lnTo>
                  <a:pt x="216" y="292"/>
                </a:lnTo>
                <a:lnTo>
                  <a:pt x="216" y="250"/>
                </a:lnTo>
                <a:lnTo>
                  <a:pt x="174" y="250"/>
                </a:lnTo>
                <a:lnTo>
                  <a:pt x="174" y="292"/>
                </a:lnTo>
                <a:close/>
                <a:moveTo>
                  <a:pt x="180" y="256"/>
                </a:moveTo>
                <a:lnTo>
                  <a:pt x="208" y="256"/>
                </a:lnTo>
                <a:lnTo>
                  <a:pt x="208" y="284"/>
                </a:lnTo>
                <a:lnTo>
                  <a:pt x="180" y="284"/>
                </a:lnTo>
                <a:lnTo>
                  <a:pt x="180" y="256"/>
                </a:lnTo>
                <a:close/>
                <a:moveTo>
                  <a:pt x="278" y="270"/>
                </a:moveTo>
                <a:lnTo>
                  <a:pt x="278" y="264"/>
                </a:lnTo>
                <a:lnTo>
                  <a:pt x="284" y="264"/>
                </a:lnTo>
                <a:lnTo>
                  <a:pt x="284" y="278"/>
                </a:lnTo>
                <a:lnTo>
                  <a:pt x="278" y="278"/>
                </a:lnTo>
                <a:lnTo>
                  <a:pt x="278" y="284"/>
                </a:lnTo>
                <a:lnTo>
                  <a:pt x="284" y="284"/>
                </a:lnTo>
                <a:lnTo>
                  <a:pt x="284" y="292"/>
                </a:lnTo>
                <a:lnTo>
                  <a:pt x="292" y="292"/>
                </a:lnTo>
                <a:lnTo>
                  <a:pt x="292" y="242"/>
                </a:lnTo>
                <a:lnTo>
                  <a:pt x="284" y="242"/>
                </a:lnTo>
                <a:lnTo>
                  <a:pt x="284" y="256"/>
                </a:lnTo>
                <a:lnTo>
                  <a:pt x="278" y="256"/>
                </a:lnTo>
                <a:lnTo>
                  <a:pt x="278" y="242"/>
                </a:lnTo>
                <a:lnTo>
                  <a:pt x="270" y="242"/>
                </a:lnTo>
                <a:lnTo>
                  <a:pt x="270" y="270"/>
                </a:lnTo>
                <a:lnTo>
                  <a:pt x="278" y="270"/>
                </a:lnTo>
                <a:close/>
                <a:moveTo>
                  <a:pt x="228" y="208"/>
                </a:moveTo>
                <a:lnTo>
                  <a:pt x="236" y="208"/>
                </a:lnTo>
                <a:lnTo>
                  <a:pt x="236" y="200"/>
                </a:lnTo>
                <a:lnTo>
                  <a:pt x="228" y="200"/>
                </a:lnTo>
                <a:lnTo>
                  <a:pt x="228" y="208"/>
                </a:lnTo>
                <a:close/>
                <a:moveTo>
                  <a:pt x="242" y="242"/>
                </a:moveTo>
                <a:lnTo>
                  <a:pt x="242" y="250"/>
                </a:lnTo>
                <a:lnTo>
                  <a:pt x="256" y="250"/>
                </a:lnTo>
                <a:lnTo>
                  <a:pt x="256" y="242"/>
                </a:lnTo>
                <a:lnTo>
                  <a:pt x="270" y="242"/>
                </a:lnTo>
                <a:lnTo>
                  <a:pt x="270" y="236"/>
                </a:lnTo>
                <a:lnTo>
                  <a:pt x="284" y="236"/>
                </a:lnTo>
                <a:lnTo>
                  <a:pt x="284" y="222"/>
                </a:lnTo>
                <a:lnTo>
                  <a:pt x="278" y="222"/>
                </a:lnTo>
                <a:lnTo>
                  <a:pt x="278" y="228"/>
                </a:lnTo>
                <a:lnTo>
                  <a:pt x="270" y="228"/>
                </a:lnTo>
                <a:lnTo>
                  <a:pt x="270" y="222"/>
                </a:lnTo>
                <a:lnTo>
                  <a:pt x="256" y="222"/>
                </a:lnTo>
                <a:lnTo>
                  <a:pt x="256" y="236"/>
                </a:lnTo>
                <a:lnTo>
                  <a:pt x="250" y="236"/>
                </a:lnTo>
                <a:lnTo>
                  <a:pt x="250" y="242"/>
                </a:lnTo>
                <a:lnTo>
                  <a:pt x="242" y="242"/>
                </a:lnTo>
                <a:close/>
                <a:moveTo>
                  <a:pt x="236" y="278"/>
                </a:moveTo>
                <a:lnTo>
                  <a:pt x="242" y="278"/>
                </a:lnTo>
                <a:lnTo>
                  <a:pt x="242" y="284"/>
                </a:lnTo>
                <a:lnTo>
                  <a:pt x="250" y="284"/>
                </a:lnTo>
                <a:lnTo>
                  <a:pt x="250" y="270"/>
                </a:lnTo>
                <a:lnTo>
                  <a:pt x="236" y="270"/>
                </a:lnTo>
                <a:lnTo>
                  <a:pt x="236" y="278"/>
                </a:lnTo>
                <a:close/>
                <a:moveTo>
                  <a:pt x="236" y="236"/>
                </a:moveTo>
                <a:lnTo>
                  <a:pt x="250" y="236"/>
                </a:lnTo>
                <a:lnTo>
                  <a:pt x="250" y="228"/>
                </a:lnTo>
                <a:lnTo>
                  <a:pt x="242" y="228"/>
                </a:lnTo>
                <a:lnTo>
                  <a:pt x="242" y="208"/>
                </a:lnTo>
                <a:lnTo>
                  <a:pt x="236" y="208"/>
                </a:lnTo>
                <a:lnTo>
                  <a:pt x="236" y="228"/>
                </a:lnTo>
                <a:lnTo>
                  <a:pt x="228" y="228"/>
                </a:lnTo>
                <a:lnTo>
                  <a:pt x="228" y="236"/>
                </a:lnTo>
                <a:lnTo>
                  <a:pt x="222" y="236"/>
                </a:lnTo>
                <a:lnTo>
                  <a:pt x="222" y="242"/>
                </a:lnTo>
                <a:lnTo>
                  <a:pt x="228" y="242"/>
                </a:lnTo>
                <a:lnTo>
                  <a:pt x="228" y="250"/>
                </a:lnTo>
                <a:lnTo>
                  <a:pt x="222" y="250"/>
                </a:lnTo>
                <a:lnTo>
                  <a:pt x="222" y="256"/>
                </a:lnTo>
                <a:lnTo>
                  <a:pt x="228" y="256"/>
                </a:lnTo>
                <a:lnTo>
                  <a:pt x="228" y="264"/>
                </a:lnTo>
                <a:lnTo>
                  <a:pt x="250" y="264"/>
                </a:lnTo>
                <a:lnTo>
                  <a:pt x="250" y="256"/>
                </a:lnTo>
                <a:lnTo>
                  <a:pt x="236" y="256"/>
                </a:lnTo>
                <a:lnTo>
                  <a:pt x="236" y="236"/>
                </a:lnTo>
                <a:close/>
                <a:moveTo>
                  <a:pt x="208" y="236"/>
                </a:moveTo>
                <a:lnTo>
                  <a:pt x="216" y="236"/>
                </a:lnTo>
                <a:lnTo>
                  <a:pt x="216" y="222"/>
                </a:lnTo>
                <a:lnTo>
                  <a:pt x="208" y="222"/>
                </a:lnTo>
                <a:lnTo>
                  <a:pt x="208" y="236"/>
                </a:lnTo>
                <a:close/>
                <a:moveTo>
                  <a:pt x="174" y="214"/>
                </a:moveTo>
                <a:lnTo>
                  <a:pt x="216" y="214"/>
                </a:lnTo>
                <a:lnTo>
                  <a:pt x="216" y="172"/>
                </a:lnTo>
                <a:lnTo>
                  <a:pt x="174" y="172"/>
                </a:lnTo>
                <a:lnTo>
                  <a:pt x="174" y="214"/>
                </a:lnTo>
                <a:close/>
                <a:moveTo>
                  <a:pt x="180" y="180"/>
                </a:moveTo>
                <a:lnTo>
                  <a:pt x="208" y="180"/>
                </a:lnTo>
                <a:lnTo>
                  <a:pt x="208" y="208"/>
                </a:lnTo>
                <a:lnTo>
                  <a:pt x="180" y="208"/>
                </a:lnTo>
                <a:lnTo>
                  <a:pt x="180" y="180"/>
                </a:lnTo>
                <a:close/>
                <a:moveTo>
                  <a:pt x="222" y="228"/>
                </a:moveTo>
                <a:lnTo>
                  <a:pt x="228" y="228"/>
                </a:lnTo>
                <a:lnTo>
                  <a:pt x="228" y="214"/>
                </a:lnTo>
                <a:lnTo>
                  <a:pt x="222" y="214"/>
                </a:lnTo>
                <a:lnTo>
                  <a:pt x="222" y="228"/>
                </a:lnTo>
                <a:close/>
                <a:moveTo>
                  <a:pt x="188" y="200"/>
                </a:moveTo>
                <a:lnTo>
                  <a:pt x="202" y="200"/>
                </a:lnTo>
                <a:lnTo>
                  <a:pt x="202" y="186"/>
                </a:lnTo>
                <a:lnTo>
                  <a:pt x="188" y="186"/>
                </a:lnTo>
                <a:lnTo>
                  <a:pt x="188" y="200"/>
                </a:lnTo>
                <a:close/>
                <a:moveTo>
                  <a:pt x="222" y="292"/>
                </a:moveTo>
                <a:lnTo>
                  <a:pt x="228" y="292"/>
                </a:lnTo>
                <a:lnTo>
                  <a:pt x="228" y="284"/>
                </a:lnTo>
                <a:lnTo>
                  <a:pt x="222" y="284"/>
                </a:lnTo>
                <a:lnTo>
                  <a:pt x="222" y="292"/>
                </a:lnTo>
                <a:close/>
                <a:moveTo>
                  <a:pt x="222" y="278"/>
                </a:moveTo>
                <a:lnTo>
                  <a:pt x="228" y="278"/>
                </a:lnTo>
                <a:lnTo>
                  <a:pt x="228" y="264"/>
                </a:lnTo>
                <a:lnTo>
                  <a:pt x="222" y="264"/>
                </a:lnTo>
                <a:lnTo>
                  <a:pt x="222" y="27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4" name="Freeform 345"/>
          <p:cNvSpPr>
            <a:spLocks noEditPoints="1"/>
          </p:cNvSpPr>
          <p:nvPr userDrawn="1"/>
        </p:nvSpPr>
        <p:spPr bwMode="auto">
          <a:xfrm>
            <a:off x="273319" y="1080648"/>
            <a:ext cx="1080000" cy="1080000"/>
          </a:xfrm>
          <a:custGeom>
            <a:avLst/>
            <a:gdLst>
              <a:gd name="T0" fmla="*/ 316 w 726"/>
              <a:gd name="T1" fmla="*/ 314 h 726"/>
              <a:gd name="T2" fmla="*/ 242 w 726"/>
              <a:gd name="T3" fmla="*/ 218 h 726"/>
              <a:gd name="T4" fmla="*/ 218 w 726"/>
              <a:gd name="T5" fmla="*/ 242 h 726"/>
              <a:gd name="T6" fmla="*/ 226 w 726"/>
              <a:gd name="T7" fmla="*/ 504 h 726"/>
              <a:gd name="T8" fmla="*/ 486 w 726"/>
              <a:gd name="T9" fmla="*/ 510 h 726"/>
              <a:gd name="T10" fmla="*/ 512 w 726"/>
              <a:gd name="T11" fmla="*/ 486 h 726"/>
              <a:gd name="T12" fmla="*/ 490 w 726"/>
              <a:gd name="T13" fmla="*/ 270 h 726"/>
              <a:gd name="T14" fmla="*/ 458 w 726"/>
              <a:gd name="T15" fmla="*/ 240 h 726"/>
              <a:gd name="T16" fmla="*/ 476 w 726"/>
              <a:gd name="T17" fmla="*/ 398 h 726"/>
              <a:gd name="T18" fmla="*/ 446 w 726"/>
              <a:gd name="T19" fmla="*/ 446 h 726"/>
              <a:gd name="T20" fmla="*/ 442 w 726"/>
              <a:gd name="T21" fmla="*/ 414 h 726"/>
              <a:gd name="T22" fmla="*/ 438 w 726"/>
              <a:gd name="T23" fmla="*/ 384 h 726"/>
              <a:gd name="T24" fmla="*/ 410 w 726"/>
              <a:gd name="T25" fmla="*/ 378 h 726"/>
              <a:gd name="T26" fmla="*/ 292 w 726"/>
              <a:gd name="T27" fmla="*/ 410 h 726"/>
              <a:gd name="T28" fmla="*/ 340 w 726"/>
              <a:gd name="T29" fmla="*/ 282 h 726"/>
              <a:gd name="T30" fmla="*/ 438 w 726"/>
              <a:gd name="T31" fmla="*/ 282 h 726"/>
              <a:gd name="T32" fmla="*/ 466 w 726"/>
              <a:gd name="T33" fmla="*/ 294 h 726"/>
              <a:gd name="T34" fmla="*/ 476 w 726"/>
              <a:gd name="T35" fmla="*/ 326 h 726"/>
              <a:gd name="T36" fmla="*/ 470 w 726"/>
              <a:gd name="T37" fmla="*/ 352 h 726"/>
              <a:gd name="T38" fmla="*/ 446 w 726"/>
              <a:gd name="T39" fmla="*/ 366 h 726"/>
              <a:gd name="T40" fmla="*/ 464 w 726"/>
              <a:gd name="T41" fmla="*/ 372 h 726"/>
              <a:gd name="T42" fmla="*/ 476 w 726"/>
              <a:gd name="T43" fmla="*/ 398 h 726"/>
              <a:gd name="T44" fmla="*/ 290 w 726"/>
              <a:gd name="T45" fmla="*/ 8 h 726"/>
              <a:gd name="T46" fmla="*/ 160 w 726"/>
              <a:gd name="T47" fmla="*/ 62 h 726"/>
              <a:gd name="T48" fmla="*/ 62 w 726"/>
              <a:gd name="T49" fmla="*/ 160 h 726"/>
              <a:gd name="T50" fmla="*/ 8 w 726"/>
              <a:gd name="T51" fmla="*/ 290 h 726"/>
              <a:gd name="T52" fmla="*/ 2 w 726"/>
              <a:gd name="T53" fmla="*/ 400 h 726"/>
              <a:gd name="T54" fmla="*/ 44 w 726"/>
              <a:gd name="T55" fmla="*/ 536 h 726"/>
              <a:gd name="T56" fmla="*/ 132 w 726"/>
              <a:gd name="T57" fmla="*/ 642 h 726"/>
              <a:gd name="T58" fmla="*/ 256 w 726"/>
              <a:gd name="T59" fmla="*/ 710 h 726"/>
              <a:gd name="T60" fmla="*/ 364 w 726"/>
              <a:gd name="T61" fmla="*/ 726 h 726"/>
              <a:gd name="T62" fmla="*/ 504 w 726"/>
              <a:gd name="T63" fmla="*/ 698 h 726"/>
              <a:gd name="T64" fmla="*/ 620 w 726"/>
              <a:gd name="T65" fmla="*/ 620 h 726"/>
              <a:gd name="T66" fmla="*/ 698 w 726"/>
              <a:gd name="T67" fmla="*/ 504 h 726"/>
              <a:gd name="T68" fmla="*/ 726 w 726"/>
              <a:gd name="T69" fmla="*/ 362 h 726"/>
              <a:gd name="T70" fmla="*/ 710 w 726"/>
              <a:gd name="T71" fmla="*/ 254 h 726"/>
              <a:gd name="T72" fmla="*/ 644 w 726"/>
              <a:gd name="T73" fmla="*/ 132 h 726"/>
              <a:gd name="T74" fmla="*/ 536 w 726"/>
              <a:gd name="T75" fmla="*/ 44 h 726"/>
              <a:gd name="T76" fmla="*/ 400 w 726"/>
              <a:gd name="T77" fmla="*/ 2 h 726"/>
              <a:gd name="T78" fmla="*/ 536 w 726"/>
              <a:gd name="T79" fmla="*/ 486 h 726"/>
              <a:gd name="T80" fmla="*/ 522 w 726"/>
              <a:gd name="T81" fmla="*/ 520 h 726"/>
              <a:gd name="T82" fmla="*/ 486 w 726"/>
              <a:gd name="T83" fmla="*/ 536 h 726"/>
              <a:gd name="T84" fmla="*/ 224 w 726"/>
              <a:gd name="T85" fmla="*/ 532 h 726"/>
              <a:gd name="T86" fmla="*/ 198 w 726"/>
              <a:gd name="T87" fmla="*/ 506 h 726"/>
              <a:gd name="T88" fmla="*/ 194 w 726"/>
              <a:gd name="T89" fmla="*/ 242 h 726"/>
              <a:gd name="T90" fmla="*/ 208 w 726"/>
              <a:gd name="T91" fmla="*/ 208 h 726"/>
              <a:gd name="T92" fmla="*/ 242 w 726"/>
              <a:gd name="T93" fmla="*/ 194 h 726"/>
              <a:gd name="T94" fmla="*/ 460 w 726"/>
              <a:gd name="T95" fmla="*/ 170 h 726"/>
              <a:gd name="T96" fmla="*/ 498 w 726"/>
              <a:gd name="T97" fmla="*/ 138 h 726"/>
              <a:gd name="T98" fmla="*/ 538 w 726"/>
              <a:gd name="T99" fmla="*/ 134 h 726"/>
              <a:gd name="T100" fmla="*/ 584 w 726"/>
              <a:gd name="T101" fmla="*/ 164 h 726"/>
              <a:gd name="T102" fmla="*/ 596 w 726"/>
              <a:gd name="T103" fmla="*/ 206 h 726"/>
              <a:gd name="T104" fmla="*/ 578 w 726"/>
              <a:gd name="T105" fmla="*/ 252 h 726"/>
              <a:gd name="T106" fmla="*/ 536 w 726"/>
              <a:gd name="T107" fmla="*/ 278 h 726"/>
              <a:gd name="T108" fmla="*/ 424 w 726"/>
              <a:gd name="T109" fmla="*/ 354 h 726"/>
              <a:gd name="T110" fmla="*/ 438 w 726"/>
              <a:gd name="T111" fmla="*/ 346 h 726"/>
              <a:gd name="T112" fmla="*/ 440 w 726"/>
              <a:gd name="T113" fmla="*/ 320 h 726"/>
              <a:gd name="T114" fmla="*/ 536 w 726"/>
              <a:gd name="T115" fmla="*/ 154 h 726"/>
              <a:gd name="T116" fmla="*/ 472 w 726"/>
              <a:gd name="T117" fmla="*/ 218 h 726"/>
              <a:gd name="T118" fmla="*/ 536 w 726"/>
              <a:gd name="T119" fmla="*/ 218 h 726"/>
              <a:gd name="T120" fmla="*/ 536 w 726"/>
              <a:gd name="T121" fmla="*/ 154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16" y="314"/>
                </a:moveTo>
                <a:lnTo>
                  <a:pt x="300" y="384"/>
                </a:lnTo>
                <a:lnTo>
                  <a:pt x="332" y="384"/>
                </a:lnTo>
                <a:lnTo>
                  <a:pt x="316" y="314"/>
                </a:lnTo>
                <a:close/>
                <a:moveTo>
                  <a:pt x="452" y="218"/>
                </a:moveTo>
                <a:lnTo>
                  <a:pt x="242" y="218"/>
                </a:lnTo>
                <a:lnTo>
                  <a:pt x="234" y="220"/>
                </a:lnTo>
                <a:lnTo>
                  <a:pt x="226" y="226"/>
                </a:lnTo>
                <a:lnTo>
                  <a:pt x="220" y="232"/>
                </a:lnTo>
                <a:lnTo>
                  <a:pt x="218" y="242"/>
                </a:lnTo>
                <a:lnTo>
                  <a:pt x="218" y="486"/>
                </a:lnTo>
                <a:lnTo>
                  <a:pt x="220" y="496"/>
                </a:lnTo>
                <a:lnTo>
                  <a:pt x="226" y="504"/>
                </a:lnTo>
                <a:lnTo>
                  <a:pt x="234" y="508"/>
                </a:lnTo>
                <a:lnTo>
                  <a:pt x="242" y="510"/>
                </a:lnTo>
                <a:lnTo>
                  <a:pt x="486" y="510"/>
                </a:lnTo>
                <a:lnTo>
                  <a:pt x="496" y="508"/>
                </a:lnTo>
                <a:lnTo>
                  <a:pt x="504" y="504"/>
                </a:lnTo>
                <a:lnTo>
                  <a:pt x="510" y="496"/>
                </a:lnTo>
                <a:lnTo>
                  <a:pt x="512" y="486"/>
                </a:lnTo>
                <a:lnTo>
                  <a:pt x="512" y="278"/>
                </a:lnTo>
                <a:lnTo>
                  <a:pt x="500" y="274"/>
                </a:lnTo>
                <a:lnTo>
                  <a:pt x="490" y="270"/>
                </a:lnTo>
                <a:lnTo>
                  <a:pt x="480" y="264"/>
                </a:lnTo>
                <a:lnTo>
                  <a:pt x="472" y="258"/>
                </a:lnTo>
                <a:lnTo>
                  <a:pt x="464" y="248"/>
                </a:lnTo>
                <a:lnTo>
                  <a:pt x="458" y="240"/>
                </a:lnTo>
                <a:lnTo>
                  <a:pt x="454" y="228"/>
                </a:lnTo>
                <a:lnTo>
                  <a:pt x="452" y="218"/>
                </a:lnTo>
                <a:close/>
                <a:moveTo>
                  <a:pt x="476" y="398"/>
                </a:moveTo>
                <a:lnTo>
                  <a:pt x="476" y="398"/>
                </a:lnTo>
                <a:lnTo>
                  <a:pt x="476" y="424"/>
                </a:lnTo>
                <a:lnTo>
                  <a:pt x="478" y="438"/>
                </a:lnTo>
                <a:lnTo>
                  <a:pt x="480" y="446"/>
                </a:lnTo>
                <a:lnTo>
                  <a:pt x="446" y="446"/>
                </a:lnTo>
                <a:lnTo>
                  <a:pt x="444" y="438"/>
                </a:lnTo>
                <a:lnTo>
                  <a:pt x="442" y="430"/>
                </a:lnTo>
                <a:lnTo>
                  <a:pt x="442" y="414"/>
                </a:lnTo>
                <a:lnTo>
                  <a:pt x="442" y="400"/>
                </a:lnTo>
                <a:lnTo>
                  <a:pt x="440" y="390"/>
                </a:lnTo>
                <a:lnTo>
                  <a:pt x="438" y="384"/>
                </a:lnTo>
                <a:lnTo>
                  <a:pt x="432" y="382"/>
                </a:lnTo>
                <a:lnTo>
                  <a:pt x="426" y="380"/>
                </a:lnTo>
                <a:lnTo>
                  <a:pt x="418" y="378"/>
                </a:lnTo>
                <a:lnTo>
                  <a:pt x="410" y="378"/>
                </a:lnTo>
                <a:lnTo>
                  <a:pt x="410" y="446"/>
                </a:lnTo>
                <a:lnTo>
                  <a:pt x="348" y="446"/>
                </a:lnTo>
                <a:lnTo>
                  <a:pt x="340" y="410"/>
                </a:lnTo>
                <a:lnTo>
                  <a:pt x="292" y="410"/>
                </a:lnTo>
                <a:lnTo>
                  <a:pt x="284" y="446"/>
                </a:lnTo>
                <a:lnTo>
                  <a:pt x="250" y="446"/>
                </a:lnTo>
                <a:lnTo>
                  <a:pt x="296" y="282"/>
                </a:lnTo>
                <a:lnTo>
                  <a:pt x="340" y="282"/>
                </a:lnTo>
                <a:lnTo>
                  <a:pt x="374" y="412"/>
                </a:lnTo>
                <a:lnTo>
                  <a:pt x="374" y="282"/>
                </a:lnTo>
                <a:lnTo>
                  <a:pt x="438" y="282"/>
                </a:lnTo>
                <a:lnTo>
                  <a:pt x="446" y="284"/>
                </a:lnTo>
                <a:lnTo>
                  <a:pt x="454" y="286"/>
                </a:lnTo>
                <a:lnTo>
                  <a:pt x="460" y="288"/>
                </a:lnTo>
                <a:lnTo>
                  <a:pt x="466" y="294"/>
                </a:lnTo>
                <a:lnTo>
                  <a:pt x="470" y="300"/>
                </a:lnTo>
                <a:lnTo>
                  <a:pt x="474" y="306"/>
                </a:lnTo>
                <a:lnTo>
                  <a:pt x="476" y="316"/>
                </a:lnTo>
                <a:lnTo>
                  <a:pt x="476" y="326"/>
                </a:lnTo>
                <a:lnTo>
                  <a:pt x="474" y="340"/>
                </a:lnTo>
                <a:lnTo>
                  <a:pt x="472" y="346"/>
                </a:lnTo>
                <a:lnTo>
                  <a:pt x="470" y="352"/>
                </a:lnTo>
                <a:lnTo>
                  <a:pt x="466" y="356"/>
                </a:lnTo>
                <a:lnTo>
                  <a:pt x="460" y="360"/>
                </a:lnTo>
                <a:lnTo>
                  <a:pt x="454" y="364"/>
                </a:lnTo>
                <a:lnTo>
                  <a:pt x="446" y="366"/>
                </a:lnTo>
                <a:lnTo>
                  <a:pt x="454" y="368"/>
                </a:lnTo>
                <a:lnTo>
                  <a:pt x="464" y="372"/>
                </a:lnTo>
                <a:lnTo>
                  <a:pt x="468" y="376"/>
                </a:lnTo>
                <a:lnTo>
                  <a:pt x="472" y="380"/>
                </a:lnTo>
                <a:lnTo>
                  <a:pt x="474" y="388"/>
                </a:lnTo>
                <a:lnTo>
                  <a:pt x="476" y="398"/>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36" y="278"/>
                </a:moveTo>
                <a:lnTo>
                  <a:pt x="536" y="486"/>
                </a:lnTo>
                <a:lnTo>
                  <a:pt x="534" y="496"/>
                </a:lnTo>
                <a:lnTo>
                  <a:pt x="532" y="506"/>
                </a:lnTo>
                <a:lnTo>
                  <a:pt x="528" y="514"/>
                </a:lnTo>
                <a:lnTo>
                  <a:pt x="522" y="520"/>
                </a:lnTo>
                <a:lnTo>
                  <a:pt x="514" y="526"/>
                </a:lnTo>
                <a:lnTo>
                  <a:pt x="506" y="532"/>
                </a:lnTo>
                <a:lnTo>
                  <a:pt x="496" y="534"/>
                </a:lnTo>
                <a:lnTo>
                  <a:pt x="486" y="536"/>
                </a:lnTo>
                <a:lnTo>
                  <a:pt x="242" y="536"/>
                </a:lnTo>
                <a:lnTo>
                  <a:pt x="232" y="534"/>
                </a:lnTo>
                <a:lnTo>
                  <a:pt x="224" y="532"/>
                </a:lnTo>
                <a:lnTo>
                  <a:pt x="216" y="526"/>
                </a:lnTo>
                <a:lnTo>
                  <a:pt x="208" y="520"/>
                </a:lnTo>
                <a:lnTo>
                  <a:pt x="202" y="514"/>
                </a:lnTo>
                <a:lnTo>
                  <a:pt x="198" y="506"/>
                </a:lnTo>
                <a:lnTo>
                  <a:pt x="194" y="496"/>
                </a:lnTo>
                <a:lnTo>
                  <a:pt x="194" y="486"/>
                </a:lnTo>
                <a:lnTo>
                  <a:pt x="194" y="242"/>
                </a:lnTo>
                <a:lnTo>
                  <a:pt x="194" y="232"/>
                </a:lnTo>
                <a:lnTo>
                  <a:pt x="198" y="224"/>
                </a:lnTo>
                <a:lnTo>
                  <a:pt x="202" y="214"/>
                </a:lnTo>
                <a:lnTo>
                  <a:pt x="208" y="208"/>
                </a:lnTo>
                <a:lnTo>
                  <a:pt x="216" y="202"/>
                </a:lnTo>
                <a:lnTo>
                  <a:pt x="224" y="198"/>
                </a:lnTo>
                <a:lnTo>
                  <a:pt x="232" y="194"/>
                </a:lnTo>
                <a:lnTo>
                  <a:pt x="242" y="194"/>
                </a:lnTo>
                <a:lnTo>
                  <a:pt x="452" y="194"/>
                </a:lnTo>
                <a:lnTo>
                  <a:pt x="454" y="180"/>
                </a:lnTo>
                <a:lnTo>
                  <a:pt x="460" y="170"/>
                </a:lnTo>
                <a:lnTo>
                  <a:pt x="466" y="158"/>
                </a:lnTo>
                <a:lnTo>
                  <a:pt x="476" y="150"/>
                </a:lnTo>
                <a:lnTo>
                  <a:pt x="486" y="142"/>
                </a:lnTo>
                <a:lnTo>
                  <a:pt x="498" y="138"/>
                </a:lnTo>
                <a:lnTo>
                  <a:pt x="510" y="134"/>
                </a:lnTo>
                <a:lnTo>
                  <a:pt x="522" y="132"/>
                </a:lnTo>
                <a:lnTo>
                  <a:pt x="538" y="134"/>
                </a:lnTo>
                <a:lnTo>
                  <a:pt x="552" y="138"/>
                </a:lnTo>
                <a:lnTo>
                  <a:pt x="564" y="146"/>
                </a:lnTo>
                <a:lnTo>
                  <a:pt x="574" y="154"/>
                </a:lnTo>
                <a:lnTo>
                  <a:pt x="584" y="164"/>
                </a:lnTo>
                <a:lnTo>
                  <a:pt x="590" y="178"/>
                </a:lnTo>
                <a:lnTo>
                  <a:pt x="594" y="190"/>
                </a:lnTo>
                <a:lnTo>
                  <a:pt x="596" y="206"/>
                </a:lnTo>
                <a:lnTo>
                  <a:pt x="594" y="218"/>
                </a:lnTo>
                <a:lnTo>
                  <a:pt x="592" y="230"/>
                </a:lnTo>
                <a:lnTo>
                  <a:pt x="586" y="242"/>
                </a:lnTo>
                <a:lnTo>
                  <a:pt x="578" y="252"/>
                </a:lnTo>
                <a:lnTo>
                  <a:pt x="570" y="262"/>
                </a:lnTo>
                <a:lnTo>
                  <a:pt x="560" y="268"/>
                </a:lnTo>
                <a:lnTo>
                  <a:pt x="548" y="274"/>
                </a:lnTo>
                <a:lnTo>
                  <a:pt x="536" y="278"/>
                </a:lnTo>
                <a:close/>
                <a:moveTo>
                  <a:pt x="424" y="308"/>
                </a:moveTo>
                <a:lnTo>
                  <a:pt x="410" y="308"/>
                </a:lnTo>
                <a:lnTo>
                  <a:pt x="410" y="354"/>
                </a:lnTo>
                <a:lnTo>
                  <a:pt x="424" y="354"/>
                </a:lnTo>
                <a:lnTo>
                  <a:pt x="430" y="352"/>
                </a:lnTo>
                <a:lnTo>
                  <a:pt x="432" y="350"/>
                </a:lnTo>
                <a:lnTo>
                  <a:pt x="438" y="346"/>
                </a:lnTo>
                <a:lnTo>
                  <a:pt x="440" y="338"/>
                </a:lnTo>
                <a:lnTo>
                  <a:pt x="442" y="330"/>
                </a:lnTo>
                <a:lnTo>
                  <a:pt x="440" y="320"/>
                </a:lnTo>
                <a:lnTo>
                  <a:pt x="438" y="312"/>
                </a:lnTo>
                <a:lnTo>
                  <a:pt x="432" y="308"/>
                </a:lnTo>
                <a:lnTo>
                  <a:pt x="424" y="308"/>
                </a:lnTo>
                <a:close/>
                <a:moveTo>
                  <a:pt x="536" y="154"/>
                </a:moveTo>
                <a:lnTo>
                  <a:pt x="510" y="154"/>
                </a:lnTo>
                <a:lnTo>
                  <a:pt x="510" y="192"/>
                </a:lnTo>
                <a:lnTo>
                  <a:pt x="472" y="192"/>
                </a:lnTo>
                <a:lnTo>
                  <a:pt x="472" y="218"/>
                </a:lnTo>
                <a:lnTo>
                  <a:pt x="510" y="218"/>
                </a:lnTo>
                <a:lnTo>
                  <a:pt x="510" y="256"/>
                </a:lnTo>
                <a:lnTo>
                  <a:pt x="536" y="256"/>
                </a:lnTo>
                <a:lnTo>
                  <a:pt x="536" y="218"/>
                </a:lnTo>
                <a:lnTo>
                  <a:pt x="574" y="218"/>
                </a:lnTo>
                <a:lnTo>
                  <a:pt x="574" y="192"/>
                </a:lnTo>
                <a:lnTo>
                  <a:pt x="536" y="192"/>
                </a:lnTo>
                <a:lnTo>
                  <a:pt x="536" y="1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43" name="Freeform 133"/>
          <p:cNvSpPr>
            <a:spLocks noEditPoints="1"/>
          </p:cNvSpPr>
          <p:nvPr userDrawn="1"/>
        </p:nvSpPr>
        <p:spPr bwMode="auto">
          <a:xfrm>
            <a:off x="12105049"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2 w 726"/>
              <a:gd name="T27" fmla="*/ 552 h 726"/>
              <a:gd name="T28" fmla="*/ 326 w 726"/>
              <a:gd name="T29" fmla="*/ 536 h 726"/>
              <a:gd name="T30" fmla="*/ 312 w 726"/>
              <a:gd name="T31" fmla="*/ 502 h 726"/>
              <a:gd name="T32" fmla="*/ 334 w 726"/>
              <a:gd name="T33" fmla="*/ 460 h 726"/>
              <a:gd name="T34" fmla="*/ 372 w 726"/>
              <a:gd name="T35" fmla="*/ 454 h 726"/>
              <a:gd name="T36" fmla="*/ 406 w 726"/>
              <a:gd name="T37" fmla="*/ 482 h 726"/>
              <a:gd name="T38" fmla="*/ 406 w 726"/>
              <a:gd name="T39" fmla="*/ 520 h 726"/>
              <a:gd name="T40" fmla="*/ 372 w 726"/>
              <a:gd name="T41" fmla="*/ 550 h 726"/>
              <a:gd name="T42" fmla="*/ 452 w 726"/>
              <a:gd name="T43" fmla="*/ 416 h 726"/>
              <a:gd name="T44" fmla="*/ 404 w 726"/>
              <a:gd name="T45" fmla="*/ 402 h 726"/>
              <a:gd name="T46" fmla="*/ 320 w 726"/>
              <a:gd name="T47" fmla="*/ 402 h 726"/>
              <a:gd name="T48" fmla="*/ 274 w 726"/>
              <a:gd name="T49" fmla="*/ 418 h 726"/>
              <a:gd name="T50" fmla="*/ 262 w 726"/>
              <a:gd name="T51" fmla="*/ 402 h 726"/>
              <a:gd name="T52" fmla="*/ 314 w 726"/>
              <a:gd name="T53" fmla="*/ 378 h 726"/>
              <a:gd name="T54" fmla="*/ 408 w 726"/>
              <a:gd name="T55" fmla="*/ 378 h 726"/>
              <a:gd name="T56" fmla="*/ 460 w 726"/>
              <a:gd name="T57" fmla="*/ 402 h 726"/>
              <a:gd name="T58" fmla="*/ 492 w 726"/>
              <a:gd name="T59" fmla="*/ 360 h 726"/>
              <a:gd name="T60" fmla="*/ 452 w 726"/>
              <a:gd name="T61" fmla="*/ 348 h 726"/>
              <a:gd name="T62" fmla="*/ 330 w 726"/>
              <a:gd name="T63" fmla="*/ 334 h 726"/>
              <a:gd name="T64" fmla="*/ 238 w 726"/>
              <a:gd name="T65" fmla="*/ 364 h 726"/>
              <a:gd name="T66" fmla="*/ 224 w 726"/>
              <a:gd name="T67" fmla="*/ 352 h 726"/>
              <a:gd name="T68" fmla="*/ 262 w 726"/>
              <a:gd name="T69" fmla="*/ 326 h 726"/>
              <a:gd name="T70" fmla="*/ 396 w 726"/>
              <a:gd name="T71" fmla="*/ 310 h 726"/>
              <a:gd name="T72" fmla="*/ 492 w 726"/>
              <a:gd name="T73" fmla="*/ 340 h 726"/>
              <a:gd name="T74" fmla="*/ 534 w 726"/>
              <a:gd name="T75" fmla="*/ 304 h 726"/>
              <a:gd name="T76" fmla="*/ 516 w 726"/>
              <a:gd name="T77" fmla="*/ 308 h 726"/>
              <a:gd name="T78" fmla="*/ 442 w 726"/>
              <a:gd name="T79" fmla="*/ 278 h 726"/>
              <a:gd name="T80" fmla="*/ 362 w 726"/>
              <a:gd name="T81" fmla="*/ 266 h 726"/>
              <a:gd name="T82" fmla="*/ 262 w 726"/>
              <a:gd name="T83" fmla="*/ 284 h 726"/>
              <a:gd name="T84" fmla="*/ 200 w 726"/>
              <a:gd name="T85" fmla="*/ 310 h 726"/>
              <a:gd name="T86" fmla="*/ 188 w 726"/>
              <a:gd name="T87" fmla="*/ 300 h 726"/>
              <a:gd name="T88" fmla="*/ 214 w 726"/>
              <a:gd name="T89" fmla="*/ 276 h 726"/>
              <a:gd name="T90" fmla="*/ 318 w 726"/>
              <a:gd name="T91" fmla="*/ 246 h 726"/>
              <a:gd name="T92" fmla="*/ 406 w 726"/>
              <a:gd name="T93" fmla="*/ 246 h 726"/>
              <a:gd name="T94" fmla="*/ 510 w 726"/>
              <a:gd name="T95" fmla="*/ 276 h 726"/>
              <a:gd name="T96" fmla="*/ 534 w 726"/>
              <a:gd name="T97" fmla="*/ 300 h 726"/>
              <a:gd name="T98" fmla="*/ 562 w 726"/>
              <a:gd name="T99" fmla="*/ 256 h 726"/>
              <a:gd name="T100" fmla="*/ 508 w 726"/>
              <a:gd name="T101" fmla="*/ 232 h 726"/>
              <a:gd name="T102" fmla="*/ 388 w 726"/>
              <a:gd name="T103" fmla="*/ 204 h 726"/>
              <a:gd name="T104" fmla="*/ 286 w 726"/>
              <a:gd name="T105" fmla="*/ 210 h 726"/>
              <a:gd name="T106" fmla="*/ 170 w 726"/>
              <a:gd name="T107" fmla="*/ 254 h 726"/>
              <a:gd name="T108" fmla="*/ 156 w 726"/>
              <a:gd name="T109" fmla="*/ 254 h 726"/>
              <a:gd name="T110" fmla="*/ 152 w 726"/>
              <a:gd name="T111" fmla="*/ 236 h 726"/>
              <a:gd name="T112" fmla="*/ 228 w 726"/>
              <a:gd name="T113" fmla="*/ 200 h 726"/>
              <a:gd name="T114" fmla="*/ 362 w 726"/>
              <a:gd name="T115" fmla="*/ 178 h 726"/>
              <a:gd name="T116" fmla="*/ 468 w 726"/>
              <a:gd name="T117" fmla="*/ 192 h 726"/>
              <a:gd name="T118" fmla="*/ 566 w 726"/>
              <a:gd name="T119" fmla="*/ 23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2" y="552"/>
                </a:moveTo>
                <a:lnTo>
                  <a:pt x="362" y="552"/>
                </a:lnTo>
                <a:lnTo>
                  <a:pt x="352" y="550"/>
                </a:lnTo>
                <a:lnTo>
                  <a:pt x="342" y="548"/>
                </a:lnTo>
                <a:lnTo>
                  <a:pt x="334" y="542"/>
                </a:lnTo>
                <a:lnTo>
                  <a:pt x="326" y="536"/>
                </a:lnTo>
                <a:lnTo>
                  <a:pt x="320" y="530"/>
                </a:lnTo>
                <a:lnTo>
                  <a:pt x="316" y="520"/>
                </a:lnTo>
                <a:lnTo>
                  <a:pt x="312" y="512"/>
                </a:lnTo>
                <a:lnTo>
                  <a:pt x="312" y="502"/>
                </a:lnTo>
                <a:lnTo>
                  <a:pt x="312" y="492"/>
                </a:lnTo>
                <a:lnTo>
                  <a:pt x="316" y="482"/>
                </a:lnTo>
                <a:lnTo>
                  <a:pt x="320" y="474"/>
                </a:lnTo>
                <a:lnTo>
                  <a:pt x="326" y="466"/>
                </a:lnTo>
                <a:lnTo>
                  <a:pt x="334" y="460"/>
                </a:lnTo>
                <a:lnTo>
                  <a:pt x="342" y="456"/>
                </a:lnTo>
                <a:lnTo>
                  <a:pt x="352" y="454"/>
                </a:lnTo>
                <a:lnTo>
                  <a:pt x="362" y="452"/>
                </a:lnTo>
                <a:lnTo>
                  <a:pt x="372" y="454"/>
                </a:lnTo>
                <a:lnTo>
                  <a:pt x="380" y="456"/>
                </a:lnTo>
                <a:lnTo>
                  <a:pt x="388" y="460"/>
                </a:lnTo>
                <a:lnTo>
                  <a:pt x="396" y="466"/>
                </a:lnTo>
                <a:lnTo>
                  <a:pt x="402" y="474"/>
                </a:lnTo>
                <a:lnTo>
                  <a:pt x="406" y="482"/>
                </a:lnTo>
                <a:lnTo>
                  <a:pt x="410" y="492"/>
                </a:lnTo>
                <a:lnTo>
                  <a:pt x="410" y="502"/>
                </a:lnTo>
                <a:lnTo>
                  <a:pt x="410" y="512"/>
                </a:lnTo>
                <a:lnTo>
                  <a:pt x="406" y="520"/>
                </a:lnTo>
                <a:lnTo>
                  <a:pt x="402" y="530"/>
                </a:lnTo>
                <a:lnTo>
                  <a:pt x="396" y="536"/>
                </a:lnTo>
                <a:lnTo>
                  <a:pt x="388" y="542"/>
                </a:lnTo>
                <a:lnTo>
                  <a:pt x="380" y="548"/>
                </a:lnTo>
                <a:lnTo>
                  <a:pt x="372" y="550"/>
                </a:lnTo>
                <a:lnTo>
                  <a:pt x="362" y="552"/>
                </a:lnTo>
                <a:close/>
                <a:moveTo>
                  <a:pt x="460" y="410"/>
                </a:moveTo>
                <a:lnTo>
                  <a:pt x="460" y="410"/>
                </a:lnTo>
                <a:lnTo>
                  <a:pt x="456" y="414"/>
                </a:lnTo>
                <a:lnTo>
                  <a:pt x="452" y="416"/>
                </a:lnTo>
                <a:lnTo>
                  <a:pt x="448" y="418"/>
                </a:lnTo>
                <a:lnTo>
                  <a:pt x="442" y="416"/>
                </a:lnTo>
                <a:lnTo>
                  <a:pt x="424" y="408"/>
                </a:lnTo>
                <a:lnTo>
                  <a:pt x="404" y="402"/>
                </a:lnTo>
                <a:lnTo>
                  <a:pt x="382" y="398"/>
                </a:lnTo>
                <a:lnTo>
                  <a:pt x="362" y="396"/>
                </a:lnTo>
                <a:lnTo>
                  <a:pt x="340" y="398"/>
                </a:lnTo>
                <a:lnTo>
                  <a:pt x="320" y="402"/>
                </a:lnTo>
                <a:lnTo>
                  <a:pt x="300" y="408"/>
                </a:lnTo>
                <a:lnTo>
                  <a:pt x="280" y="416"/>
                </a:lnTo>
                <a:lnTo>
                  <a:pt x="274" y="418"/>
                </a:lnTo>
                <a:lnTo>
                  <a:pt x="268" y="416"/>
                </a:lnTo>
                <a:lnTo>
                  <a:pt x="264" y="410"/>
                </a:lnTo>
                <a:lnTo>
                  <a:pt x="262" y="406"/>
                </a:lnTo>
                <a:lnTo>
                  <a:pt x="262" y="402"/>
                </a:lnTo>
                <a:lnTo>
                  <a:pt x="264" y="398"/>
                </a:lnTo>
                <a:lnTo>
                  <a:pt x="268" y="394"/>
                </a:lnTo>
                <a:lnTo>
                  <a:pt x="290" y="384"/>
                </a:lnTo>
                <a:lnTo>
                  <a:pt x="314" y="378"/>
                </a:lnTo>
                <a:lnTo>
                  <a:pt x="338" y="372"/>
                </a:lnTo>
                <a:lnTo>
                  <a:pt x="362" y="372"/>
                </a:lnTo>
                <a:lnTo>
                  <a:pt x="386" y="372"/>
                </a:lnTo>
                <a:lnTo>
                  <a:pt x="408" y="378"/>
                </a:lnTo>
                <a:lnTo>
                  <a:pt x="432" y="384"/>
                </a:lnTo>
                <a:lnTo>
                  <a:pt x="454" y="394"/>
                </a:lnTo>
                <a:lnTo>
                  <a:pt x="458" y="398"/>
                </a:lnTo>
                <a:lnTo>
                  <a:pt x="460" y="402"/>
                </a:lnTo>
                <a:lnTo>
                  <a:pt x="460" y="406"/>
                </a:lnTo>
                <a:lnTo>
                  <a:pt x="460" y="410"/>
                </a:lnTo>
                <a:close/>
                <a:moveTo>
                  <a:pt x="496" y="358"/>
                </a:moveTo>
                <a:lnTo>
                  <a:pt x="496" y="358"/>
                </a:lnTo>
                <a:lnTo>
                  <a:pt x="492" y="360"/>
                </a:lnTo>
                <a:lnTo>
                  <a:pt x="488" y="364"/>
                </a:lnTo>
                <a:lnTo>
                  <a:pt x="484" y="364"/>
                </a:lnTo>
                <a:lnTo>
                  <a:pt x="480" y="362"/>
                </a:lnTo>
                <a:lnTo>
                  <a:pt x="452" y="348"/>
                </a:lnTo>
                <a:lnTo>
                  <a:pt x="422" y="340"/>
                </a:lnTo>
                <a:lnTo>
                  <a:pt x="392" y="334"/>
                </a:lnTo>
                <a:lnTo>
                  <a:pt x="362" y="332"/>
                </a:lnTo>
                <a:lnTo>
                  <a:pt x="330" y="334"/>
                </a:lnTo>
                <a:lnTo>
                  <a:pt x="300" y="340"/>
                </a:lnTo>
                <a:lnTo>
                  <a:pt x="272" y="348"/>
                </a:lnTo>
                <a:lnTo>
                  <a:pt x="244" y="362"/>
                </a:lnTo>
                <a:lnTo>
                  <a:pt x="238" y="364"/>
                </a:lnTo>
                <a:lnTo>
                  <a:pt x="230" y="362"/>
                </a:lnTo>
                <a:lnTo>
                  <a:pt x="226" y="358"/>
                </a:lnTo>
                <a:lnTo>
                  <a:pt x="224" y="352"/>
                </a:lnTo>
                <a:lnTo>
                  <a:pt x="226" y="348"/>
                </a:lnTo>
                <a:lnTo>
                  <a:pt x="228" y="344"/>
                </a:lnTo>
                <a:lnTo>
                  <a:pt x="232" y="340"/>
                </a:lnTo>
                <a:lnTo>
                  <a:pt x="262" y="326"/>
                </a:lnTo>
                <a:lnTo>
                  <a:pt x="294" y="316"/>
                </a:lnTo>
                <a:lnTo>
                  <a:pt x="328" y="310"/>
                </a:lnTo>
                <a:lnTo>
                  <a:pt x="362" y="306"/>
                </a:lnTo>
                <a:lnTo>
                  <a:pt x="396" y="310"/>
                </a:lnTo>
                <a:lnTo>
                  <a:pt x="428" y="316"/>
                </a:lnTo>
                <a:lnTo>
                  <a:pt x="460" y="326"/>
                </a:lnTo>
                <a:lnTo>
                  <a:pt x="492" y="340"/>
                </a:lnTo>
                <a:lnTo>
                  <a:pt x="496" y="344"/>
                </a:lnTo>
                <a:lnTo>
                  <a:pt x="498" y="348"/>
                </a:lnTo>
                <a:lnTo>
                  <a:pt x="498" y="352"/>
                </a:lnTo>
                <a:lnTo>
                  <a:pt x="496" y="358"/>
                </a:lnTo>
                <a:close/>
                <a:moveTo>
                  <a:pt x="534" y="304"/>
                </a:moveTo>
                <a:lnTo>
                  <a:pt x="534" y="304"/>
                </a:lnTo>
                <a:lnTo>
                  <a:pt x="530" y="308"/>
                </a:lnTo>
                <a:lnTo>
                  <a:pt x="526" y="310"/>
                </a:lnTo>
                <a:lnTo>
                  <a:pt x="522" y="310"/>
                </a:lnTo>
                <a:lnTo>
                  <a:pt x="516" y="308"/>
                </a:lnTo>
                <a:lnTo>
                  <a:pt x="498" y="298"/>
                </a:lnTo>
                <a:lnTo>
                  <a:pt x="480" y="290"/>
                </a:lnTo>
                <a:lnTo>
                  <a:pt x="460" y="284"/>
                </a:lnTo>
                <a:lnTo>
                  <a:pt x="442" y="278"/>
                </a:lnTo>
                <a:lnTo>
                  <a:pt x="422" y="272"/>
                </a:lnTo>
                <a:lnTo>
                  <a:pt x="402" y="270"/>
                </a:lnTo>
                <a:lnTo>
                  <a:pt x="382" y="268"/>
                </a:lnTo>
                <a:lnTo>
                  <a:pt x="362" y="266"/>
                </a:lnTo>
                <a:lnTo>
                  <a:pt x="340" y="268"/>
                </a:lnTo>
                <a:lnTo>
                  <a:pt x="320" y="270"/>
                </a:lnTo>
                <a:lnTo>
                  <a:pt x="300" y="272"/>
                </a:lnTo>
                <a:lnTo>
                  <a:pt x="280" y="278"/>
                </a:lnTo>
                <a:lnTo>
                  <a:pt x="262" y="284"/>
                </a:lnTo>
                <a:lnTo>
                  <a:pt x="242" y="290"/>
                </a:lnTo>
                <a:lnTo>
                  <a:pt x="224" y="298"/>
                </a:lnTo>
                <a:lnTo>
                  <a:pt x="206" y="308"/>
                </a:lnTo>
                <a:lnTo>
                  <a:pt x="200" y="310"/>
                </a:lnTo>
                <a:lnTo>
                  <a:pt x="194" y="308"/>
                </a:lnTo>
                <a:lnTo>
                  <a:pt x="190" y="304"/>
                </a:lnTo>
                <a:lnTo>
                  <a:pt x="188" y="300"/>
                </a:lnTo>
                <a:lnTo>
                  <a:pt x="188" y="294"/>
                </a:lnTo>
                <a:lnTo>
                  <a:pt x="190" y="290"/>
                </a:lnTo>
                <a:lnTo>
                  <a:pt x="194" y="286"/>
                </a:lnTo>
                <a:lnTo>
                  <a:pt x="214" y="276"/>
                </a:lnTo>
                <a:lnTo>
                  <a:pt x="234" y="268"/>
                </a:lnTo>
                <a:lnTo>
                  <a:pt x="254" y="260"/>
                </a:lnTo>
                <a:lnTo>
                  <a:pt x="274" y="254"/>
                </a:lnTo>
                <a:lnTo>
                  <a:pt x="296" y="248"/>
                </a:lnTo>
                <a:lnTo>
                  <a:pt x="318" y="246"/>
                </a:lnTo>
                <a:lnTo>
                  <a:pt x="340" y="242"/>
                </a:lnTo>
                <a:lnTo>
                  <a:pt x="362" y="242"/>
                </a:lnTo>
                <a:lnTo>
                  <a:pt x="384" y="242"/>
                </a:lnTo>
                <a:lnTo>
                  <a:pt x="406" y="246"/>
                </a:lnTo>
                <a:lnTo>
                  <a:pt x="426" y="248"/>
                </a:lnTo>
                <a:lnTo>
                  <a:pt x="448" y="254"/>
                </a:lnTo>
                <a:lnTo>
                  <a:pt x="468" y="260"/>
                </a:lnTo>
                <a:lnTo>
                  <a:pt x="490" y="268"/>
                </a:lnTo>
                <a:lnTo>
                  <a:pt x="510" y="276"/>
                </a:lnTo>
                <a:lnTo>
                  <a:pt x="528" y="286"/>
                </a:lnTo>
                <a:lnTo>
                  <a:pt x="532" y="290"/>
                </a:lnTo>
                <a:lnTo>
                  <a:pt x="534" y="294"/>
                </a:lnTo>
                <a:lnTo>
                  <a:pt x="534" y="300"/>
                </a:lnTo>
                <a:lnTo>
                  <a:pt x="534" y="304"/>
                </a:lnTo>
                <a:close/>
                <a:moveTo>
                  <a:pt x="570" y="250"/>
                </a:moveTo>
                <a:lnTo>
                  <a:pt x="570" y="250"/>
                </a:lnTo>
                <a:lnTo>
                  <a:pt x="568" y="254"/>
                </a:lnTo>
                <a:lnTo>
                  <a:pt x="562" y="256"/>
                </a:lnTo>
                <a:lnTo>
                  <a:pt x="558" y="256"/>
                </a:lnTo>
                <a:lnTo>
                  <a:pt x="554" y="254"/>
                </a:lnTo>
                <a:lnTo>
                  <a:pt x="532" y="242"/>
                </a:lnTo>
                <a:lnTo>
                  <a:pt x="508" y="232"/>
                </a:lnTo>
                <a:lnTo>
                  <a:pt x="486" y="224"/>
                </a:lnTo>
                <a:lnTo>
                  <a:pt x="462" y="216"/>
                </a:lnTo>
                <a:lnTo>
                  <a:pt x="438" y="210"/>
                </a:lnTo>
                <a:lnTo>
                  <a:pt x="412" y="206"/>
                </a:lnTo>
                <a:lnTo>
                  <a:pt x="388" y="204"/>
                </a:lnTo>
                <a:lnTo>
                  <a:pt x="362" y="202"/>
                </a:lnTo>
                <a:lnTo>
                  <a:pt x="336" y="204"/>
                </a:lnTo>
                <a:lnTo>
                  <a:pt x="310" y="206"/>
                </a:lnTo>
                <a:lnTo>
                  <a:pt x="286" y="210"/>
                </a:lnTo>
                <a:lnTo>
                  <a:pt x="260" y="216"/>
                </a:lnTo>
                <a:lnTo>
                  <a:pt x="236" y="224"/>
                </a:lnTo>
                <a:lnTo>
                  <a:pt x="214" y="232"/>
                </a:lnTo>
                <a:lnTo>
                  <a:pt x="190" y="242"/>
                </a:lnTo>
                <a:lnTo>
                  <a:pt x="170" y="254"/>
                </a:lnTo>
                <a:lnTo>
                  <a:pt x="162" y="256"/>
                </a:lnTo>
                <a:lnTo>
                  <a:pt x="156" y="254"/>
                </a:lnTo>
                <a:lnTo>
                  <a:pt x="152" y="250"/>
                </a:lnTo>
                <a:lnTo>
                  <a:pt x="150" y="246"/>
                </a:lnTo>
                <a:lnTo>
                  <a:pt x="150" y="240"/>
                </a:lnTo>
                <a:lnTo>
                  <a:pt x="152" y="236"/>
                </a:lnTo>
                <a:lnTo>
                  <a:pt x="156" y="234"/>
                </a:lnTo>
                <a:lnTo>
                  <a:pt x="180" y="220"/>
                </a:lnTo>
                <a:lnTo>
                  <a:pt x="204" y="210"/>
                </a:lnTo>
                <a:lnTo>
                  <a:pt x="228" y="200"/>
                </a:lnTo>
                <a:lnTo>
                  <a:pt x="254" y="192"/>
                </a:lnTo>
                <a:lnTo>
                  <a:pt x="280" y="186"/>
                </a:lnTo>
                <a:lnTo>
                  <a:pt x="306" y="182"/>
                </a:lnTo>
                <a:lnTo>
                  <a:pt x="334" y="178"/>
                </a:lnTo>
                <a:lnTo>
                  <a:pt x="362" y="178"/>
                </a:lnTo>
                <a:lnTo>
                  <a:pt x="388" y="178"/>
                </a:lnTo>
                <a:lnTo>
                  <a:pt x="416" y="182"/>
                </a:lnTo>
                <a:lnTo>
                  <a:pt x="442" y="186"/>
                </a:lnTo>
                <a:lnTo>
                  <a:pt x="468" y="192"/>
                </a:lnTo>
                <a:lnTo>
                  <a:pt x="494" y="200"/>
                </a:lnTo>
                <a:lnTo>
                  <a:pt x="518" y="210"/>
                </a:lnTo>
                <a:lnTo>
                  <a:pt x="542" y="220"/>
                </a:lnTo>
                <a:lnTo>
                  <a:pt x="566" y="234"/>
                </a:lnTo>
                <a:lnTo>
                  <a:pt x="570" y="236"/>
                </a:lnTo>
                <a:lnTo>
                  <a:pt x="572" y="240"/>
                </a:lnTo>
                <a:lnTo>
                  <a:pt x="572" y="246"/>
                </a:lnTo>
                <a:lnTo>
                  <a:pt x="570" y="25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53" name="TextBox 27"/>
          <p:cNvSpPr txBox="1">
            <a:spLocks noChangeArrowheads="1"/>
          </p:cNvSpPr>
          <p:nvPr userDrawn="1"/>
        </p:nvSpPr>
        <p:spPr bwMode="auto">
          <a:xfrm>
            <a:off x="307434" y="2174001"/>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ugmented</a:t>
            </a:r>
            <a:r>
              <a:rPr lang="en-GB" altLang="en-US" sz="900" baseline="0" dirty="0">
                <a:solidFill>
                  <a:schemeClr val="bg1"/>
                </a:solidFill>
              </a:rPr>
              <a:t> reality</a:t>
            </a:r>
            <a:endParaRPr lang="en-GB" altLang="en-US" sz="900" dirty="0">
              <a:solidFill>
                <a:schemeClr val="bg1"/>
              </a:solidFill>
            </a:endParaRPr>
          </a:p>
        </p:txBody>
      </p:sp>
      <p:sp>
        <p:nvSpPr>
          <p:cNvPr id="54" name="TextBox 27"/>
          <p:cNvSpPr txBox="1">
            <a:spLocks noChangeArrowheads="1"/>
          </p:cNvSpPr>
          <p:nvPr userDrawn="1"/>
        </p:nvSpPr>
        <p:spPr bwMode="auto">
          <a:xfrm>
            <a:off x="1628856" y="2175518"/>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a:t>
            </a:r>
            <a:endParaRPr lang="en-GB" altLang="en-US" sz="900" dirty="0">
              <a:solidFill>
                <a:schemeClr val="bg1"/>
              </a:solidFill>
            </a:endParaRPr>
          </a:p>
        </p:txBody>
      </p:sp>
      <p:sp>
        <p:nvSpPr>
          <p:cNvPr id="55" name="TextBox 27"/>
          <p:cNvSpPr txBox="1">
            <a:spLocks noChangeArrowheads="1"/>
          </p:cNvSpPr>
          <p:nvPr userDrawn="1"/>
        </p:nvSpPr>
        <p:spPr bwMode="auto">
          <a:xfrm>
            <a:off x="2872356" y="2177340"/>
            <a:ext cx="115470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 with phone</a:t>
            </a:r>
            <a:endParaRPr lang="en-GB" altLang="en-US" sz="900" dirty="0">
              <a:solidFill>
                <a:schemeClr val="bg1"/>
              </a:solidFill>
            </a:endParaRPr>
          </a:p>
        </p:txBody>
      </p:sp>
      <p:sp>
        <p:nvSpPr>
          <p:cNvPr id="56" name="TextBox 27"/>
          <p:cNvSpPr txBox="1">
            <a:spLocks noChangeArrowheads="1"/>
          </p:cNvSpPr>
          <p:nvPr userDrawn="1"/>
        </p:nvSpPr>
        <p:spPr bwMode="auto">
          <a:xfrm>
            <a:off x="4284077" y="2179626"/>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QR code</a:t>
            </a:r>
            <a:endParaRPr lang="en-GB" altLang="en-US" sz="900" dirty="0">
              <a:solidFill>
                <a:schemeClr val="bg1"/>
              </a:solidFill>
            </a:endParaRPr>
          </a:p>
        </p:txBody>
      </p:sp>
      <p:sp>
        <p:nvSpPr>
          <p:cNvPr id="57" name="TextBox 27"/>
          <p:cNvSpPr txBox="1">
            <a:spLocks noChangeArrowheads="1"/>
          </p:cNvSpPr>
          <p:nvPr userDrawn="1"/>
        </p:nvSpPr>
        <p:spPr bwMode="auto">
          <a:xfrm>
            <a:off x="5596238" y="2181420"/>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obile Phone</a:t>
            </a:r>
            <a:endParaRPr lang="en-GB" altLang="en-US" sz="900" dirty="0">
              <a:solidFill>
                <a:schemeClr val="bg1"/>
              </a:solidFill>
            </a:endParaRPr>
          </a:p>
        </p:txBody>
      </p:sp>
      <p:sp>
        <p:nvSpPr>
          <p:cNvPr id="58" name="TextBox 27"/>
          <p:cNvSpPr txBox="1">
            <a:spLocks noChangeArrowheads="1"/>
          </p:cNvSpPr>
          <p:nvPr userDrawn="1"/>
        </p:nvSpPr>
        <p:spPr bwMode="auto">
          <a:xfrm>
            <a:off x="6918399" y="2182197"/>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NFC</a:t>
            </a:r>
            <a:endParaRPr lang="en-GB" altLang="en-US" sz="900" dirty="0">
              <a:solidFill>
                <a:schemeClr val="bg1"/>
              </a:solidFill>
            </a:endParaRPr>
          </a:p>
        </p:txBody>
      </p:sp>
      <p:sp>
        <p:nvSpPr>
          <p:cNvPr id="59" name="TextBox 27"/>
          <p:cNvSpPr txBox="1">
            <a:spLocks noChangeArrowheads="1"/>
          </p:cNvSpPr>
          <p:nvPr userDrawn="1"/>
        </p:nvSpPr>
        <p:spPr bwMode="auto">
          <a:xfrm>
            <a:off x="8223653" y="2181420"/>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ve</a:t>
            </a:r>
            <a:endParaRPr lang="en-GB" altLang="en-US" sz="900" dirty="0">
              <a:solidFill>
                <a:schemeClr val="bg1"/>
              </a:solidFill>
            </a:endParaRPr>
          </a:p>
        </p:txBody>
      </p:sp>
      <p:sp>
        <p:nvSpPr>
          <p:cNvPr id="60" name="TextBox 27"/>
          <p:cNvSpPr txBox="1">
            <a:spLocks noChangeArrowheads="1"/>
          </p:cNvSpPr>
          <p:nvPr userDrawn="1"/>
        </p:nvSpPr>
        <p:spPr bwMode="auto">
          <a:xfrm>
            <a:off x="9544175" y="2180612"/>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On screen</a:t>
            </a:r>
            <a:endParaRPr lang="en-GB" altLang="en-US" sz="900" dirty="0">
              <a:solidFill>
                <a:schemeClr val="bg1"/>
              </a:solidFill>
            </a:endParaRPr>
          </a:p>
        </p:txBody>
      </p:sp>
      <p:sp>
        <p:nvSpPr>
          <p:cNvPr id="61" name="TextBox 27"/>
          <p:cNvSpPr txBox="1">
            <a:spLocks noChangeArrowheads="1"/>
          </p:cNvSpPr>
          <p:nvPr userDrawn="1"/>
        </p:nvSpPr>
        <p:spPr bwMode="auto">
          <a:xfrm>
            <a:off x="10864697" y="2177340"/>
            <a:ext cx="9346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nline</a:t>
            </a:r>
          </a:p>
        </p:txBody>
      </p:sp>
      <p:sp>
        <p:nvSpPr>
          <p:cNvPr id="62" name="TextBox 27"/>
          <p:cNvSpPr txBox="1">
            <a:spLocks noChangeArrowheads="1"/>
          </p:cNvSpPr>
          <p:nvPr userDrawn="1"/>
        </p:nvSpPr>
        <p:spPr bwMode="auto">
          <a:xfrm>
            <a:off x="12133850" y="2174001"/>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net</a:t>
            </a:r>
            <a:endParaRPr lang="en-GB" altLang="en-US" sz="900" dirty="0">
              <a:solidFill>
                <a:schemeClr val="bg1"/>
              </a:solidFill>
            </a:endParaRPr>
          </a:p>
        </p:txBody>
      </p:sp>
      <p:sp>
        <p:nvSpPr>
          <p:cNvPr id="46" name="Freeform 393"/>
          <p:cNvSpPr>
            <a:spLocks noEditPoints="1"/>
          </p:cNvSpPr>
          <p:nvPr userDrawn="1"/>
        </p:nvSpPr>
        <p:spPr bwMode="auto">
          <a:xfrm>
            <a:off x="273319" y="2521766"/>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594 w 726"/>
              <a:gd name="T69" fmla="*/ 362 h 726"/>
              <a:gd name="T70" fmla="*/ 592 w 726"/>
              <a:gd name="T71" fmla="*/ 374 h 726"/>
              <a:gd name="T72" fmla="*/ 580 w 726"/>
              <a:gd name="T73" fmla="*/ 388 h 726"/>
              <a:gd name="T74" fmla="*/ 550 w 726"/>
              <a:gd name="T75" fmla="*/ 390 h 726"/>
              <a:gd name="T76" fmla="*/ 514 w 726"/>
              <a:gd name="T77" fmla="*/ 390 h 726"/>
              <a:gd name="T78" fmla="*/ 296 w 726"/>
              <a:gd name="T79" fmla="*/ 390 h 726"/>
              <a:gd name="T80" fmla="*/ 280 w 726"/>
              <a:gd name="T81" fmla="*/ 382 h 726"/>
              <a:gd name="T82" fmla="*/ 272 w 726"/>
              <a:gd name="T83" fmla="*/ 362 h 726"/>
              <a:gd name="T84" fmla="*/ 272 w 726"/>
              <a:gd name="T85" fmla="*/ 224 h 726"/>
              <a:gd name="T86" fmla="*/ 280 w 726"/>
              <a:gd name="T87" fmla="*/ 204 h 726"/>
              <a:gd name="T88" fmla="*/ 296 w 726"/>
              <a:gd name="T89" fmla="*/ 196 h 726"/>
              <a:gd name="T90" fmla="*/ 570 w 726"/>
              <a:gd name="T91" fmla="*/ 196 h 726"/>
              <a:gd name="T92" fmla="*/ 588 w 726"/>
              <a:gd name="T93" fmla="*/ 204 h 726"/>
              <a:gd name="T94" fmla="*/ 594 w 726"/>
              <a:gd name="T95" fmla="*/ 224 h 726"/>
              <a:gd name="T96" fmla="*/ 388 w 726"/>
              <a:gd name="T97" fmla="*/ 470 h 726"/>
              <a:gd name="T98" fmla="*/ 178 w 726"/>
              <a:gd name="T99" fmla="*/ 504 h 726"/>
              <a:gd name="T100" fmla="*/ 132 w 726"/>
              <a:gd name="T101" fmla="*/ 470 h 726"/>
              <a:gd name="T102" fmla="*/ 248 w 726"/>
              <a:gd name="T103" fmla="*/ 326 h 726"/>
              <a:gd name="T104" fmla="*/ 248 w 726"/>
              <a:gd name="T105" fmla="*/ 362 h 726"/>
              <a:gd name="T106" fmla="*/ 252 w 726"/>
              <a:gd name="T107" fmla="*/ 382 h 726"/>
              <a:gd name="T108" fmla="*/ 262 w 726"/>
              <a:gd name="T109" fmla="*/ 400 h 726"/>
              <a:gd name="T110" fmla="*/ 278 w 726"/>
              <a:gd name="T111" fmla="*/ 410 h 726"/>
              <a:gd name="T112" fmla="*/ 296 w 726"/>
              <a:gd name="T113" fmla="*/ 414 h 726"/>
              <a:gd name="T114" fmla="*/ 388 w 726"/>
              <a:gd name="T115" fmla="*/ 470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94" y="362"/>
                </a:moveTo>
                <a:lnTo>
                  <a:pt x="594" y="362"/>
                </a:lnTo>
                <a:lnTo>
                  <a:pt x="592" y="374"/>
                </a:lnTo>
                <a:lnTo>
                  <a:pt x="588" y="382"/>
                </a:lnTo>
                <a:lnTo>
                  <a:pt x="580" y="388"/>
                </a:lnTo>
                <a:lnTo>
                  <a:pt x="570" y="390"/>
                </a:lnTo>
                <a:lnTo>
                  <a:pt x="550" y="390"/>
                </a:lnTo>
                <a:lnTo>
                  <a:pt x="550" y="424"/>
                </a:lnTo>
                <a:lnTo>
                  <a:pt x="514" y="390"/>
                </a:lnTo>
                <a:lnTo>
                  <a:pt x="296" y="390"/>
                </a:lnTo>
                <a:lnTo>
                  <a:pt x="288" y="388"/>
                </a:lnTo>
                <a:lnTo>
                  <a:pt x="280" y="382"/>
                </a:lnTo>
                <a:lnTo>
                  <a:pt x="274" y="374"/>
                </a:lnTo>
                <a:lnTo>
                  <a:pt x="272" y="362"/>
                </a:lnTo>
                <a:lnTo>
                  <a:pt x="272" y="224"/>
                </a:lnTo>
                <a:lnTo>
                  <a:pt x="274" y="212"/>
                </a:lnTo>
                <a:lnTo>
                  <a:pt x="280" y="204"/>
                </a:lnTo>
                <a:lnTo>
                  <a:pt x="288" y="198"/>
                </a:lnTo>
                <a:lnTo>
                  <a:pt x="296" y="196"/>
                </a:lnTo>
                <a:lnTo>
                  <a:pt x="570" y="196"/>
                </a:lnTo>
                <a:lnTo>
                  <a:pt x="580" y="198"/>
                </a:lnTo>
                <a:lnTo>
                  <a:pt x="588" y="204"/>
                </a:lnTo>
                <a:lnTo>
                  <a:pt x="592" y="212"/>
                </a:lnTo>
                <a:lnTo>
                  <a:pt x="594" y="224"/>
                </a:lnTo>
                <a:lnTo>
                  <a:pt x="594" y="362"/>
                </a:lnTo>
                <a:close/>
                <a:moveTo>
                  <a:pt x="388" y="470"/>
                </a:moveTo>
                <a:lnTo>
                  <a:pt x="212" y="470"/>
                </a:lnTo>
                <a:lnTo>
                  <a:pt x="178" y="504"/>
                </a:lnTo>
                <a:lnTo>
                  <a:pt x="178" y="470"/>
                </a:lnTo>
                <a:lnTo>
                  <a:pt x="132" y="470"/>
                </a:lnTo>
                <a:lnTo>
                  <a:pt x="132" y="326"/>
                </a:lnTo>
                <a:lnTo>
                  <a:pt x="248" y="326"/>
                </a:lnTo>
                <a:lnTo>
                  <a:pt x="248" y="362"/>
                </a:lnTo>
                <a:lnTo>
                  <a:pt x="248" y="374"/>
                </a:lnTo>
                <a:lnTo>
                  <a:pt x="252" y="382"/>
                </a:lnTo>
                <a:lnTo>
                  <a:pt x="256" y="392"/>
                </a:lnTo>
                <a:lnTo>
                  <a:pt x="262" y="400"/>
                </a:lnTo>
                <a:lnTo>
                  <a:pt x="270" y="406"/>
                </a:lnTo>
                <a:lnTo>
                  <a:pt x="278" y="410"/>
                </a:lnTo>
                <a:lnTo>
                  <a:pt x="286" y="414"/>
                </a:lnTo>
                <a:lnTo>
                  <a:pt x="296" y="414"/>
                </a:lnTo>
                <a:lnTo>
                  <a:pt x="388" y="414"/>
                </a:lnTo>
                <a:lnTo>
                  <a:pt x="388" y="4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3" name="TextBox 27"/>
          <p:cNvSpPr txBox="1">
            <a:spLocks noChangeArrowheads="1"/>
          </p:cNvSpPr>
          <p:nvPr userDrawn="1"/>
        </p:nvSpPr>
        <p:spPr bwMode="auto">
          <a:xfrm>
            <a:off x="315407" y="3614586"/>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nversation</a:t>
            </a:r>
            <a:endParaRPr lang="en-GB" altLang="en-US" sz="900" dirty="0">
              <a:solidFill>
                <a:schemeClr val="bg1"/>
              </a:solidFill>
            </a:endParaRPr>
          </a:p>
        </p:txBody>
      </p:sp>
      <p:sp>
        <p:nvSpPr>
          <p:cNvPr id="45" name="Freeform 386"/>
          <p:cNvSpPr>
            <a:spLocks noEditPoints="1"/>
          </p:cNvSpPr>
          <p:nvPr userDrawn="1"/>
        </p:nvSpPr>
        <p:spPr bwMode="auto">
          <a:xfrm>
            <a:off x="1587345"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30 w 726"/>
              <a:gd name="T47" fmla="*/ 454 h 726"/>
              <a:gd name="T48" fmla="*/ 220 w 726"/>
              <a:gd name="T49" fmla="*/ 448 h 726"/>
              <a:gd name="T50" fmla="*/ 220 w 726"/>
              <a:gd name="T51" fmla="*/ 436 h 726"/>
              <a:gd name="T52" fmla="*/ 272 w 726"/>
              <a:gd name="T53" fmla="*/ 454 h 726"/>
              <a:gd name="T54" fmla="*/ 146 w 726"/>
              <a:gd name="T55" fmla="*/ 384 h 726"/>
              <a:gd name="T56" fmla="*/ 138 w 726"/>
              <a:gd name="T57" fmla="*/ 378 h 726"/>
              <a:gd name="T58" fmla="*/ 136 w 726"/>
              <a:gd name="T59" fmla="*/ 182 h 726"/>
              <a:gd name="T60" fmla="*/ 142 w 726"/>
              <a:gd name="T61" fmla="*/ 174 h 726"/>
              <a:gd name="T62" fmla="*/ 420 w 726"/>
              <a:gd name="T63" fmla="*/ 174 h 726"/>
              <a:gd name="T64" fmla="*/ 428 w 726"/>
              <a:gd name="T65" fmla="*/ 178 h 726"/>
              <a:gd name="T66" fmla="*/ 400 w 726"/>
              <a:gd name="T67" fmla="*/ 246 h 726"/>
              <a:gd name="T68" fmla="*/ 166 w 726"/>
              <a:gd name="T69" fmla="*/ 360 h 726"/>
              <a:gd name="T70" fmla="*/ 272 w 726"/>
              <a:gd name="T71" fmla="*/ 280 h 726"/>
              <a:gd name="T72" fmla="*/ 190 w 726"/>
              <a:gd name="T73" fmla="*/ 222 h 726"/>
              <a:gd name="T74" fmla="*/ 306 w 726"/>
              <a:gd name="T75" fmla="*/ 246 h 726"/>
              <a:gd name="T76" fmla="*/ 292 w 726"/>
              <a:gd name="T77" fmla="*/ 248 h 726"/>
              <a:gd name="T78" fmla="*/ 278 w 726"/>
              <a:gd name="T79" fmla="*/ 262 h 726"/>
              <a:gd name="T80" fmla="*/ 272 w 726"/>
              <a:gd name="T81" fmla="*/ 280 h 726"/>
              <a:gd name="T82" fmla="*/ 502 w 726"/>
              <a:gd name="T83" fmla="*/ 550 h 726"/>
              <a:gd name="T84" fmla="*/ 390 w 726"/>
              <a:gd name="T85" fmla="*/ 552 h 726"/>
              <a:gd name="T86" fmla="*/ 378 w 726"/>
              <a:gd name="T87" fmla="*/ 546 h 726"/>
              <a:gd name="T88" fmla="*/ 378 w 726"/>
              <a:gd name="T89" fmla="*/ 534 h 726"/>
              <a:gd name="T90" fmla="*/ 506 w 726"/>
              <a:gd name="T91" fmla="*/ 534 h 726"/>
              <a:gd name="T92" fmla="*/ 506 w 726"/>
              <a:gd name="T93" fmla="*/ 544 h 726"/>
              <a:gd name="T94" fmla="*/ 588 w 726"/>
              <a:gd name="T95" fmla="*/ 472 h 726"/>
              <a:gd name="T96" fmla="*/ 584 w 726"/>
              <a:gd name="T97" fmla="*/ 480 h 726"/>
              <a:gd name="T98" fmla="*/ 306 w 726"/>
              <a:gd name="T99" fmla="*/ 482 h 726"/>
              <a:gd name="T100" fmla="*/ 296 w 726"/>
              <a:gd name="T101" fmla="*/ 476 h 726"/>
              <a:gd name="T102" fmla="*/ 296 w 726"/>
              <a:gd name="T103" fmla="*/ 280 h 726"/>
              <a:gd name="T104" fmla="*/ 302 w 726"/>
              <a:gd name="T105" fmla="*/ 272 h 726"/>
              <a:gd name="T106" fmla="*/ 580 w 726"/>
              <a:gd name="T107" fmla="*/ 270 h 726"/>
              <a:gd name="T108" fmla="*/ 588 w 726"/>
              <a:gd name="T109" fmla="*/ 27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72" y="454"/>
                </a:moveTo>
                <a:lnTo>
                  <a:pt x="230" y="454"/>
                </a:lnTo>
                <a:lnTo>
                  <a:pt x="224" y="454"/>
                </a:lnTo>
                <a:lnTo>
                  <a:pt x="220" y="448"/>
                </a:lnTo>
                <a:lnTo>
                  <a:pt x="218" y="446"/>
                </a:lnTo>
                <a:lnTo>
                  <a:pt x="218" y="442"/>
                </a:lnTo>
                <a:lnTo>
                  <a:pt x="220" y="436"/>
                </a:lnTo>
                <a:lnTo>
                  <a:pt x="224" y="408"/>
                </a:lnTo>
                <a:lnTo>
                  <a:pt x="272" y="408"/>
                </a:lnTo>
                <a:lnTo>
                  <a:pt x="272" y="454"/>
                </a:lnTo>
                <a:close/>
                <a:moveTo>
                  <a:pt x="272" y="384"/>
                </a:moveTo>
                <a:lnTo>
                  <a:pt x="146" y="384"/>
                </a:lnTo>
                <a:lnTo>
                  <a:pt x="142" y="382"/>
                </a:lnTo>
                <a:lnTo>
                  <a:pt x="140" y="380"/>
                </a:lnTo>
                <a:lnTo>
                  <a:pt x="138" y="378"/>
                </a:lnTo>
                <a:lnTo>
                  <a:pt x="136" y="374"/>
                </a:lnTo>
                <a:lnTo>
                  <a:pt x="136" y="182"/>
                </a:lnTo>
                <a:lnTo>
                  <a:pt x="138" y="178"/>
                </a:lnTo>
                <a:lnTo>
                  <a:pt x="140" y="176"/>
                </a:lnTo>
                <a:lnTo>
                  <a:pt x="142" y="174"/>
                </a:lnTo>
                <a:lnTo>
                  <a:pt x="146" y="174"/>
                </a:lnTo>
                <a:lnTo>
                  <a:pt x="420" y="174"/>
                </a:lnTo>
                <a:lnTo>
                  <a:pt x="424" y="174"/>
                </a:lnTo>
                <a:lnTo>
                  <a:pt x="426" y="176"/>
                </a:lnTo>
                <a:lnTo>
                  <a:pt x="428" y="178"/>
                </a:lnTo>
                <a:lnTo>
                  <a:pt x="430" y="182"/>
                </a:lnTo>
                <a:lnTo>
                  <a:pt x="430" y="246"/>
                </a:lnTo>
                <a:lnTo>
                  <a:pt x="400" y="246"/>
                </a:lnTo>
                <a:lnTo>
                  <a:pt x="400" y="198"/>
                </a:lnTo>
                <a:lnTo>
                  <a:pt x="166" y="198"/>
                </a:lnTo>
                <a:lnTo>
                  <a:pt x="166" y="360"/>
                </a:lnTo>
                <a:lnTo>
                  <a:pt x="272" y="360"/>
                </a:lnTo>
                <a:lnTo>
                  <a:pt x="272" y="384"/>
                </a:lnTo>
                <a:close/>
                <a:moveTo>
                  <a:pt x="272" y="280"/>
                </a:moveTo>
                <a:lnTo>
                  <a:pt x="272" y="334"/>
                </a:lnTo>
                <a:lnTo>
                  <a:pt x="190" y="334"/>
                </a:lnTo>
                <a:lnTo>
                  <a:pt x="190" y="222"/>
                </a:lnTo>
                <a:lnTo>
                  <a:pt x="376" y="222"/>
                </a:lnTo>
                <a:lnTo>
                  <a:pt x="376" y="246"/>
                </a:lnTo>
                <a:lnTo>
                  <a:pt x="306" y="246"/>
                </a:lnTo>
                <a:lnTo>
                  <a:pt x="298" y="246"/>
                </a:lnTo>
                <a:lnTo>
                  <a:pt x="292" y="248"/>
                </a:lnTo>
                <a:lnTo>
                  <a:pt x="286" y="252"/>
                </a:lnTo>
                <a:lnTo>
                  <a:pt x="282" y="256"/>
                </a:lnTo>
                <a:lnTo>
                  <a:pt x="278" y="262"/>
                </a:lnTo>
                <a:lnTo>
                  <a:pt x="274" y="266"/>
                </a:lnTo>
                <a:lnTo>
                  <a:pt x="272" y="274"/>
                </a:lnTo>
                <a:lnTo>
                  <a:pt x="272" y="280"/>
                </a:lnTo>
                <a:close/>
                <a:moveTo>
                  <a:pt x="506" y="546"/>
                </a:moveTo>
                <a:lnTo>
                  <a:pt x="506" y="546"/>
                </a:lnTo>
                <a:lnTo>
                  <a:pt x="502" y="550"/>
                </a:lnTo>
                <a:lnTo>
                  <a:pt x="496" y="552"/>
                </a:lnTo>
                <a:lnTo>
                  <a:pt x="390" y="552"/>
                </a:lnTo>
                <a:lnTo>
                  <a:pt x="384" y="550"/>
                </a:lnTo>
                <a:lnTo>
                  <a:pt x="378" y="546"/>
                </a:lnTo>
                <a:lnTo>
                  <a:pt x="378" y="544"/>
                </a:lnTo>
                <a:lnTo>
                  <a:pt x="378" y="540"/>
                </a:lnTo>
                <a:lnTo>
                  <a:pt x="378" y="534"/>
                </a:lnTo>
                <a:lnTo>
                  <a:pt x="384" y="506"/>
                </a:lnTo>
                <a:lnTo>
                  <a:pt x="502" y="506"/>
                </a:lnTo>
                <a:lnTo>
                  <a:pt x="506" y="534"/>
                </a:lnTo>
                <a:lnTo>
                  <a:pt x="506" y="540"/>
                </a:lnTo>
                <a:lnTo>
                  <a:pt x="506" y="544"/>
                </a:lnTo>
                <a:lnTo>
                  <a:pt x="506" y="546"/>
                </a:lnTo>
                <a:close/>
                <a:moveTo>
                  <a:pt x="588" y="472"/>
                </a:moveTo>
                <a:lnTo>
                  <a:pt x="588" y="472"/>
                </a:lnTo>
                <a:lnTo>
                  <a:pt x="588" y="476"/>
                </a:lnTo>
                <a:lnTo>
                  <a:pt x="586" y="478"/>
                </a:lnTo>
                <a:lnTo>
                  <a:pt x="584" y="480"/>
                </a:lnTo>
                <a:lnTo>
                  <a:pt x="580" y="482"/>
                </a:lnTo>
                <a:lnTo>
                  <a:pt x="306" y="482"/>
                </a:lnTo>
                <a:lnTo>
                  <a:pt x="302" y="480"/>
                </a:lnTo>
                <a:lnTo>
                  <a:pt x="298" y="478"/>
                </a:lnTo>
                <a:lnTo>
                  <a:pt x="296" y="476"/>
                </a:lnTo>
                <a:lnTo>
                  <a:pt x="296" y="472"/>
                </a:lnTo>
                <a:lnTo>
                  <a:pt x="296" y="280"/>
                </a:lnTo>
                <a:lnTo>
                  <a:pt x="296" y="276"/>
                </a:lnTo>
                <a:lnTo>
                  <a:pt x="298" y="274"/>
                </a:lnTo>
                <a:lnTo>
                  <a:pt x="302" y="272"/>
                </a:lnTo>
                <a:lnTo>
                  <a:pt x="306" y="270"/>
                </a:lnTo>
                <a:lnTo>
                  <a:pt x="580" y="270"/>
                </a:lnTo>
                <a:lnTo>
                  <a:pt x="584" y="272"/>
                </a:lnTo>
                <a:lnTo>
                  <a:pt x="586" y="274"/>
                </a:lnTo>
                <a:lnTo>
                  <a:pt x="588" y="276"/>
                </a:lnTo>
                <a:lnTo>
                  <a:pt x="588" y="280"/>
                </a:lnTo>
                <a:lnTo>
                  <a:pt x="588" y="47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4" name="TextBox 27"/>
          <p:cNvSpPr txBox="1">
            <a:spLocks noChangeArrowheads="1"/>
          </p:cNvSpPr>
          <p:nvPr userDrawn="1"/>
        </p:nvSpPr>
        <p:spPr bwMode="auto">
          <a:xfrm>
            <a:off x="1615123" y="3614586"/>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ual screen</a:t>
            </a:r>
          </a:p>
        </p:txBody>
      </p:sp>
      <p:sp>
        <p:nvSpPr>
          <p:cNvPr id="44" name="Freeform 382"/>
          <p:cNvSpPr>
            <a:spLocks noEditPoints="1"/>
          </p:cNvSpPr>
          <p:nvPr userDrawn="1"/>
        </p:nvSpPr>
        <p:spPr bwMode="auto">
          <a:xfrm>
            <a:off x="2901371"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18 w 726"/>
              <a:gd name="T29" fmla="*/ 620 h 726"/>
              <a:gd name="T30" fmla="*/ 682 w 726"/>
              <a:gd name="T31" fmla="*/ 536 h 726"/>
              <a:gd name="T32" fmla="*/ 718 w 726"/>
              <a:gd name="T33" fmla="*/ 436 h 726"/>
              <a:gd name="T34" fmla="*/ 726 w 726"/>
              <a:gd name="T35" fmla="*/ 362 h 726"/>
              <a:gd name="T36" fmla="*/ 708 w 726"/>
              <a:gd name="T37" fmla="*/ 254 h 726"/>
              <a:gd name="T38" fmla="*/ 664 w 726"/>
              <a:gd name="T39" fmla="*/ 160 h 726"/>
              <a:gd name="T40" fmla="*/ 594 w 726"/>
              <a:gd name="T41" fmla="*/ 82 h 726"/>
              <a:gd name="T42" fmla="*/ 504 w 726"/>
              <a:gd name="T43" fmla="*/ 28 h 726"/>
              <a:gd name="T44" fmla="*/ 400 w 726"/>
              <a:gd name="T45" fmla="*/ 2 h 726"/>
              <a:gd name="T46" fmla="*/ 350 w 726"/>
              <a:gd name="T47" fmla="*/ 502 h 726"/>
              <a:gd name="T48" fmla="*/ 290 w 726"/>
              <a:gd name="T49" fmla="*/ 490 h 726"/>
              <a:gd name="T50" fmla="*/ 242 w 726"/>
              <a:gd name="T51" fmla="*/ 492 h 726"/>
              <a:gd name="T52" fmla="*/ 166 w 726"/>
              <a:gd name="T53" fmla="*/ 510 h 726"/>
              <a:gd name="T54" fmla="*/ 162 w 726"/>
              <a:gd name="T55" fmla="*/ 510 h 726"/>
              <a:gd name="T56" fmla="*/ 150 w 726"/>
              <a:gd name="T57" fmla="*/ 504 h 726"/>
              <a:gd name="T58" fmla="*/ 150 w 726"/>
              <a:gd name="T59" fmla="*/ 248 h 726"/>
              <a:gd name="T60" fmla="*/ 156 w 726"/>
              <a:gd name="T61" fmla="*/ 236 h 726"/>
              <a:gd name="T62" fmla="*/ 238 w 726"/>
              <a:gd name="T63" fmla="*/ 216 h 726"/>
              <a:gd name="T64" fmla="*/ 290 w 726"/>
              <a:gd name="T65" fmla="*/ 216 h 726"/>
              <a:gd name="T66" fmla="*/ 350 w 726"/>
              <a:gd name="T67" fmla="*/ 226 h 726"/>
              <a:gd name="T68" fmla="*/ 576 w 726"/>
              <a:gd name="T69" fmla="*/ 498 h 726"/>
              <a:gd name="T70" fmla="*/ 570 w 726"/>
              <a:gd name="T71" fmla="*/ 508 h 726"/>
              <a:gd name="T72" fmla="*/ 558 w 726"/>
              <a:gd name="T73" fmla="*/ 510 h 726"/>
              <a:gd name="T74" fmla="*/ 510 w 726"/>
              <a:gd name="T75" fmla="*/ 496 h 726"/>
              <a:gd name="T76" fmla="*/ 456 w 726"/>
              <a:gd name="T77" fmla="*/ 490 h 726"/>
              <a:gd name="T78" fmla="*/ 394 w 726"/>
              <a:gd name="T79" fmla="*/ 498 h 726"/>
              <a:gd name="T80" fmla="*/ 374 w 726"/>
              <a:gd name="T81" fmla="*/ 226 h 726"/>
              <a:gd name="T82" fmla="*/ 436 w 726"/>
              <a:gd name="T83" fmla="*/ 216 h 726"/>
              <a:gd name="T84" fmla="*/ 486 w 726"/>
              <a:gd name="T85" fmla="*/ 216 h 726"/>
              <a:gd name="T86" fmla="*/ 568 w 726"/>
              <a:gd name="T87" fmla="*/ 236 h 726"/>
              <a:gd name="T88" fmla="*/ 576 w 726"/>
              <a:gd name="T89" fmla="*/ 2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50" y="502"/>
                </a:moveTo>
                <a:lnTo>
                  <a:pt x="350" y="502"/>
                </a:lnTo>
                <a:lnTo>
                  <a:pt x="330" y="498"/>
                </a:lnTo>
                <a:lnTo>
                  <a:pt x="310" y="494"/>
                </a:lnTo>
                <a:lnTo>
                  <a:pt x="290" y="490"/>
                </a:lnTo>
                <a:lnTo>
                  <a:pt x="268" y="490"/>
                </a:lnTo>
                <a:lnTo>
                  <a:pt x="242" y="492"/>
                </a:lnTo>
                <a:lnTo>
                  <a:pt x="216" y="496"/>
                </a:lnTo>
                <a:lnTo>
                  <a:pt x="190" y="502"/>
                </a:lnTo>
                <a:lnTo>
                  <a:pt x="166" y="510"/>
                </a:lnTo>
                <a:lnTo>
                  <a:pt x="162" y="510"/>
                </a:lnTo>
                <a:lnTo>
                  <a:pt x="154" y="508"/>
                </a:lnTo>
                <a:lnTo>
                  <a:pt x="150" y="504"/>
                </a:lnTo>
                <a:lnTo>
                  <a:pt x="150" y="498"/>
                </a:lnTo>
                <a:lnTo>
                  <a:pt x="150" y="248"/>
                </a:lnTo>
                <a:lnTo>
                  <a:pt x="152" y="242"/>
                </a:lnTo>
                <a:lnTo>
                  <a:pt x="156" y="236"/>
                </a:lnTo>
                <a:lnTo>
                  <a:pt x="184" y="228"/>
                </a:lnTo>
                <a:lnTo>
                  <a:pt x="210" y="220"/>
                </a:lnTo>
                <a:lnTo>
                  <a:pt x="238" y="216"/>
                </a:lnTo>
                <a:lnTo>
                  <a:pt x="268" y="216"/>
                </a:lnTo>
                <a:lnTo>
                  <a:pt x="290" y="216"/>
                </a:lnTo>
                <a:lnTo>
                  <a:pt x="310" y="218"/>
                </a:lnTo>
                <a:lnTo>
                  <a:pt x="330" y="222"/>
                </a:lnTo>
                <a:lnTo>
                  <a:pt x="350" y="226"/>
                </a:lnTo>
                <a:lnTo>
                  <a:pt x="350" y="502"/>
                </a:lnTo>
                <a:close/>
                <a:moveTo>
                  <a:pt x="576" y="498"/>
                </a:moveTo>
                <a:lnTo>
                  <a:pt x="576" y="498"/>
                </a:lnTo>
                <a:lnTo>
                  <a:pt x="574" y="504"/>
                </a:lnTo>
                <a:lnTo>
                  <a:pt x="570" y="508"/>
                </a:lnTo>
                <a:lnTo>
                  <a:pt x="564" y="510"/>
                </a:lnTo>
                <a:lnTo>
                  <a:pt x="558" y="510"/>
                </a:lnTo>
                <a:lnTo>
                  <a:pt x="534" y="502"/>
                </a:lnTo>
                <a:lnTo>
                  <a:pt x="510" y="496"/>
                </a:lnTo>
                <a:lnTo>
                  <a:pt x="484" y="492"/>
                </a:lnTo>
                <a:lnTo>
                  <a:pt x="456" y="490"/>
                </a:lnTo>
                <a:lnTo>
                  <a:pt x="436" y="490"/>
                </a:lnTo>
                <a:lnTo>
                  <a:pt x="414" y="494"/>
                </a:lnTo>
                <a:lnTo>
                  <a:pt x="394" y="498"/>
                </a:lnTo>
                <a:lnTo>
                  <a:pt x="374" y="502"/>
                </a:lnTo>
                <a:lnTo>
                  <a:pt x="374" y="226"/>
                </a:lnTo>
                <a:lnTo>
                  <a:pt x="394" y="222"/>
                </a:lnTo>
                <a:lnTo>
                  <a:pt x="414" y="218"/>
                </a:lnTo>
                <a:lnTo>
                  <a:pt x="436" y="216"/>
                </a:lnTo>
                <a:lnTo>
                  <a:pt x="456" y="216"/>
                </a:lnTo>
                <a:lnTo>
                  <a:pt x="486" y="216"/>
                </a:lnTo>
                <a:lnTo>
                  <a:pt x="514" y="220"/>
                </a:lnTo>
                <a:lnTo>
                  <a:pt x="542" y="228"/>
                </a:lnTo>
                <a:lnTo>
                  <a:pt x="568" y="236"/>
                </a:lnTo>
                <a:lnTo>
                  <a:pt x="574" y="242"/>
                </a:lnTo>
                <a:lnTo>
                  <a:pt x="576" y="248"/>
                </a:lnTo>
                <a:lnTo>
                  <a:pt x="576" y="49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5" name="TextBox 27"/>
          <p:cNvSpPr txBox="1">
            <a:spLocks noChangeArrowheads="1"/>
          </p:cNvSpPr>
          <p:nvPr userDrawn="1"/>
        </p:nvSpPr>
        <p:spPr bwMode="auto">
          <a:xfrm>
            <a:off x="2944239" y="3618264"/>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ading</a:t>
            </a:r>
          </a:p>
        </p:txBody>
      </p:sp>
      <p:sp>
        <p:nvSpPr>
          <p:cNvPr id="42" name="Freeform 106"/>
          <p:cNvSpPr>
            <a:spLocks noEditPoints="1"/>
          </p:cNvSpPr>
          <p:nvPr userDrawn="1"/>
        </p:nvSpPr>
        <p:spPr bwMode="auto">
          <a:xfrm>
            <a:off x="4215397" y="2521766"/>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52 w 724"/>
              <a:gd name="T47" fmla="*/ 312 h 726"/>
              <a:gd name="T48" fmla="*/ 558 w 724"/>
              <a:gd name="T49" fmla="*/ 348 h 726"/>
              <a:gd name="T50" fmla="*/ 562 w 724"/>
              <a:gd name="T51" fmla="*/ 364 h 726"/>
              <a:gd name="T52" fmla="*/ 556 w 724"/>
              <a:gd name="T53" fmla="*/ 382 h 726"/>
              <a:gd name="T54" fmla="*/ 542 w 724"/>
              <a:gd name="T55" fmla="*/ 396 h 726"/>
              <a:gd name="T56" fmla="*/ 546 w 724"/>
              <a:gd name="T57" fmla="*/ 410 h 726"/>
              <a:gd name="T58" fmla="*/ 534 w 724"/>
              <a:gd name="T59" fmla="*/ 436 h 726"/>
              <a:gd name="T60" fmla="*/ 528 w 724"/>
              <a:gd name="T61" fmla="*/ 450 h 726"/>
              <a:gd name="T62" fmla="*/ 530 w 724"/>
              <a:gd name="T63" fmla="*/ 464 h 726"/>
              <a:gd name="T64" fmla="*/ 520 w 724"/>
              <a:gd name="T65" fmla="*/ 482 h 726"/>
              <a:gd name="T66" fmla="*/ 502 w 724"/>
              <a:gd name="T67" fmla="*/ 492 h 726"/>
              <a:gd name="T68" fmla="*/ 364 w 724"/>
              <a:gd name="T69" fmla="*/ 494 h 726"/>
              <a:gd name="T70" fmla="*/ 336 w 724"/>
              <a:gd name="T71" fmla="*/ 482 h 726"/>
              <a:gd name="T72" fmla="*/ 312 w 724"/>
              <a:gd name="T73" fmla="*/ 472 h 726"/>
              <a:gd name="T74" fmla="*/ 294 w 724"/>
              <a:gd name="T75" fmla="*/ 312 h 726"/>
              <a:gd name="T76" fmla="*/ 378 w 724"/>
              <a:gd name="T77" fmla="*/ 184 h 726"/>
              <a:gd name="T78" fmla="*/ 380 w 724"/>
              <a:gd name="T79" fmla="*/ 170 h 726"/>
              <a:gd name="T80" fmla="*/ 394 w 724"/>
              <a:gd name="T81" fmla="*/ 154 h 726"/>
              <a:gd name="T82" fmla="*/ 414 w 724"/>
              <a:gd name="T83" fmla="*/ 148 h 726"/>
              <a:gd name="T84" fmla="*/ 428 w 724"/>
              <a:gd name="T85" fmla="*/ 150 h 726"/>
              <a:gd name="T86" fmla="*/ 444 w 724"/>
              <a:gd name="T87" fmla="*/ 164 h 726"/>
              <a:gd name="T88" fmla="*/ 450 w 724"/>
              <a:gd name="T89" fmla="*/ 184 h 726"/>
              <a:gd name="T90" fmla="*/ 540 w 724"/>
              <a:gd name="T91" fmla="*/ 280 h 726"/>
              <a:gd name="T92" fmla="*/ 554 w 724"/>
              <a:gd name="T93" fmla="*/ 284 h 726"/>
              <a:gd name="T94" fmla="*/ 570 w 724"/>
              <a:gd name="T95" fmla="*/ 296 h 726"/>
              <a:gd name="T96" fmla="*/ 576 w 724"/>
              <a:gd name="T97" fmla="*/ 318 h 726"/>
              <a:gd name="T98" fmla="*/ 572 w 724"/>
              <a:gd name="T99" fmla="*/ 336 h 726"/>
              <a:gd name="T100" fmla="*/ 232 w 724"/>
              <a:gd name="T101" fmla="*/ 478 h 726"/>
              <a:gd name="T102" fmla="*/ 240 w 724"/>
              <a:gd name="T103" fmla="*/ 474 h 726"/>
              <a:gd name="T104" fmla="*/ 244 w 724"/>
              <a:gd name="T105" fmla="*/ 464 h 726"/>
              <a:gd name="T106" fmla="*/ 236 w 724"/>
              <a:gd name="T107" fmla="*/ 452 h 726"/>
              <a:gd name="T108" fmla="*/ 226 w 724"/>
              <a:gd name="T109" fmla="*/ 452 h 726"/>
              <a:gd name="T110" fmla="*/ 218 w 724"/>
              <a:gd name="T111" fmla="*/ 464 h 726"/>
              <a:gd name="T112" fmla="*/ 222 w 724"/>
              <a:gd name="T113" fmla="*/ 4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270" y="504"/>
                </a:moveTo>
                <a:lnTo>
                  <a:pt x="152" y="504"/>
                </a:lnTo>
                <a:lnTo>
                  <a:pt x="152" y="312"/>
                </a:lnTo>
                <a:lnTo>
                  <a:pt x="270" y="312"/>
                </a:lnTo>
                <a:lnTo>
                  <a:pt x="270" y="504"/>
                </a:lnTo>
                <a:close/>
                <a:moveTo>
                  <a:pt x="558" y="348"/>
                </a:moveTo>
                <a:lnTo>
                  <a:pt x="558" y="348"/>
                </a:lnTo>
                <a:lnTo>
                  <a:pt x="560" y="356"/>
                </a:lnTo>
                <a:lnTo>
                  <a:pt x="562" y="364"/>
                </a:lnTo>
                <a:lnTo>
                  <a:pt x="560" y="374"/>
                </a:lnTo>
                <a:lnTo>
                  <a:pt x="556" y="382"/>
                </a:lnTo>
                <a:lnTo>
                  <a:pt x="550" y="390"/>
                </a:lnTo>
                <a:lnTo>
                  <a:pt x="542" y="396"/>
                </a:lnTo>
                <a:lnTo>
                  <a:pt x="544" y="402"/>
                </a:lnTo>
                <a:lnTo>
                  <a:pt x="546" y="410"/>
                </a:lnTo>
                <a:lnTo>
                  <a:pt x="544" y="420"/>
                </a:lnTo>
                <a:lnTo>
                  <a:pt x="540" y="430"/>
                </a:lnTo>
                <a:lnTo>
                  <a:pt x="534" y="436"/>
                </a:lnTo>
                <a:lnTo>
                  <a:pt x="526" y="442"/>
                </a:lnTo>
                <a:lnTo>
                  <a:pt x="528" y="450"/>
                </a:lnTo>
                <a:lnTo>
                  <a:pt x="530" y="458"/>
                </a:lnTo>
                <a:lnTo>
                  <a:pt x="530" y="464"/>
                </a:lnTo>
                <a:lnTo>
                  <a:pt x="528" y="472"/>
                </a:lnTo>
                <a:lnTo>
                  <a:pt x="524" y="478"/>
                </a:lnTo>
                <a:lnTo>
                  <a:pt x="520" y="482"/>
                </a:lnTo>
                <a:lnTo>
                  <a:pt x="514" y="488"/>
                </a:lnTo>
                <a:lnTo>
                  <a:pt x="508" y="490"/>
                </a:lnTo>
                <a:lnTo>
                  <a:pt x="502" y="492"/>
                </a:lnTo>
                <a:lnTo>
                  <a:pt x="494" y="494"/>
                </a:lnTo>
                <a:lnTo>
                  <a:pt x="364" y="494"/>
                </a:lnTo>
                <a:lnTo>
                  <a:pt x="354" y="492"/>
                </a:lnTo>
                <a:lnTo>
                  <a:pt x="346" y="490"/>
                </a:lnTo>
                <a:lnTo>
                  <a:pt x="336" y="482"/>
                </a:lnTo>
                <a:lnTo>
                  <a:pt x="328" y="478"/>
                </a:lnTo>
                <a:lnTo>
                  <a:pt x="322" y="474"/>
                </a:lnTo>
                <a:lnTo>
                  <a:pt x="312" y="472"/>
                </a:lnTo>
                <a:lnTo>
                  <a:pt x="300" y="472"/>
                </a:lnTo>
                <a:lnTo>
                  <a:pt x="294" y="472"/>
                </a:lnTo>
                <a:lnTo>
                  <a:pt x="294" y="312"/>
                </a:lnTo>
                <a:lnTo>
                  <a:pt x="324" y="312"/>
                </a:lnTo>
                <a:lnTo>
                  <a:pt x="378" y="228"/>
                </a:lnTo>
                <a:lnTo>
                  <a:pt x="378" y="184"/>
                </a:lnTo>
                <a:lnTo>
                  <a:pt x="378" y="176"/>
                </a:lnTo>
                <a:lnTo>
                  <a:pt x="380" y="170"/>
                </a:lnTo>
                <a:lnTo>
                  <a:pt x="384" y="164"/>
                </a:lnTo>
                <a:lnTo>
                  <a:pt x="388" y="158"/>
                </a:lnTo>
                <a:lnTo>
                  <a:pt x="394" y="154"/>
                </a:lnTo>
                <a:lnTo>
                  <a:pt x="400" y="150"/>
                </a:lnTo>
                <a:lnTo>
                  <a:pt x="406" y="148"/>
                </a:lnTo>
                <a:lnTo>
                  <a:pt x="414" y="148"/>
                </a:lnTo>
                <a:lnTo>
                  <a:pt x="420" y="148"/>
                </a:lnTo>
                <a:lnTo>
                  <a:pt x="428" y="150"/>
                </a:lnTo>
                <a:lnTo>
                  <a:pt x="434" y="154"/>
                </a:lnTo>
                <a:lnTo>
                  <a:pt x="440" y="158"/>
                </a:lnTo>
                <a:lnTo>
                  <a:pt x="444" y="164"/>
                </a:lnTo>
                <a:lnTo>
                  <a:pt x="446" y="170"/>
                </a:lnTo>
                <a:lnTo>
                  <a:pt x="450" y="176"/>
                </a:lnTo>
                <a:lnTo>
                  <a:pt x="450" y="184"/>
                </a:lnTo>
                <a:lnTo>
                  <a:pt x="450" y="228"/>
                </a:lnTo>
                <a:lnTo>
                  <a:pt x="434" y="280"/>
                </a:lnTo>
                <a:lnTo>
                  <a:pt x="540" y="280"/>
                </a:lnTo>
                <a:lnTo>
                  <a:pt x="548" y="282"/>
                </a:lnTo>
                <a:lnTo>
                  <a:pt x="554" y="284"/>
                </a:lnTo>
                <a:lnTo>
                  <a:pt x="560" y="288"/>
                </a:lnTo>
                <a:lnTo>
                  <a:pt x="566" y="292"/>
                </a:lnTo>
                <a:lnTo>
                  <a:pt x="570" y="296"/>
                </a:lnTo>
                <a:lnTo>
                  <a:pt x="574" y="302"/>
                </a:lnTo>
                <a:lnTo>
                  <a:pt x="576" y="310"/>
                </a:lnTo>
                <a:lnTo>
                  <a:pt x="576" y="318"/>
                </a:lnTo>
                <a:lnTo>
                  <a:pt x="576" y="326"/>
                </a:lnTo>
                <a:lnTo>
                  <a:pt x="572" y="336"/>
                </a:lnTo>
                <a:lnTo>
                  <a:pt x="566" y="344"/>
                </a:lnTo>
                <a:lnTo>
                  <a:pt x="558" y="348"/>
                </a:lnTo>
                <a:close/>
                <a:moveTo>
                  <a:pt x="232" y="478"/>
                </a:moveTo>
                <a:lnTo>
                  <a:pt x="232" y="478"/>
                </a:lnTo>
                <a:lnTo>
                  <a:pt x="236" y="476"/>
                </a:lnTo>
                <a:lnTo>
                  <a:pt x="240" y="474"/>
                </a:lnTo>
                <a:lnTo>
                  <a:pt x="244" y="470"/>
                </a:lnTo>
                <a:lnTo>
                  <a:pt x="244" y="464"/>
                </a:lnTo>
                <a:lnTo>
                  <a:pt x="244" y="460"/>
                </a:lnTo>
                <a:lnTo>
                  <a:pt x="240" y="456"/>
                </a:lnTo>
                <a:lnTo>
                  <a:pt x="236" y="452"/>
                </a:lnTo>
                <a:lnTo>
                  <a:pt x="232" y="452"/>
                </a:lnTo>
                <a:lnTo>
                  <a:pt x="226" y="452"/>
                </a:lnTo>
                <a:lnTo>
                  <a:pt x="222" y="456"/>
                </a:lnTo>
                <a:lnTo>
                  <a:pt x="220" y="460"/>
                </a:lnTo>
                <a:lnTo>
                  <a:pt x="218" y="464"/>
                </a:lnTo>
                <a:lnTo>
                  <a:pt x="218" y="470"/>
                </a:lnTo>
                <a:lnTo>
                  <a:pt x="222" y="474"/>
                </a:lnTo>
                <a:lnTo>
                  <a:pt x="226" y="476"/>
                </a:lnTo>
                <a:lnTo>
                  <a:pt x="232" y="47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6" name="TextBox 27"/>
          <p:cNvSpPr txBox="1">
            <a:spLocks noChangeArrowheads="1"/>
          </p:cNvSpPr>
          <p:nvPr userDrawn="1"/>
        </p:nvSpPr>
        <p:spPr bwMode="auto">
          <a:xfrm>
            <a:off x="4255549" y="3621237"/>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ke</a:t>
            </a:r>
            <a:endParaRPr lang="en-GB" altLang="en-US" sz="900" dirty="0">
              <a:solidFill>
                <a:schemeClr val="bg1"/>
              </a:solidFill>
            </a:endParaRPr>
          </a:p>
        </p:txBody>
      </p:sp>
      <p:sp>
        <p:nvSpPr>
          <p:cNvPr id="41" name="Freeform 98"/>
          <p:cNvSpPr>
            <a:spLocks noEditPoints="1"/>
          </p:cNvSpPr>
          <p:nvPr userDrawn="1"/>
        </p:nvSpPr>
        <p:spPr bwMode="auto">
          <a:xfrm>
            <a:off x="5529423" y="2521766"/>
            <a:ext cx="1080000" cy="1080000"/>
          </a:xfrm>
          <a:custGeom>
            <a:avLst/>
            <a:gdLst>
              <a:gd name="T0" fmla="*/ 488 w 726"/>
              <a:gd name="T1" fmla="*/ 230 h 726"/>
              <a:gd name="T2" fmla="*/ 424 w 726"/>
              <a:gd name="T3" fmla="*/ 226 h 726"/>
              <a:gd name="T4" fmla="*/ 402 w 726"/>
              <a:gd name="T5" fmla="*/ 238 h 726"/>
              <a:gd name="T6" fmla="*/ 386 w 726"/>
              <a:gd name="T7" fmla="*/ 262 h 726"/>
              <a:gd name="T8" fmla="*/ 384 w 726"/>
              <a:gd name="T9" fmla="*/ 316 h 726"/>
              <a:gd name="T10" fmla="*/ 384 w 726"/>
              <a:gd name="T11" fmla="*/ 358 h 726"/>
              <a:gd name="T12" fmla="*/ 438 w 726"/>
              <a:gd name="T13" fmla="*/ 358 h 726"/>
              <a:gd name="T14" fmla="*/ 438 w 726"/>
              <a:gd name="T15" fmla="*/ 316 h 726"/>
              <a:gd name="T16" fmla="*/ 438 w 726"/>
              <a:gd name="T17" fmla="*/ 280 h 726"/>
              <a:gd name="T18" fmla="*/ 448 w 726"/>
              <a:gd name="T19" fmla="*/ 270 h 726"/>
              <a:gd name="T20" fmla="*/ 480 w 726"/>
              <a:gd name="T21" fmla="*/ 272 h 726"/>
              <a:gd name="T22" fmla="*/ 326 w 726"/>
              <a:gd name="T23" fmla="*/ 2 h 726"/>
              <a:gd name="T24" fmla="*/ 222 w 726"/>
              <a:gd name="T25" fmla="*/ 28 h 726"/>
              <a:gd name="T26" fmla="*/ 134 w 726"/>
              <a:gd name="T27" fmla="*/ 82 h 726"/>
              <a:gd name="T28" fmla="*/ 62 w 726"/>
              <a:gd name="T29" fmla="*/ 160 h 726"/>
              <a:gd name="T30" fmla="*/ 18 w 726"/>
              <a:gd name="T31" fmla="*/ 254 h 726"/>
              <a:gd name="T32" fmla="*/ 0 w 726"/>
              <a:gd name="T33" fmla="*/ 362 h 726"/>
              <a:gd name="T34" fmla="*/ 8 w 726"/>
              <a:gd name="T35" fmla="*/ 436 h 726"/>
              <a:gd name="T36" fmla="*/ 44 w 726"/>
              <a:gd name="T37" fmla="*/ 536 h 726"/>
              <a:gd name="T38" fmla="*/ 108 w 726"/>
              <a:gd name="T39" fmla="*/ 620 h 726"/>
              <a:gd name="T40" fmla="*/ 190 w 726"/>
              <a:gd name="T41" fmla="*/ 682 h 726"/>
              <a:gd name="T42" fmla="*/ 290 w 726"/>
              <a:gd name="T43" fmla="*/ 718 h 726"/>
              <a:gd name="T44" fmla="*/ 364 w 726"/>
              <a:gd name="T45" fmla="*/ 726 h 726"/>
              <a:gd name="T46" fmla="*/ 472 w 726"/>
              <a:gd name="T47" fmla="*/ 710 h 726"/>
              <a:gd name="T48" fmla="*/ 566 w 726"/>
              <a:gd name="T49" fmla="*/ 664 h 726"/>
              <a:gd name="T50" fmla="*/ 644 w 726"/>
              <a:gd name="T51" fmla="*/ 594 h 726"/>
              <a:gd name="T52" fmla="*/ 698 w 726"/>
              <a:gd name="T53" fmla="*/ 504 h 726"/>
              <a:gd name="T54" fmla="*/ 724 w 726"/>
              <a:gd name="T55" fmla="*/ 400 h 726"/>
              <a:gd name="T56" fmla="*/ 724 w 726"/>
              <a:gd name="T57" fmla="*/ 326 h 726"/>
              <a:gd name="T58" fmla="*/ 698 w 726"/>
              <a:gd name="T59" fmla="*/ 222 h 726"/>
              <a:gd name="T60" fmla="*/ 644 w 726"/>
              <a:gd name="T61" fmla="*/ 132 h 726"/>
              <a:gd name="T62" fmla="*/ 566 w 726"/>
              <a:gd name="T63" fmla="*/ 62 h 726"/>
              <a:gd name="T64" fmla="*/ 472 w 726"/>
              <a:gd name="T65" fmla="*/ 16 h 726"/>
              <a:gd name="T66" fmla="*/ 364 w 726"/>
              <a:gd name="T67" fmla="*/ 0 h 726"/>
              <a:gd name="T68" fmla="*/ 542 w 726"/>
              <a:gd name="T69" fmla="*/ 514 h 726"/>
              <a:gd name="T70" fmla="*/ 522 w 726"/>
              <a:gd name="T71" fmla="*/ 538 h 726"/>
              <a:gd name="T72" fmla="*/ 220 w 726"/>
              <a:gd name="T73" fmla="*/ 540 h 726"/>
              <a:gd name="T74" fmla="*/ 208 w 726"/>
              <a:gd name="T75" fmla="*/ 538 h 726"/>
              <a:gd name="T76" fmla="*/ 188 w 726"/>
              <a:gd name="T77" fmla="*/ 514 h 726"/>
              <a:gd name="T78" fmla="*/ 188 w 726"/>
              <a:gd name="T79" fmla="*/ 218 h 726"/>
              <a:gd name="T80" fmla="*/ 198 w 726"/>
              <a:gd name="T81" fmla="*/ 196 h 726"/>
              <a:gd name="T82" fmla="*/ 220 w 726"/>
              <a:gd name="T83" fmla="*/ 186 h 726"/>
              <a:gd name="T84" fmla="*/ 516 w 726"/>
              <a:gd name="T85" fmla="*/ 186 h 726"/>
              <a:gd name="T86" fmla="*/ 540 w 726"/>
              <a:gd name="T87" fmla="*/ 206 h 726"/>
              <a:gd name="T88" fmla="*/ 542 w 726"/>
              <a:gd name="T89" fmla="*/ 50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480" y="272"/>
                </a:moveTo>
                <a:lnTo>
                  <a:pt x="488" y="230"/>
                </a:lnTo>
                <a:lnTo>
                  <a:pt x="462" y="226"/>
                </a:lnTo>
                <a:lnTo>
                  <a:pt x="442" y="226"/>
                </a:lnTo>
                <a:lnTo>
                  <a:pt x="424" y="226"/>
                </a:lnTo>
                <a:lnTo>
                  <a:pt x="412" y="230"/>
                </a:lnTo>
                <a:lnTo>
                  <a:pt x="402" y="238"/>
                </a:lnTo>
                <a:lnTo>
                  <a:pt x="392" y="248"/>
                </a:lnTo>
                <a:lnTo>
                  <a:pt x="390" y="254"/>
                </a:lnTo>
                <a:lnTo>
                  <a:pt x="386" y="262"/>
                </a:lnTo>
                <a:lnTo>
                  <a:pt x="384" y="270"/>
                </a:lnTo>
                <a:lnTo>
                  <a:pt x="384" y="282"/>
                </a:lnTo>
                <a:lnTo>
                  <a:pt x="384" y="316"/>
                </a:lnTo>
                <a:lnTo>
                  <a:pt x="356" y="316"/>
                </a:lnTo>
                <a:lnTo>
                  <a:pt x="356" y="358"/>
                </a:lnTo>
                <a:lnTo>
                  <a:pt x="384" y="358"/>
                </a:lnTo>
                <a:lnTo>
                  <a:pt x="384" y="500"/>
                </a:lnTo>
                <a:lnTo>
                  <a:pt x="438" y="500"/>
                </a:lnTo>
                <a:lnTo>
                  <a:pt x="438" y="358"/>
                </a:lnTo>
                <a:lnTo>
                  <a:pt x="480" y="358"/>
                </a:lnTo>
                <a:lnTo>
                  <a:pt x="482" y="316"/>
                </a:lnTo>
                <a:lnTo>
                  <a:pt x="438" y="316"/>
                </a:lnTo>
                <a:lnTo>
                  <a:pt x="438" y="282"/>
                </a:lnTo>
                <a:lnTo>
                  <a:pt x="438" y="280"/>
                </a:lnTo>
                <a:lnTo>
                  <a:pt x="440" y="276"/>
                </a:lnTo>
                <a:lnTo>
                  <a:pt x="444" y="274"/>
                </a:lnTo>
                <a:lnTo>
                  <a:pt x="448" y="270"/>
                </a:lnTo>
                <a:lnTo>
                  <a:pt x="454" y="270"/>
                </a:lnTo>
                <a:lnTo>
                  <a:pt x="462" y="270"/>
                </a:lnTo>
                <a:lnTo>
                  <a:pt x="480" y="272"/>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2" y="508"/>
                </a:moveTo>
                <a:lnTo>
                  <a:pt x="542" y="508"/>
                </a:lnTo>
                <a:lnTo>
                  <a:pt x="542" y="514"/>
                </a:lnTo>
                <a:lnTo>
                  <a:pt x="540" y="520"/>
                </a:lnTo>
                <a:lnTo>
                  <a:pt x="532" y="530"/>
                </a:lnTo>
                <a:lnTo>
                  <a:pt x="522" y="538"/>
                </a:lnTo>
                <a:lnTo>
                  <a:pt x="516" y="540"/>
                </a:lnTo>
                <a:lnTo>
                  <a:pt x="510" y="540"/>
                </a:lnTo>
                <a:lnTo>
                  <a:pt x="220" y="540"/>
                </a:lnTo>
                <a:lnTo>
                  <a:pt x="214" y="540"/>
                </a:lnTo>
                <a:lnTo>
                  <a:pt x="208" y="538"/>
                </a:lnTo>
                <a:lnTo>
                  <a:pt x="198" y="530"/>
                </a:lnTo>
                <a:lnTo>
                  <a:pt x="190" y="520"/>
                </a:lnTo>
                <a:lnTo>
                  <a:pt x="188" y="514"/>
                </a:lnTo>
                <a:lnTo>
                  <a:pt x="188" y="508"/>
                </a:lnTo>
                <a:lnTo>
                  <a:pt x="188" y="218"/>
                </a:lnTo>
                <a:lnTo>
                  <a:pt x="188" y="212"/>
                </a:lnTo>
                <a:lnTo>
                  <a:pt x="190" y="206"/>
                </a:lnTo>
                <a:lnTo>
                  <a:pt x="198" y="196"/>
                </a:lnTo>
                <a:lnTo>
                  <a:pt x="208" y="188"/>
                </a:lnTo>
                <a:lnTo>
                  <a:pt x="214" y="186"/>
                </a:lnTo>
                <a:lnTo>
                  <a:pt x="220" y="186"/>
                </a:lnTo>
                <a:lnTo>
                  <a:pt x="510" y="186"/>
                </a:lnTo>
                <a:lnTo>
                  <a:pt x="516" y="186"/>
                </a:lnTo>
                <a:lnTo>
                  <a:pt x="522" y="188"/>
                </a:lnTo>
                <a:lnTo>
                  <a:pt x="532" y="196"/>
                </a:lnTo>
                <a:lnTo>
                  <a:pt x="540" y="206"/>
                </a:lnTo>
                <a:lnTo>
                  <a:pt x="542" y="212"/>
                </a:lnTo>
                <a:lnTo>
                  <a:pt x="542" y="218"/>
                </a:lnTo>
                <a:lnTo>
                  <a:pt x="542" y="5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7" name="TextBox 27"/>
          <p:cNvSpPr txBox="1">
            <a:spLocks noChangeArrowheads="1"/>
          </p:cNvSpPr>
          <p:nvPr userDrawn="1"/>
        </p:nvSpPr>
        <p:spPr bwMode="auto">
          <a:xfrm>
            <a:off x="5600952" y="3621236"/>
            <a:ext cx="92522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cebook</a:t>
            </a:r>
            <a:endParaRPr lang="en-GB" altLang="en-US" sz="900" dirty="0">
              <a:solidFill>
                <a:schemeClr val="bg1"/>
              </a:solidFill>
            </a:endParaRPr>
          </a:p>
        </p:txBody>
      </p:sp>
      <p:sp>
        <p:nvSpPr>
          <p:cNvPr id="47" name="Freeform 404"/>
          <p:cNvSpPr>
            <a:spLocks noEditPoints="1"/>
          </p:cNvSpPr>
          <p:nvPr userDrawn="1"/>
        </p:nvSpPr>
        <p:spPr bwMode="auto">
          <a:xfrm>
            <a:off x="6843449"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22 w 726"/>
              <a:gd name="T47" fmla="*/ 300 h 726"/>
              <a:gd name="T48" fmla="*/ 518 w 726"/>
              <a:gd name="T49" fmla="*/ 340 h 726"/>
              <a:gd name="T50" fmla="*/ 498 w 726"/>
              <a:gd name="T51" fmla="*/ 400 h 726"/>
              <a:gd name="T52" fmla="*/ 462 w 726"/>
              <a:gd name="T53" fmla="*/ 456 h 726"/>
              <a:gd name="T54" fmla="*/ 410 w 726"/>
              <a:gd name="T55" fmla="*/ 498 h 726"/>
              <a:gd name="T56" fmla="*/ 344 w 726"/>
              <a:gd name="T57" fmla="*/ 526 h 726"/>
              <a:gd name="T58" fmla="*/ 292 w 726"/>
              <a:gd name="T59" fmla="*/ 530 h 726"/>
              <a:gd name="T60" fmla="*/ 242 w 726"/>
              <a:gd name="T61" fmla="*/ 526 h 726"/>
              <a:gd name="T62" fmla="*/ 166 w 726"/>
              <a:gd name="T63" fmla="*/ 494 h 726"/>
              <a:gd name="T64" fmla="*/ 186 w 726"/>
              <a:gd name="T65" fmla="*/ 496 h 726"/>
              <a:gd name="T66" fmla="*/ 240 w 726"/>
              <a:gd name="T67" fmla="*/ 486 h 726"/>
              <a:gd name="T68" fmla="*/ 286 w 726"/>
              <a:gd name="T69" fmla="*/ 460 h 726"/>
              <a:gd name="T70" fmla="*/ 250 w 726"/>
              <a:gd name="T71" fmla="*/ 450 h 726"/>
              <a:gd name="T72" fmla="*/ 222 w 726"/>
              <a:gd name="T73" fmla="*/ 426 h 726"/>
              <a:gd name="T74" fmla="*/ 212 w 726"/>
              <a:gd name="T75" fmla="*/ 404 h 726"/>
              <a:gd name="T76" fmla="*/ 238 w 726"/>
              <a:gd name="T77" fmla="*/ 404 h 726"/>
              <a:gd name="T78" fmla="*/ 234 w 726"/>
              <a:gd name="T79" fmla="*/ 398 h 726"/>
              <a:gd name="T80" fmla="*/ 202 w 726"/>
              <a:gd name="T81" fmla="*/ 376 h 726"/>
              <a:gd name="T82" fmla="*/ 184 w 726"/>
              <a:gd name="T83" fmla="*/ 338 h 726"/>
              <a:gd name="T84" fmla="*/ 182 w 726"/>
              <a:gd name="T85" fmla="*/ 322 h 726"/>
              <a:gd name="T86" fmla="*/ 220 w 726"/>
              <a:gd name="T87" fmla="*/ 332 h 726"/>
              <a:gd name="T88" fmla="*/ 190 w 726"/>
              <a:gd name="T89" fmla="*/ 294 h 726"/>
              <a:gd name="T90" fmla="*/ 184 w 726"/>
              <a:gd name="T91" fmla="*/ 264 h 726"/>
              <a:gd name="T92" fmla="*/ 186 w 726"/>
              <a:gd name="T93" fmla="*/ 244 h 726"/>
              <a:gd name="T94" fmla="*/ 194 w 726"/>
              <a:gd name="T95" fmla="*/ 224 h 726"/>
              <a:gd name="T96" fmla="*/ 248 w 726"/>
              <a:gd name="T97" fmla="*/ 272 h 726"/>
              <a:gd name="T98" fmla="*/ 312 w 726"/>
              <a:gd name="T99" fmla="*/ 302 h 726"/>
              <a:gd name="T100" fmla="*/ 362 w 726"/>
              <a:gd name="T101" fmla="*/ 308 h 726"/>
              <a:gd name="T102" fmla="*/ 362 w 726"/>
              <a:gd name="T103" fmla="*/ 274 h 726"/>
              <a:gd name="T104" fmla="*/ 384 w 726"/>
              <a:gd name="T105" fmla="*/ 234 h 726"/>
              <a:gd name="T106" fmla="*/ 424 w 726"/>
              <a:gd name="T107" fmla="*/ 210 h 726"/>
              <a:gd name="T108" fmla="*/ 458 w 726"/>
              <a:gd name="T109" fmla="*/ 212 h 726"/>
              <a:gd name="T110" fmla="*/ 500 w 726"/>
              <a:gd name="T111" fmla="*/ 234 h 726"/>
              <a:gd name="T112" fmla="*/ 526 w 726"/>
              <a:gd name="T113" fmla="*/ 228 h 726"/>
              <a:gd name="T114" fmla="*/ 546 w 726"/>
              <a:gd name="T115" fmla="*/ 228 h 726"/>
              <a:gd name="T116" fmla="*/ 516 w 726"/>
              <a:gd name="T117" fmla="*/ 260 h 726"/>
              <a:gd name="T118" fmla="*/ 562 w 726"/>
              <a:gd name="T119" fmla="*/ 248 h 726"/>
              <a:gd name="T120" fmla="*/ 544 w 726"/>
              <a:gd name="T121" fmla="*/ 27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22" y="290"/>
                </a:moveTo>
                <a:lnTo>
                  <a:pt x="522" y="290"/>
                </a:lnTo>
                <a:lnTo>
                  <a:pt x="522" y="300"/>
                </a:lnTo>
                <a:lnTo>
                  <a:pt x="522" y="320"/>
                </a:lnTo>
                <a:lnTo>
                  <a:pt x="518" y="340"/>
                </a:lnTo>
                <a:lnTo>
                  <a:pt x="514" y="360"/>
                </a:lnTo>
                <a:lnTo>
                  <a:pt x="506" y="382"/>
                </a:lnTo>
                <a:lnTo>
                  <a:pt x="498" y="400"/>
                </a:lnTo>
                <a:lnTo>
                  <a:pt x="488" y="420"/>
                </a:lnTo>
                <a:lnTo>
                  <a:pt x="476" y="438"/>
                </a:lnTo>
                <a:lnTo>
                  <a:pt x="462" y="456"/>
                </a:lnTo>
                <a:lnTo>
                  <a:pt x="448" y="472"/>
                </a:lnTo>
                <a:lnTo>
                  <a:pt x="430" y="486"/>
                </a:lnTo>
                <a:lnTo>
                  <a:pt x="410" y="498"/>
                </a:lnTo>
                <a:lnTo>
                  <a:pt x="390" y="510"/>
                </a:lnTo>
                <a:lnTo>
                  <a:pt x="368" y="518"/>
                </a:lnTo>
                <a:lnTo>
                  <a:pt x="344" y="526"/>
                </a:lnTo>
                <a:lnTo>
                  <a:pt x="318" y="530"/>
                </a:lnTo>
                <a:lnTo>
                  <a:pt x="292" y="530"/>
                </a:lnTo>
                <a:lnTo>
                  <a:pt x="274" y="530"/>
                </a:lnTo>
                <a:lnTo>
                  <a:pt x="258" y="528"/>
                </a:lnTo>
                <a:lnTo>
                  <a:pt x="242" y="526"/>
                </a:lnTo>
                <a:lnTo>
                  <a:pt x="226" y="522"/>
                </a:lnTo>
                <a:lnTo>
                  <a:pt x="194" y="510"/>
                </a:lnTo>
                <a:lnTo>
                  <a:pt x="166" y="494"/>
                </a:lnTo>
                <a:lnTo>
                  <a:pt x="186" y="496"/>
                </a:lnTo>
                <a:lnTo>
                  <a:pt x="200" y="494"/>
                </a:lnTo>
                <a:lnTo>
                  <a:pt x="214" y="492"/>
                </a:lnTo>
                <a:lnTo>
                  <a:pt x="240" y="486"/>
                </a:lnTo>
                <a:lnTo>
                  <a:pt x="264" y="476"/>
                </a:lnTo>
                <a:lnTo>
                  <a:pt x="286" y="460"/>
                </a:lnTo>
                <a:lnTo>
                  <a:pt x="274" y="460"/>
                </a:lnTo>
                <a:lnTo>
                  <a:pt x="262" y="456"/>
                </a:lnTo>
                <a:lnTo>
                  <a:pt x="250" y="450"/>
                </a:lnTo>
                <a:lnTo>
                  <a:pt x="240" y="444"/>
                </a:lnTo>
                <a:lnTo>
                  <a:pt x="230" y="436"/>
                </a:lnTo>
                <a:lnTo>
                  <a:pt x="222" y="426"/>
                </a:lnTo>
                <a:lnTo>
                  <a:pt x="216" y="416"/>
                </a:lnTo>
                <a:lnTo>
                  <a:pt x="212" y="404"/>
                </a:lnTo>
                <a:lnTo>
                  <a:pt x="226" y="406"/>
                </a:lnTo>
                <a:lnTo>
                  <a:pt x="238" y="404"/>
                </a:lnTo>
                <a:lnTo>
                  <a:pt x="248" y="402"/>
                </a:lnTo>
                <a:lnTo>
                  <a:pt x="234" y="398"/>
                </a:lnTo>
                <a:lnTo>
                  <a:pt x="222" y="392"/>
                </a:lnTo>
                <a:lnTo>
                  <a:pt x="210" y="384"/>
                </a:lnTo>
                <a:lnTo>
                  <a:pt x="202" y="376"/>
                </a:lnTo>
                <a:lnTo>
                  <a:pt x="194" y="364"/>
                </a:lnTo>
                <a:lnTo>
                  <a:pt x="188" y="352"/>
                </a:lnTo>
                <a:lnTo>
                  <a:pt x="184" y="338"/>
                </a:lnTo>
                <a:lnTo>
                  <a:pt x="182" y="324"/>
                </a:lnTo>
                <a:lnTo>
                  <a:pt x="182" y="322"/>
                </a:lnTo>
                <a:lnTo>
                  <a:pt x="200" y="330"/>
                </a:lnTo>
                <a:lnTo>
                  <a:pt x="220" y="332"/>
                </a:lnTo>
                <a:lnTo>
                  <a:pt x="204" y="320"/>
                </a:lnTo>
                <a:lnTo>
                  <a:pt x="194" y="304"/>
                </a:lnTo>
                <a:lnTo>
                  <a:pt x="190" y="294"/>
                </a:lnTo>
                <a:lnTo>
                  <a:pt x="186" y="286"/>
                </a:lnTo>
                <a:lnTo>
                  <a:pt x="184" y="276"/>
                </a:lnTo>
                <a:lnTo>
                  <a:pt x="184" y="264"/>
                </a:lnTo>
                <a:lnTo>
                  <a:pt x="184" y="254"/>
                </a:lnTo>
                <a:lnTo>
                  <a:pt x="186" y="244"/>
                </a:lnTo>
                <a:lnTo>
                  <a:pt x="190" y="234"/>
                </a:lnTo>
                <a:lnTo>
                  <a:pt x="194" y="224"/>
                </a:lnTo>
                <a:lnTo>
                  <a:pt x="210" y="242"/>
                </a:lnTo>
                <a:lnTo>
                  <a:pt x="228" y="258"/>
                </a:lnTo>
                <a:lnTo>
                  <a:pt x="248" y="272"/>
                </a:lnTo>
                <a:lnTo>
                  <a:pt x="268" y="284"/>
                </a:lnTo>
                <a:lnTo>
                  <a:pt x="290" y="294"/>
                </a:lnTo>
                <a:lnTo>
                  <a:pt x="312" y="302"/>
                </a:lnTo>
                <a:lnTo>
                  <a:pt x="336" y="306"/>
                </a:lnTo>
                <a:lnTo>
                  <a:pt x="362" y="308"/>
                </a:lnTo>
                <a:lnTo>
                  <a:pt x="360" y="290"/>
                </a:lnTo>
                <a:lnTo>
                  <a:pt x="362" y="274"/>
                </a:lnTo>
                <a:lnTo>
                  <a:pt x="366" y="258"/>
                </a:lnTo>
                <a:lnTo>
                  <a:pt x="374" y="246"/>
                </a:lnTo>
                <a:lnTo>
                  <a:pt x="384" y="234"/>
                </a:lnTo>
                <a:lnTo>
                  <a:pt x="396" y="224"/>
                </a:lnTo>
                <a:lnTo>
                  <a:pt x="408" y="216"/>
                </a:lnTo>
                <a:lnTo>
                  <a:pt x="424" y="210"/>
                </a:lnTo>
                <a:lnTo>
                  <a:pt x="440" y="210"/>
                </a:lnTo>
                <a:lnTo>
                  <a:pt x="458" y="212"/>
                </a:lnTo>
                <a:lnTo>
                  <a:pt x="474" y="216"/>
                </a:lnTo>
                <a:lnTo>
                  <a:pt x="488" y="224"/>
                </a:lnTo>
                <a:lnTo>
                  <a:pt x="500" y="234"/>
                </a:lnTo>
                <a:lnTo>
                  <a:pt x="514" y="232"/>
                </a:lnTo>
                <a:lnTo>
                  <a:pt x="526" y="228"/>
                </a:lnTo>
                <a:lnTo>
                  <a:pt x="552" y="216"/>
                </a:lnTo>
                <a:lnTo>
                  <a:pt x="546" y="228"/>
                </a:lnTo>
                <a:lnTo>
                  <a:pt x="538" y="240"/>
                </a:lnTo>
                <a:lnTo>
                  <a:pt x="528" y="252"/>
                </a:lnTo>
                <a:lnTo>
                  <a:pt x="516" y="260"/>
                </a:lnTo>
                <a:lnTo>
                  <a:pt x="540" y="256"/>
                </a:lnTo>
                <a:lnTo>
                  <a:pt x="562" y="248"/>
                </a:lnTo>
                <a:lnTo>
                  <a:pt x="554" y="260"/>
                </a:lnTo>
                <a:lnTo>
                  <a:pt x="544" y="270"/>
                </a:lnTo>
                <a:lnTo>
                  <a:pt x="534" y="280"/>
                </a:lnTo>
                <a:lnTo>
                  <a:pt x="522" y="29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8" name="TextBox 27"/>
          <p:cNvSpPr txBox="1">
            <a:spLocks noChangeArrowheads="1"/>
          </p:cNvSpPr>
          <p:nvPr userDrawn="1"/>
        </p:nvSpPr>
        <p:spPr bwMode="auto">
          <a:xfrm>
            <a:off x="6876044" y="3614098"/>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witter</a:t>
            </a:r>
          </a:p>
        </p:txBody>
      </p:sp>
      <p:grpSp>
        <p:nvGrpSpPr>
          <p:cNvPr id="48" name="Group 47"/>
          <p:cNvGrpSpPr/>
          <p:nvPr userDrawn="1"/>
        </p:nvGrpSpPr>
        <p:grpSpPr>
          <a:xfrm>
            <a:off x="8157475" y="2521766"/>
            <a:ext cx="1080000" cy="1080000"/>
            <a:chOff x="2093913" y="1885950"/>
            <a:chExt cx="1481137" cy="1479550"/>
          </a:xfrm>
          <a:solidFill>
            <a:srgbClr val="000000"/>
          </a:solidFill>
        </p:grpSpPr>
        <p:sp>
          <p:nvSpPr>
            <p:cNvPr id="49" name="Freeform 56">
              <a:extLst>
                <a:ext uri="{FF2B5EF4-FFF2-40B4-BE49-F238E27FC236}">
                  <a16:creationId xmlns:a16="http://schemas.microsoft.com/office/drawing/2014/main" id="{93B880DA-0A70-482D-B3F2-3A7ABC48D3E8}"/>
                </a:ext>
              </a:extLst>
            </p:cNvPr>
            <p:cNvSpPr>
              <a:spLocks/>
            </p:cNvSpPr>
            <p:nvPr/>
          </p:nvSpPr>
          <p:spPr bwMode="auto">
            <a:xfrm>
              <a:off x="2716213" y="2506663"/>
              <a:ext cx="236537" cy="236538"/>
            </a:xfrm>
            <a:custGeom>
              <a:avLst/>
              <a:gdLst>
                <a:gd name="T0" fmla="*/ 222 w 445"/>
                <a:gd name="T1" fmla="*/ 0 h 446"/>
                <a:gd name="T2" fmla="*/ 178 w 445"/>
                <a:gd name="T3" fmla="*/ 5 h 446"/>
                <a:gd name="T4" fmla="*/ 135 w 445"/>
                <a:gd name="T5" fmla="*/ 18 h 446"/>
                <a:gd name="T6" fmla="*/ 97 w 445"/>
                <a:gd name="T7" fmla="*/ 38 h 446"/>
                <a:gd name="T8" fmla="*/ 65 w 445"/>
                <a:gd name="T9" fmla="*/ 66 h 446"/>
                <a:gd name="T10" fmla="*/ 37 w 445"/>
                <a:gd name="T11" fmla="*/ 99 h 446"/>
                <a:gd name="T12" fmla="*/ 16 w 445"/>
                <a:gd name="T13" fmla="*/ 137 h 446"/>
                <a:gd name="T14" fmla="*/ 4 w 445"/>
                <a:gd name="T15" fmla="*/ 179 h 446"/>
                <a:gd name="T16" fmla="*/ 0 w 445"/>
                <a:gd name="T17" fmla="*/ 223 h 446"/>
                <a:gd name="T18" fmla="*/ 0 w 445"/>
                <a:gd name="T19" fmla="*/ 247 h 446"/>
                <a:gd name="T20" fmla="*/ 9 w 445"/>
                <a:gd name="T21" fmla="*/ 289 h 446"/>
                <a:gd name="T22" fmla="*/ 26 w 445"/>
                <a:gd name="T23" fmla="*/ 330 h 446"/>
                <a:gd name="T24" fmla="*/ 50 w 445"/>
                <a:gd name="T25" fmla="*/ 366 h 446"/>
                <a:gd name="T26" fmla="*/ 81 w 445"/>
                <a:gd name="T27" fmla="*/ 395 h 446"/>
                <a:gd name="T28" fmla="*/ 116 w 445"/>
                <a:gd name="T29" fmla="*/ 420 h 446"/>
                <a:gd name="T30" fmla="*/ 156 w 445"/>
                <a:gd name="T31" fmla="*/ 436 h 446"/>
                <a:gd name="T32" fmla="*/ 200 w 445"/>
                <a:gd name="T33" fmla="*/ 445 h 446"/>
                <a:gd name="T34" fmla="*/ 222 w 445"/>
                <a:gd name="T35" fmla="*/ 446 h 446"/>
                <a:gd name="T36" fmla="*/ 267 w 445"/>
                <a:gd name="T37" fmla="*/ 442 h 446"/>
                <a:gd name="T38" fmla="*/ 308 w 445"/>
                <a:gd name="T39" fmla="*/ 429 h 446"/>
                <a:gd name="T40" fmla="*/ 347 w 445"/>
                <a:gd name="T41" fmla="*/ 408 h 446"/>
                <a:gd name="T42" fmla="*/ 380 w 445"/>
                <a:gd name="T43" fmla="*/ 380 h 446"/>
                <a:gd name="T44" fmla="*/ 407 w 445"/>
                <a:gd name="T45" fmla="*/ 348 h 446"/>
                <a:gd name="T46" fmla="*/ 427 w 445"/>
                <a:gd name="T47" fmla="*/ 310 h 446"/>
                <a:gd name="T48" fmla="*/ 441 w 445"/>
                <a:gd name="T49" fmla="*/ 269 h 446"/>
                <a:gd name="T50" fmla="*/ 445 w 445"/>
                <a:gd name="T51" fmla="*/ 223 h 446"/>
                <a:gd name="T52" fmla="*/ 444 w 445"/>
                <a:gd name="T53" fmla="*/ 201 h 446"/>
                <a:gd name="T54" fmla="*/ 435 w 445"/>
                <a:gd name="T55" fmla="*/ 157 h 446"/>
                <a:gd name="T56" fmla="*/ 419 w 445"/>
                <a:gd name="T57" fmla="*/ 118 h 446"/>
                <a:gd name="T58" fmla="*/ 394 w 445"/>
                <a:gd name="T59" fmla="*/ 82 h 446"/>
                <a:gd name="T60" fmla="*/ 364 w 445"/>
                <a:gd name="T61" fmla="*/ 52 h 446"/>
                <a:gd name="T62" fmla="*/ 329 w 445"/>
                <a:gd name="T63" fmla="*/ 28 h 446"/>
                <a:gd name="T64" fmla="*/ 288 w 445"/>
                <a:gd name="T65" fmla="*/ 10 h 446"/>
                <a:gd name="T66" fmla="*/ 245 w 445"/>
                <a:gd name="T67" fmla="*/ 2 h 446"/>
                <a:gd name="T68" fmla="*/ 222 w 445"/>
                <a:gd name="T69"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5" h="446">
                  <a:moveTo>
                    <a:pt x="222" y="0"/>
                  </a:moveTo>
                  <a:lnTo>
                    <a:pt x="222" y="0"/>
                  </a:lnTo>
                  <a:lnTo>
                    <a:pt x="200" y="2"/>
                  </a:lnTo>
                  <a:lnTo>
                    <a:pt x="178" y="5"/>
                  </a:lnTo>
                  <a:lnTo>
                    <a:pt x="156" y="10"/>
                  </a:lnTo>
                  <a:lnTo>
                    <a:pt x="135" y="18"/>
                  </a:lnTo>
                  <a:lnTo>
                    <a:pt x="116" y="28"/>
                  </a:lnTo>
                  <a:lnTo>
                    <a:pt x="97" y="38"/>
                  </a:lnTo>
                  <a:lnTo>
                    <a:pt x="81" y="52"/>
                  </a:lnTo>
                  <a:lnTo>
                    <a:pt x="65" y="66"/>
                  </a:lnTo>
                  <a:lnTo>
                    <a:pt x="50" y="82"/>
                  </a:lnTo>
                  <a:lnTo>
                    <a:pt x="37" y="99"/>
                  </a:lnTo>
                  <a:lnTo>
                    <a:pt x="26" y="118"/>
                  </a:lnTo>
                  <a:lnTo>
                    <a:pt x="16" y="137"/>
                  </a:lnTo>
                  <a:lnTo>
                    <a:pt x="9" y="157"/>
                  </a:lnTo>
                  <a:lnTo>
                    <a:pt x="4" y="179"/>
                  </a:lnTo>
                  <a:lnTo>
                    <a:pt x="0" y="201"/>
                  </a:lnTo>
                  <a:lnTo>
                    <a:pt x="0" y="223"/>
                  </a:lnTo>
                  <a:lnTo>
                    <a:pt x="0" y="223"/>
                  </a:lnTo>
                  <a:lnTo>
                    <a:pt x="0" y="247"/>
                  </a:lnTo>
                  <a:lnTo>
                    <a:pt x="4" y="269"/>
                  </a:lnTo>
                  <a:lnTo>
                    <a:pt x="9" y="289"/>
                  </a:lnTo>
                  <a:lnTo>
                    <a:pt x="16" y="310"/>
                  </a:lnTo>
                  <a:lnTo>
                    <a:pt x="26" y="330"/>
                  </a:lnTo>
                  <a:lnTo>
                    <a:pt x="37" y="348"/>
                  </a:lnTo>
                  <a:lnTo>
                    <a:pt x="50" y="366"/>
                  </a:lnTo>
                  <a:lnTo>
                    <a:pt x="65" y="380"/>
                  </a:lnTo>
                  <a:lnTo>
                    <a:pt x="81" y="395"/>
                  </a:lnTo>
                  <a:lnTo>
                    <a:pt x="97" y="408"/>
                  </a:lnTo>
                  <a:lnTo>
                    <a:pt x="116" y="420"/>
                  </a:lnTo>
                  <a:lnTo>
                    <a:pt x="135" y="429"/>
                  </a:lnTo>
                  <a:lnTo>
                    <a:pt x="156" y="436"/>
                  </a:lnTo>
                  <a:lnTo>
                    <a:pt x="178" y="442"/>
                  </a:lnTo>
                  <a:lnTo>
                    <a:pt x="200" y="445"/>
                  </a:lnTo>
                  <a:lnTo>
                    <a:pt x="222" y="446"/>
                  </a:lnTo>
                  <a:lnTo>
                    <a:pt x="222" y="446"/>
                  </a:lnTo>
                  <a:lnTo>
                    <a:pt x="245" y="445"/>
                  </a:lnTo>
                  <a:lnTo>
                    <a:pt x="267" y="442"/>
                  </a:lnTo>
                  <a:lnTo>
                    <a:pt x="288" y="436"/>
                  </a:lnTo>
                  <a:lnTo>
                    <a:pt x="308" y="429"/>
                  </a:lnTo>
                  <a:lnTo>
                    <a:pt x="329" y="420"/>
                  </a:lnTo>
                  <a:lnTo>
                    <a:pt x="347" y="408"/>
                  </a:lnTo>
                  <a:lnTo>
                    <a:pt x="364" y="395"/>
                  </a:lnTo>
                  <a:lnTo>
                    <a:pt x="380" y="380"/>
                  </a:lnTo>
                  <a:lnTo>
                    <a:pt x="394" y="366"/>
                  </a:lnTo>
                  <a:lnTo>
                    <a:pt x="407" y="348"/>
                  </a:lnTo>
                  <a:lnTo>
                    <a:pt x="419" y="330"/>
                  </a:lnTo>
                  <a:lnTo>
                    <a:pt x="427" y="310"/>
                  </a:lnTo>
                  <a:lnTo>
                    <a:pt x="435" y="289"/>
                  </a:lnTo>
                  <a:lnTo>
                    <a:pt x="441" y="269"/>
                  </a:lnTo>
                  <a:lnTo>
                    <a:pt x="444" y="247"/>
                  </a:lnTo>
                  <a:lnTo>
                    <a:pt x="445" y="223"/>
                  </a:lnTo>
                  <a:lnTo>
                    <a:pt x="445" y="223"/>
                  </a:lnTo>
                  <a:lnTo>
                    <a:pt x="444" y="201"/>
                  </a:lnTo>
                  <a:lnTo>
                    <a:pt x="441" y="179"/>
                  </a:lnTo>
                  <a:lnTo>
                    <a:pt x="435" y="157"/>
                  </a:lnTo>
                  <a:lnTo>
                    <a:pt x="427" y="137"/>
                  </a:lnTo>
                  <a:lnTo>
                    <a:pt x="419" y="118"/>
                  </a:lnTo>
                  <a:lnTo>
                    <a:pt x="407" y="99"/>
                  </a:lnTo>
                  <a:lnTo>
                    <a:pt x="394" y="82"/>
                  </a:lnTo>
                  <a:lnTo>
                    <a:pt x="380" y="66"/>
                  </a:lnTo>
                  <a:lnTo>
                    <a:pt x="364" y="52"/>
                  </a:lnTo>
                  <a:lnTo>
                    <a:pt x="347" y="38"/>
                  </a:lnTo>
                  <a:lnTo>
                    <a:pt x="329" y="28"/>
                  </a:lnTo>
                  <a:lnTo>
                    <a:pt x="308" y="18"/>
                  </a:lnTo>
                  <a:lnTo>
                    <a:pt x="288" y="10"/>
                  </a:lnTo>
                  <a:lnTo>
                    <a:pt x="267" y="5"/>
                  </a:lnTo>
                  <a:lnTo>
                    <a:pt x="245" y="2"/>
                  </a:lnTo>
                  <a:lnTo>
                    <a:pt x="222" y="0"/>
                  </a:lnTo>
                  <a:lnTo>
                    <a:pt x="2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0" name="Freeform 57">
              <a:extLst>
                <a:ext uri="{FF2B5EF4-FFF2-40B4-BE49-F238E27FC236}">
                  <a16:creationId xmlns:a16="http://schemas.microsoft.com/office/drawing/2014/main" id="{AC29F551-556C-46D3-A905-A5880A1C999E}"/>
                </a:ext>
              </a:extLst>
            </p:cNvPr>
            <p:cNvSpPr>
              <a:spLocks noEditPoints="1"/>
            </p:cNvSpPr>
            <p:nvPr/>
          </p:nvSpPr>
          <p:spPr bwMode="auto">
            <a:xfrm>
              <a:off x="2093913" y="1885950"/>
              <a:ext cx="1481137" cy="1479550"/>
            </a:xfrm>
            <a:custGeom>
              <a:avLst/>
              <a:gdLst>
                <a:gd name="T0" fmla="*/ 1292 w 2799"/>
                <a:gd name="T1" fmla="*/ 4 h 2796"/>
                <a:gd name="T2" fmla="*/ 1117 w 2799"/>
                <a:gd name="T3" fmla="*/ 28 h 2796"/>
                <a:gd name="T4" fmla="*/ 792 w 2799"/>
                <a:gd name="T5" fmla="*/ 138 h 2796"/>
                <a:gd name="T6" fmla="*/ 510 w 2799"/>
                <a:gd name="T7" fmla="*/ 318 h 2796"/>
                <a:gd name="T8" fmla="*/ 278 w 2799"/>
                <a:gd name="T9" fmla="*/ 561 h 2796"/>
                <a:gd name="T10" fmla="*/ 110 w 2799"/>
                <a:gd name="T11" fmla="*/ 853 h 2796"/>
                <a:gd name="T12" fmla="*/ 22 w 2799"/>
                <a:gd name="T13" fmla="*/ 1151 h 2796"/>
                <a:gd name="T14" fmla="*/ 1 w 2799"/>
                <a:gd name="T15" fmla="*/ 1325 h 2796"/>
                <a:gd name="T16" fmla="*/ 1 w 2799"/>
                <a:gd name="T17" fmla="*/ 1469 h 2796"/>
                <a:gd name="T18" fmla="*/ 22 w 2799"/>
                <a:gd name="T19" fmla="*/ 1645 h 2796"/>
                <a:gd name="T20" fmla="*/ 110 w 2799"/>
                <a:gd name="T21" fmla="*/ 1942 h 2796"/>
                <a:gd name="T22" fmla="*/ 278 w 2799"/>
                <a:gd name="T23" fmla="*/ 2234 h 2796"/>
                <a:gd name="T24" fmla="*/ 510 w 2799"/>
                <a:gd name="T25" fmla="*/ 2476 h 2796"/>
                <a:gd name="T26" fmla="*/ 792 w 2799"/>
                <a:gd name="T27" fmla="*/ 2658 h 2796"/>
                <a:gd name="T28" fmla="*/ 1117 w 2799"/>
                <a:gd name="T29" fmla="*/ 2767 h 2796"/>
                <a:gd name="T30" fmla="*/ 1292 w 2799"/>
                <a:gd name="T31" fmla="*/ 2792 h 2796"/>
                <a:gd name="T32" fmla="*/ 1435 w 2799"/>
                <a:gd name="T33" fmla="*/ 2795 h 2796"/>
                <a:gd name="T34" fmla="*/ 1612 w 2799"/>
                <a:gd name="T35" fmla="*/ 2780 h 2796"/>
                <a:gd name="T36" fmla="*/ 1881 w 2799"/>
                <a:gd name="T37" fmla="*/ 2711 h 2796"/>
                <a:gd name="T38" fmla="*/ 2182 w 2799"/>
                <a:gd name="T39" fmla="*/ 2557 h 2796"/>
                <a:gd name="T40" fmla="*/ 2435 w 2799"/>
                <a:gd name="T41" fmla="*/ 2338 h 2796"/>
                <a:gd name="T42" fmla="*/ 2630 w 2799"/>
                <a:gd name="T43" fmla="*/ 2064 h 2796"/>
                <a:gd name="T44" fmla="*/ 2755 w 2799"/>
                <a:gd name="T45" fmla="*/ 1747 h 2796"/>
                <a:gd name="T46" fmla="*/ 2792 w 2799"/>
                <a:gd name="T47" fmla="*/ 1541 h 2796"/>
                <a:gd name="T48" fmla="*/ 2799 w 2799"/>
                <a:gd name="T49" fmla="*/ 1397 h 2796"/>
                <a:gd name="T50" fmla="*/ 2787 w 2799"/>
                <a:gd name="T51" fmla="*/ 1220 h 2796"/>
                <a:gd name="T52" fmla="*/ 2736 w 2799"/>
                <a:gd name="T53" fmla="*/ 982 h 2796"/>
                <a:gd name="T54" fmla="*/ 2596 w 2799"/>
                <a:gd name="T55" fmla="*/ 672 h 2796"/>
                <a:gd name="T56" fmla="*/ 2389 w 2799"/>
                <a:gd name="T57" fmla="*/ 409 h 2796"/>
                <a:gd name="T58" fmla="*/ 2125 w 2799"/>
                <a:gd name="T59" fmla="*/ 203 h 2796"/>
                <a:gd name="T60" fmla="*/ 1816 w 2799"/>
                <a:gd name="T61" fmla="*/ 63 h 2796"/>
                <a:gd name="T62" fmla="*/ 1578 w 2799"/>
                <a:gd name="T63" fmla="*/ 10 h 2796"/>
                <a:gd name="T64" fmla="*/ 1399 w 2799"/>
                <a:gd name="T65" fmla="*/ 0 h 2796"/>
                <a:gd name="T66" fmla="*/ 2060 w 2799"/>
                <a:gd name="T67" fmla="*/ 1723 h 2796"/>
                <a:gd name="T68" fmla="*/ 2033 w 2799"/>
                <a:gd name="T69" fmla="*/ 1835 h 2796"/>
                <a:gd name="T70" fmla="*/ 1982 w 2799"/>
                <a:gd name="T71" fmla="*/ 1926 h 2796"/>
                <a:gd name="T72" fmla="*/ 1928 w 2799"/>
                <a:gd name="T73" fmla="*/ 1978 h 2796"/>
                <a:gd name="T74" fmla="*/ 1838 w 2799"/>
                <a:gd name="T75" fmla="*/ 2031 h 2796"/>
                <a:gd name="T76" fmla="*/ 1725 w 2799"/>
                <a:gd name="T77" fmla="*/ 2058 h 2796"/>
                <a:gd name="T78" fmla="*/ 1578 w 2799"/>
                <a:gd name="T79" fmla="*/ 2065 h 2796"/>
                <a:gd name="T80" fmla="*/ 1124 w 2799"/>
                <a:gd name="T81" fmla="*/ 2062 h 2796"/>
                <a:gd name="T82" fmla="*/ 1031 w 2799"/>
                <a:gd name="T83" fmla="*/ 2052 h 2796"/>
                <a:gd name="T84" fmla="*/ 914 w 2799"/>
                <a:gd name="T85" fmla="*/ 2009 h 2796"/>
                <a:gd name="T86" fmla="*/ 842 w 2799"/>
                <a:gd name="T87" fmla="*/ 1954 h 2796"/>
                <a:gd name="T88" fmla="*/ 796 w 2799"/>
                <a:gd name="T89" fmla="*/ 1898 h 2796"/>
                <a:gd name="T90" fmla="*/ 754 w 2799"/>
                <a:gd name="T91" fmla="*/ 1802 h 2796"/>
                <a:gd name="T92" fmla="*/ 735 w 2799"/>
                <a:gd name="T93" fmla="*/ 1673 h 2796"/>
                <a:gd name="T94" fmla="*/ 730 w 2799"/>
                <a:gd name="T95" fmla="*/ 1397 h 2796"/>
                <a:gd name="T96" fmla="*/ 736 w 2799"/>
                <a:gd name="T97" fmla="*/ 1096 h 2796"/>
                <a:gd name="T98" fmla="*/ 766 w 2799"/>
                <a:gd name="T99" fmla="*/ 960 h 2796"/>
                <a:gd name="T100" fmla="*/ 807 w 2799"/>
                <a:gd name="T101" fmla="*/ 884 h 2796"/>
                <a:gd name="T102" fmla="*/ 857 w 2799"/>
                <a:gd name="T103" fmla="*/ 828 h 2796"/>
                <a:gd name="T104" fmla="*/ 929 w 2799"/>
                <a:gd name="T105" fmla="*/ 778 h 2796"/>
                <a:gd name="T106" fmla="*/ 1052 w 2799"/>
                <a:gd name="T107" fmla="*/ 740 h 2796"/>
                <a:gd name="T108" fmla="*/ 1220 w 2799"/>
                <a:gd name="T109" fmla="*/ 729 h 2796"/>
                <a:gd name="T110" fmla="*/ 1675 w 2799"/>
                <a:gd name="T111" fmla="*/ 732 h 2796"/>
                <a:gd name="T112" fmla="*/ 1804 w 2799"/>
                <a:gd name="T113" fmla="*/ 753 h 2796"/>
                <a:gd name="T114" fmla="*/ 1900 w 2799"/>
                <a:gd name="T115" fmla="*/ 796 h 2796"/>
                <a:gd name="T116" fmla="*/ 1956 w 2799"/>
                <a:gd name="T117" fmla="*/ 841 h 2796"/>
                <a:gd name="T118" fmla="*/ 2011 w 2799"/>
                <a:gd name="T119" fmla="*/ 913 h 2796"/>
                <a:gd name="T120" fmla="*/ 2054 w 2799"/>
                <a:gd name="T121" fmla="*/ 1030 h 2796"/>
                <a:gd name="T122" fmla="*/ 2064 w 2799"/>
                <a:gd name="T123" fmla="*/ 1121 h 2796"/>
                <a:gd name="T124" fmla="*/ 2067 w 2799"/>
                <a:gd name="T125" fmla="*/ 1576 h 2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99" h="2796">
                  <a:moveTo>
                    <a:pt x="1399" y="0"/>
                  </a:moveTo>
                  <a:lnTo>
                    <a:pt x="1399" y="0"/>
                  </a:lnTo>
                  <a:lnTo>
                    <a:pt x="1364" y="0"/>
                  </a:lnTo>
                  <a:lnTo>
                    <a:pt x="1327" y="1"/>
                  </a:lnTo>
                  <a:lnTo>
                    <a:pt x="1292" y="4"/>
                  </a:lnTo>
                  <a:lnTo>
                    <a:pt x="1256" y="7"/>
                  </a:lnTo>
                  <a:lnTo>
                    <a:pt x="1221" y="10"/>
                  </a:lnTo>
                  <a:lnTo>
                    <a:pt x="1186" y="16"/>
                  </a:lnTo>
                  <a:lnTo>
                    <a:pt x="1152" y="22"/>
                  </a:lnTo>
                  <a:lnTo>
                    <a:pt x="1117" y="28"/>
                  </a:lnTo>
                  <a:lnTo>
                    <a:pt x="1049" y="44"/>
                  </a:lnTo>
                  <a:lnTo>
                    <a:pt x="983" y="63"/>
                  </a:lnTo>
                  <a:lnTo>
                    <a:pt x="918" y="85"/>
                  </a:lnTo>
                  <a:lnTo>
                    <a:pt x="855" y="110"/>
                  </a:lnTo>
                  <a:lnTo>
                    <a:pt x="792" y="138"/>
                  </a:lnTo>
                  <a:lnTo>
                    <a:pt x="732" y="169"/>
                  </a:lnTo>
                  <a:lnTo>
                    <a:pt x="673" y="203"/>
                  </a:lnTo>
                  <a:lnTo>
                    <a:pt x="617" y="238"/>
                  </a:lnTo>
                  <a:lnTo>
                    <a:pt x="561" y="277"/>
                  </a:lnTo>
                  <a:lnTo>
                    <a:pt x="510" y="318"/>
                  </a:lnTo>
                  <a:lnTo>
                    <a:pt x="458" y="363"/>
                  </a:lnTo>
                  <a:lnTo>
                    <a:pt x="410" y="409"/>
                  </a:lnTo>
                  <a:lnTo>
                    <a:pt x="363" y="458"/>
                  </a:lnTo>
                  <a:lnTo>
                    <a:pt x="319" y="508"/>
                  </a:lnTo>
                  <a:lnTo>
                    <a:pt x="278" y="561"/>
                  </a:lnTo>
                  <a:lnTo>
                    <a:pt x="239" y="616"/>
                  </a:lnTo>
                  <a:lnTo>
                    <a:pt x="203" y="672"/>
                  </a:lnTo>
                  <a:lnTo>
                    <a:pt x="169" y="731"/>
                  </a:lnTo>
                  <a:lnTo>
                    <a:pt x="138" y="791"/>
                  </a:lnTo>
                  <a:lnTo>
                    <a:pt x="110" y="853"/>
                  </a:lnTo>
                  <a:lnTo>
                    <a:pt x="85" y="917"/>
                  </a:lnTo>
                  <a:lnTo>
                    <a:pt x="63" y="982"/>
                  </a:lnTo>
                  <a:lnTo>
                    <a:pt x="44" y="1048"/>
                  </a:lnTo>
                  <a:lnTo>
                    <a:pt x="28" y="1115"/>
                  </a:lnTo>
                  <a:lnTo>
                    <a:pt x="22" y="1151"/>
                  </a:lnTo>
                  <a:lnTo>
                    <a:pt x="16" y="1184"/>
                  </a:lnTo>
                  <a:lnTo>
                    <a:pt x="12" y="1220"/>
                  </a:lnTo>
                  <a:lnTo>
                    <a:pt x="7" y="1255"/>
                  </a:lnTo>
                  <a:lnTo>
                    <a:pt x="4" y="1290"/>
                  </a:lnTo>
                  <a:lnTo>
                    <a:pt x="1" y="1325"/>
                  </a:lnTo>
                  <a:lnTo>
                    <a:pt x="0" y="1362"/>
                  </a:lnTo>
                  <a:lnTo>
                    <a:pt x="0" y="1397"/>
                  </a:lnTo>
                  <a:lnTo>
                    <a:pt x="0" y="1397"/>
                  </a:lnTo>
                  <a:lnTo>
                    <a:pt x="0" y="1434"/>
                  </a:lnTo>
                  <a:lnTo>
                    <a:pt x="1" y="1469"/>
                  </a:lnTo>
                  <a:lnTo>
                    <a:pt x="4" y="1504"/>
                  </a:lnTo>
                  <a:lnTo>
                    <a:pt x="7" y="1541"/>
                  </a:lnTo>
                  <a:lnTo>
                    <a:pt x="12" y="1575"/>
                  </a:lnTo>
                  <a:lnTo>
                    <a:pt x="16" y="1610"/>
                  </a:lnTo>
                  <a:lnTo>
                    <a:pt x="22" y="1645"/>
                  </a:lnTo>
                  <a:lnTo>
                    <a:pt x="28" y="1679"/>
                  </a:lnTo>
                  <a:lnTo>
                    <a:pt x="44" y="1747"/>
                  </a:lnTo>
                  <a:lnTo>
                    <a:pt x="63" y="1813"/>
                  </a:lnTo>
                  <a:lnTo>
                    <a:pt x="85" y="1879"/>
                  </a:lnTo>
                  <a:lnTo>
                    <a:pt x="110" y="1942"/>
                  </a:lnTo>
                  <a:lnTo>
                    <a:pt x="138" y="2003"/>
                  </a:lnTo>
                  <a:lnTo>
                    <a:pt x="169" y="2064"/>
                  </a:lnTo>
                  <a:lnTo>
                    <a:pt x="203" y="2122"/>
                  </a:lnTo>
                  <a:lnTo>
                    <a:pt x="239" y="2180"/>
                  </a:lnTo>
                  <a:lnTo>
                    <a:pt x="278" y="2234"/>
                  </a:lnTo>
                  <a:lnTo>
                    <a:pt x="319" y="2287"/>
                  </a:lnTo>
                  <a:lnTo>
                    <a:pt x="363" y="2338"/>
                  </a:lnTo>
                  <a:lnTo>
                    <a:pt x="410" y="2387"/>
                  </a:lnTo>
                  <a:lnTo>
                    <a:pt x="458" y="2432"/>
                  </a:lnTo>
                  <a:lnTo>
                    <a:pt x="510" y="2476"/>
                  </a:lnTo>
                  <a:lnTo>
                    <a:pt x="561" y="2517"/>
                  </a:lnTo>
                  <a:lnTo>
                    <a:pt x="617" y="2557"/>
                  </a:lnTo>
                  <a:lnTo>
                    <a:pt x="673" y="2593"/>
                  </a:lnTo>
                  <a:lnTo>
                    <a:pt x="732" y="2627"/>
                  </a:lnTo>
                  <a:lnTo>
                    <a:pt x="792" y="2658"/>
                  </a:lnTo>
                  <a:lnTo>
                    <a:pt x="855" y="2686"/>
                  </a:lnTo>
                  <a:lnTo>
                    <a:pt x="918" y="2711"/>
                  </a:lnTo>
                  <a:lnTo>
                    <a:pt x="983" y="2733"/>
                  </a:lnTo>
                  <a:lnTo>
                    <a:pt x="1049" y="2752"/>
                  </a:lnTo>
                  <a:lnTo>
                    <a:pt x="1117" y="2767"/>
                  </a:lnTo>
                  <a:lnTo>
                    <a:pt x="1152" y="2774"/>
                  </a:lnTo>
                  <a:lnTo>
                    <a:pt x="1186" y="2780"/>
                  </a:lnTo>
                  <a:lnTo>
                    <a:pt x="1221" y="2784"/>
                  </a:lnTo>
                  <a:lnTo>
                    <a:pt x="1256" y="2789"/>
                  </a:lnTo>
                  <a:lnTo>
                    <a:pt x="1292" y="2792"/>
                  </a:lnTo>
                  <a:lnTo>
                    <a:pt x="1327" y="2793"/>
                  </a:lnTo>
                  <a:lnTo>
                    <a:pt x="1364" y="2795"/>
                  </a:lnTo>
                  <a:lnTo>
                    <a:pt x="1399" y="2796"/>
                  </a:lnTo>
                  <a:lnTo>
                    <a:pt x="1399" y="2796"/>
                  </a:lnTo>
                  <a:lnTo>
                    <a:pt x="1435" y="2795"/>
                  </a:lnTo>
                  <a:lnTo>
                    <a:pt x="1471" y="2793"/>
                  </a:lnTo>
                  <a:lnTo>
                    <a:pt x="1507" y="2792"/>
                  </a:lnTo>
                  <a:lnTo>
                    <a:pt x="1543" y="2789"/>
                  </a:lnTo>
                  <a:lnTo>
                    <a:pt x="1578" y="2784"/>
                  </a:lnTo>
                  <a:lnTo>
                    <a:pt x="1612" y="2780"/>
                  </a:lnTo>
                  <a:lnTo>
                    <a:pt x="1647" y="2774"/>
                  </a:lnTo>
                  <a:lnTo>
                    <a:pt x="1681" y="2767"/>
                  </a:lnTo>
                  <a:lnTo>
                    <a:pt x="1748" y="2752"/>
                  </a:lnTo>
                  <a:lnTo>
                    <a:pt x="1816" y="2733"/>
                  </a:lnTo>
                  <a:lnTo>
                    <a:pt x="1881" y="2711"/>
                  </a:lnTo>
                  <a:lnTo>
                    <a:pt x="1944" y="2686"/>
                  </a:lnTo>
                  <a:lnTo>
                    <a:pt x="2006" y="2658"/>
                  </a:lnTo>
                  <a:lnTo>
                    <a:pt x="2066" y="2627"/>
                  </a:lnTo>
                  <a:lnTo>
                    <a:pt x="2125" y="2593"/>
                  </a:lnTo>
                  <a:lnTo>
                    <a:pt x="2182" y="2557"/>
                  </a:lnTo>
                  <a:lnTo>
                    <a:pt x="2236" y="2517"/>
                  </a:lnTo>
                  <a:lnTo>
                    <a:pt x="2289" y="2476"/>
                  </a:lnTo>
                  <a:lnTo>
                    <a:pt x="2341" y="2432"/>
                  </a:lnTo>
                  <a:lnTo>
                    <a:pt x="2389" y="2387"/>
                  </a:lnTo>
                  <a:lnTo>
                    <a:pt x="2435" y="2338"/>
                  </a:lnTo>
                  <a:lnTo>
                    <a:pt x="2479" y="2287"/>
                  </a:lnTo>
                  <a:lnTo>
                    <a:pt x="2521" y="2234"/>
                  </a:lnTo>
                  <a:lnTo>
                    <a:pt x="2560" y="2180"/>
                  </a:lnTo>
                  <a:lnTo>
                    <a:pt x="2596" y="2122"/>
                  </a:lnTo>
                  <a:lnTo>
                    <a:pt x="2630" y="2064"/>
                  </a:lnTo>
                  <a:lnTo>
                    <a:pt x="2661" y="2003"/>
                  </a:lnTo>
                  <a:lnTo>
                    <a:pt x="2689" y="1942"/>
                  </a:lnTo>
                  <a:lnTo>
                    <a:pt x="2714" y="1879"/>
                  </a:lnTo>
                  <a:lnTo>
                    <a:pt x="2736" y="1813"/>
                  </a:lnTo>
                  <a:lnTo>
                    <a:pt x="2755" y="1747"/>
                  </a:lnTo>
                  <a:lnTo>
                    <a:pt x="2770" y="1679"/>
                  </a:lnTo>
                  <a:lnTo>
                    <a:pt x="2777" y="1645"/>
                  </a:lnTo>
                  <a:lnTo>
                    <a:pt x="2783" y="1610"/>
                  </a:lnTo>
                  <a:lnTo>
                    <a:pt x="2787" y="1575"/>
                  </a:lnTo>
                  <a:lnTo>
                    <a:pt x="2792" y="1541"/>
                  </a:lnTo>
                  <a:lnTo>
                    <a:pt x="2795" y="1504"/>
                  </a:lnTo>
                  <a:lnTo>
                    <a:pt x="2796" y="1469"/>
                  </a:lnTo>
                  <a:lnTo>
                    <a:pt x="2798" y="1434"/>
                  </a:lnTo>
                  <a:lnTo>
                    <a:pt x="2799" y="1397"/>
                  </a:lnTo>
                  <a:lnTo>
                    <a:pt x="2799" y="1397"/>
                  </a:lnTo>
                  <a:lnTo>
                    <a:pt x="2798" y="1362"/>
                  </a:lnTo>
                  <a:lnTo>
                    <a:pt x="2796" y="1325"/>
                  </a:lnTo>
                  <a:lnTo>
                    <a:pt x="2795" y="1290"/>
                  </a:lnTo>
                  <a:lnTo>
                    <a:pt x="2792" y="1255"/>
                  </a:lnTo>
                  <a:lnTo>
                    <a:pt x="2787" y="1220"/>
                  </a:lnTo>
                  <a:lnTo>
                    <a:pt x="2783" y="1184"/>
                  </a:lnTo>
                  <a:lnTo>
                    <a:pt x="2777" y="1151"/>
                  </a:lnTo>
                  <a:lnTo>
                    <a:pt x="2770" y="1115"/>
                  </a:lnTo>
                  <a:lnTo>
                    <a:pt x="2755" y="1048"/>
                  </a:lnTo>
                  <a:lnTo>
                    <a:pt x="2736" y="982"/>
                  </a:lnTo>
                  <a:lnTo>
                    <a:pt x="2714" y="917"/>
                  </a:lnTo>
                  <a:lnTo>
                    <a:pt x="2689" y="853"/>
                  </a:lnTo>
                  <a:lnTo>
                    <a:pt x="2661" y="791"/>
                  </a:lnTo>
                  <a:lnTo>
                    <a:pt x="2630" y="731"/>
                  </a:lnTo>
                  <a:lnTo>
                    <a:pt x="2596" y="672"/>
                  </a:lnTo>
                  <a:lnTo>
                    <a:pt x="2560" y="616"/>
                  </a:lnTo>
                  <a:lnTo>
                    <a:pt x="2521" y="561"/>
                  </a:lnTo>
                  <a:lnTo>
                    <a:pt x="2479" y="508"/>
                  </a:lnTo>
                  <a:lnTo>
                    <a:pt x="2435" y="458"/>
                  </a:lnTo>
                  <a:lnTo>
                    <a:pt x="2389" y="409"/>
                  </a:lnTo>
                  <a:lnTo>
                    <a:pt x="2341" y="363"/>
                  </a:lnTo>
                  <a:lnTo>
                    <a:pt x="2289" y="318"/>
                  </a:lnTo>
                  <a:lnTo>
                    <a:pt x="2236" y="277"/>
                  </a:lnTo>
                  <a:lnTo>
                    <a:pt x="2182" y="238"/>
                  </a:lnTo>
                  <a:lnTo>
                    <a:pt x="2125" y="203"/>
                  </a:lnTo>
                  <a:lnTo>
                    <a:pt x="2066" y="169"/>
                  </a:lnTo>
                  <a:lnTo>
                    <a:pt x="2006" y="138"/>
                  </a:lnTo>
                  <a:lnTo>
                    <a:pt x="1944" y="110"/>
                  </a:lnTo>
                  <a:lnTo>
                    <a:pt x="1881" y="85"/>
                  </a:lnTo>
                  <a:lnTo>
                    <a:pt x="1816" y="63"/>
                  </a:lnTo>
                  <a:lnTo>
                    <a:pt x="1748" y="44"/>
                  </a:lnTo>
                  <a:lnTo>
                    <a:pt x="1681" y="28"/>
                  </a:lnTo>
                  <a:lnTo>
                    <a:pt x="1647" y="22"/>
                  </a:lnTo>
                  <a:lnTo>
                    <a:pt x="1612" y="16"/>
                  </a:lnTo>
                  <a:lnTo>
                    <a:pt x="1578" y="10"/>
                  </a:lnTo>
                  <a:lnTo>
                    <a:pt x="1543" y="7"/>
                  </a:lnTo>
                  <a:lnTo>
                    <a:pt x="1507" y="4"/>
                  </a:lnTo>
                  <a:lnTo>
                    <a:pt x="1471" y="1"/>
                  </a:lnTo>
                  <a:lnTo>
                    <a:pt x="1435" y="0"/>
                  </a:lnTo>
                  <a:lnTo>
                    <a:pt x="1399" y="0"/>
                  </a:lnTo>
                  <a:lnTo>
                    <a:pt x="1399" y="0"/>
                  </a:lnTo>
                  <a:close/>
                  <a:moveTo>
                    <a:pt x="2064" y="1673"/>
                  </a:moveTo>
                  <a:lnTo>
                    <a:pt x="2064" y="1673"/>
                  </a:lnTo>
                  <a:lnTo>
                    <a:pt x="2063" y="1698"/>
                  </a:lnTo>
                  <a:lnTo>
                    <a:pt x="2060" y="1723"/>
                  </a:lnTo>
                  <a:lnTo>
                    <a:pt x="2057" y="1745"/>
                  </a:lnTo>
                  <a:lnTo>
                    <a:pt x="2054" y="1766"/>
                  </a:lnTo>
                  <a:lnTo>
                    <a:pt x="2045" y="1802"/>
                  </a:lnTo>
                  <a:lnTo>
                    <a:pt x="2033" y="1835"/>
                  </a:lnTo>
                  <a:lnTo>
                    <a:pt x="2033" y="1835"/>
                  </a:lnTo>
                  <a:lnTo>
                    <a:pt x="2019" y="1867"/>
                  </a:lnTo>
                  <a:lnTo>
                    <a:pt x="2011" y="1882"/>
                  </a:lnTo>
                  <a:lnTo>
                    <a:pt x="2003" y="1898"/>
                  </a:lnTo>
                  <a:lnTo>
                    <a:pt x="1992" y="1911"/>
                  </a:lnTo>
                  <a:lnTo>
                    <a:pt x="1982" y="1926"/>
                  </a:lnTo>
                  <a:lnTo>
                    <a:pt x="1969" y="1940"/>
                  </a:lnTo>
                  <a:lnTo>
                    <a:pt x="1956" y="1954"/>
                  </a:lnTo>
                  <a:lnTo>
                    <a:pt x="1956" y="1954"/>
                  </a:lnTo>
                  <a:lnTo>
                    <a:pt x="1942" y="1967"/>
                  </a:lnTo>
                  <a:lnTo>
                    <a:pt x="1928" y="1978"/>
                  </a:lnTo>
                  <a:lnTo>
                    <a:pt x="1914" y="1990"/>
                  </a:lnTo>
                  <a:lnTo>
                    <a:pt x="1900" y="2000"/>
                  </a:lnTo>
                  <a:lnTo>
                    <a:pt x="1885" y="2009"/>
                  </a:lnTo>
                  <a:lnTo>
                    <a:pt x="1869" y="2017"/>
                  </a:lnTo>
                  <a:lnTo>
                    <a:pt x="1838" y="2031"/>
                  </a:lnTo>
                  <a:lnTo>
                    <a:pt x="1838" y="2031"/>
                  </a:lnTo>
                  <a:lnTo>
                    <a:pt x="1804" y="2042"/>
                  </a:lnTo>
                  <a:lnTo>
                    <a:pt x="1768" y="2052"/>
                  </a:lnTo>
                  <a:lnTo>
                    <a:pt x="1747" y="2055"/>
                  </a:lnTo>
                  <a:lnTo>
                    <a:pt x="1725" y="2058"/>
                  </a:lnTo>
                  <a:lnTo>
                    <a:pt x="1701" y="2061"/>
                  </a:lnTo>
                  <a:lnTo>
                    <a:pt x="1675" y="2062"/>
                  </a:lnTo>
                  <a:lnTo>
                    <a:pt x="1675" y="2062"/>
                  </a:lnTo>
                  <a:lnTo>
                    <a:pt x="1628" y="2064"/>
                  </a:lnTo>
                  <a:lnTo>
                    <a:pt x="1578" y="2065"/>
                  </a:lnTo>
                  <a:lnTo>
                    <a:pt x="1399" y="2067"/>
                  </a:lnTo>
                  <a:lnTo>
                    <a:pt x="1399" y="2067"/>
                  </a:lnTo>
                  <a:lnTo>
                    <a:pt x="1220" y="2065"/>
                  </a:lnTo>
                  <a:lnTo>
                    <a:pt x="1171" y="2064"/>
                  </a:lnTo>
                  <a:lnTo>
                    <a:pt x="1124" y="2062"/>
                  </a:lnTo>
                  <a:lnTo>
                    <a:pt x="1124" y="2062"/>
                  </a:lnTo>
                  <a:lnTo>
                    <a:pt x="1098" y="2061"/>
                  </a:lnTo>
                  <a:lnTo>
                    <a:pt x="1074" y="2058"/>
                  </a:lnTo>
                  <a:lnTo>
                    <a:pt x="1052" y="2055"/>
                  </a:lnTo>
                  <a:lnTo>
                    <a:pt x="1031" y="2052"/>
                  </a:lnTo>
                  <a:lnTo>
                    <a:pt x="995" y="2042"/>
                  </a:lnTo>
                  <a:lnTo>
                    <a:pt x="961" y="2031"/>
                  </a:lnTo>
                  <a:lnTo>
                    <a:pt x="961" y="2031"/>
                  </a:lnTo>
                  <a:lnTo>
                    <a:pt x="929" y="2017"/>
                  </a:lnTo>
                  <a:lnTo>
                    <a:pt x="914" y="2009"/>
                  </a:lnTo>
                  <a:lnTo>
                    <a:pt x="899" y="2000"/>
                  </a:lnTo>
                  <a:lnTo>
                    <a:pt x="885" y="1990"/>
                  </a:lnTo>
                  <a:lnTo>
                    <a:pt x="870" y="1978"/>
                  </a:lnTo>
                  <a:lnTo>
                    <a:pt x="857" y="1967"/>
                  </a:lnTo>
                  <a:lnTo>
                    <a:pt x="842" y="1954"/>
                  </a:lnTo>
                  <a:lnTo>
                    <a:pt x="842" y="1954"/>
                  </a:lnTo>
                  <a:lnTo>
                    <a:pt x="829" y="1940"/>
                  </a:lnTo>
                  <a:lnTo>
                    <a:pt x="817" y="1926"/>
                  </a:lnTo>
                  <a:lnTo>
                    <a:pt x="807" y="1911"/>
                  </a:lnTo>
                  <a:lnTo>
                    <a:pt x="796" y="1898"/>
                  </a:lnTo>
                  <a:lnTo>
                    <a:pt x="788" y="1882"/>
                  </a:lnTo>
                  <a:lnTo>
                    <a:pt x="779" y="1867"/>
                  </a:lnTo>
                  <a:lnTo>
                    <a:pt x="766" y="1835"/>
                  </a:lnTo>
                  <a:lnTo>
                    <a:pt x="766" y="1835"/>
                  </a:lnTo>
                  <a:lnTo>
                    <a:pt x="754" y="1802"/>
                  </a:lnTo>
                  <a:lnTo>
                    <a:pt x="745" y="1766"/>
                  </a:lnTo>
                  <a:lnTo>
                    <a:pt x="741" y="1745"/>
                  </a:lnTo>
                  <a:lnTo>
                    <a:pt x="738" y="1723"/>
                  </a:lnTo>
                  <a:lnTo>
                    <a:pt x="736" y="1698"/>
                  </a:lnTo>
                  <a:lnTo>
                    <a:pt x="735" y="1673"/>
                  </a:lnTo>
                  <a:lnTo>
                    <a:pt x="735" y="1673"/>
                  </a:lnTo>
                  <a:lnTo>
                    <a:pt x="732" y="1625"/>
                  </a:lnTo>
                  <a:lnTo>
                    <a:pt x="730" y="1576"/>
                  </a:lnTo>
                  <a:lnTo>
                    <a:pt x="730" y="1397"/>
                  </a:lnTo>
                  <a:lnTo>
                    <a:pt x="730" y="1397"/>
                  </a:lnTo>
                  <a:lnTo>
                    <a:pt x="730" y="1218"/>
                  </a:lnTo>
                  <a:lnTo>
                    <a:pt x="732" y="1170"/>
                  </a:lnTo>
                  <a:lnTo>
                    <a:pt x="735" y="1121"/>
                  </a:lnTo>
                  <a:lnTo>
                    <a:pt x="735" y="1121"/>
                  </a:lnTo>
                  <a:lnTo>
                    <a:pt x="736" y="1096"/>
                  </a:lnTo>
                  <a:lnTo>
                    <a:pt x="738" y="1073"/>
                  </a:lnTo>
                  <a:lnTo>
                    <a:pt x="741" y="1051"/>
                  </a:lnTo>
                  <a:lnTo>
                    <a:pt x="745" y="1030"/>
                  </a:lnTo>
                  <a:lnTo>
                    <a:pt x="754" y="994"/>
                  </a:lnTo>
                  <a:lnTo>
                    <a:pt x="766" y="960"/>
                  </a:lnTo>
                  <a:lnTo>
                    <a:pt x="766" y="960"/>
                  </a:lnTo>
                  <a:lnTo>
                    <a:pt x="779" y="928"/>
                  </a:lnTo>
                  <a:lnTo>
                    <a:pt x="788" y="913"/>
                  </a:lnTo>
                  <a:lnTo>
                    <a:pt x="796" y="898"/>
                  </a:lnTo>
                  <a:lnTo>
                    <a:pt x="807" y="884"/>
                  </a:lnTo>
                  <a:lnTo>
                    <a:pt x="817" y="869"/>
                  </a:lnTo>
                  <a:lnTo>
                    <a:pt x="829" y="856"/>
                  </a:lnTo>
                  <a:lnTo>
                    <a:pt x="842" y="841"/>
                  </a:lnTo>
                  <a:lnTo>
                    <a:pt x="842" y="841"/>
                  </a:lnTo>
                  <a:lnTo>
                    <a:pt x="857" y="828"/>
                  </a:lnTo>
                  <a:lnTo>
                    <a:pt x="870" y="816"/>
                  </a:lnTo>
                  <a:lnTo>
                    <a:pt x="885" y="806"/>
                  </a:lnTo>
                  <a:lnTo>
                    <a:pt x="899" y="796"/>
                  </a:lnTo>
                  <a:lnTo>
                    <a:pt x="914" y="787"/>
                  </a:lnTo>
                  <a:lnTo>
                    <a:pt x="929" y="778"/>
                  </a:lnTo>
                  <a:lnTo>
                    <a:pt x="961" y="765"/>
                  </a:lnTo>
                  <a:lnTo>
                    <a:pt x="961" y="765"/>
                  </a:lnTo>
                  <a:lnTo>
                    <a:pt x="995" y="753"/>
                  </a:lnTo>
                  <a:lnTo>
                    <a:pt x="1031" y="744"/>
                  </a:lnTo>
                  <a:lnTo>
                    <a:pt x="1052" y="740"/>
                  </a:lnTo>
                  <a:lnTo>
                    <a:pt x="1074" y="737"/>
                  </a:lnTo>
                  <a:lnTo>
                    <a:pt x="1124" y="732"/>
                  </a:lnTo>
                  <a:lnTo>
                    <a:pt x="1124" y="732"/>
                  </a:lnTo>
                  <a:lnTo>
                    <a:pt x="1171" y="731"/>
                  </a:lnTo>
                  <a:lnTo>
                    <a:pt x="1220" y="729"/>
                  </a:lnTo>
                  <a:lnTo>
                    <a:pt x="1399" y="729"/>
                  </a:lnTo>
                  <a:lnTo>
                    <a:pt x="1399" y="729"/>
                  </a:lnTo>
                  <a:lnTo>
                    <a:pt x="1578" y="729"/>
                  </a:lnTo>
                  <a:lnTo>
                    <a:pt x="1628" y="731"/>
                  </a:lnTo>
                  <a:lnTo>
                    <a:pt x="1675" y="732"/>
                  </a:lnTo>
                  <a:lnTo>
                    <a:pt x="1675" y="732"/>
                  </a:lnTo>
                  <a:lnTo>
                    <a:pt x="1725" y="737"/>
                  </a:lnTo>
                  <a:lnTo>
                    <a:pt x="1747" y="740"/>
                  </a:lnTo>
                  <a:lnTo>
                    <a:pt x="1768" y="744"/>
                  </a:lnTo>
                  <a:lnTo>
                    <a:pt x="1804" y="753"/>
                  </a:lnTo>
                  <a:lnTo>
                    <a:pt x="1838" y="765"/>
                  </a:lnTo>
                  <a:lnTo>
                    <a:pt x="1838" y="765"/>
                  </a:lnTo>
                  <a:lnTo>
                    <a:pt x="1869" y="778"/>
                  </a:lnTo>
                  <a:lnTo>
                    <a:pt x="1885" y="787"/>
                  </a:lnTo>
                  <a:lnTo>
                    <a:pt x="1900" y="796"/>
                  </a:lnTo>
                  <a:lnTo>
                    <a:pt x="1914" y="806"/>
                  </a:lnTo>
                  <a:lnTo>
                    <a:pt x="1928" y="816"/>
                  </a:lnTo>
                  <a:lnTo>
                    <a:pt x="1942" y="828"/>
                  </a:lnTo>
                  <a:lnTo>
                    <a:pt x="1956" y="841"/>
                  </a:lnTo>
                  <a:lnTo>
                    <a:pt x="1956" y="841"/>
                  </a:lnTo>
                  <a:lnTo>
                    <a:pt x="1969" y="856"/>
                  </a:lnTo>
                  <a:lnTo>
                    <a:pt x="1982" y="869"/>
                  </a:lnTo>
                  <a:lnTo>
                    <a:pt x="1992" y="884"/>
                  </a:lnTo>
                  <a:lnTo>
                    <a:pt x="2003" y="898"/>
                  </a:lnTo>
                  <a:lnTo>
                    <a:pt x="2011" y="913"/>
                  </a:lnTo>
                  <a:lnTo>
                    <a:pt x="2019" y="928"/>
                  </a:lnTo>
                  <a:lnTo>
                    <a:pt x="2033" y="960"/>
                  </a:lnTo>
                  <a:lnTo>
                    <a:pt x="2033" y="960"/>
                  </a:lnTo>
                  <a:lnTo>
                    <a:pt x="2045" y="994"/>
                  </a:lnTo>
                  <a:lnTo>
                    <a:pt x="2054" y="1030"/>
                  </a:lnTo>
                  <a:lnTo>
                    <a:pt x="2057" y="1051"/>
                  </a:lnTo>
                  <a:lnTo>
                    <a:pt x="2060" y="1073"/>
                  </a:lnTo>
                  <a:lnTo>
                    <a:pt x="2063" y="1096"/>
                  </a:lnTo>
                  <a:lnTo>
                    <a:pt x="2064" y="1121"/>
                  </a:lnTo>
                  <a:lnTo>
                    <a:pt x="2064" y="1121"/>
                  </a:lnTo>
                  <a:lnTo>
                    <a:pt x="2066" y="1170"/>
                  </a:lnTo>
                  <a:lnTo>
                    <a:pt x="2067" y="1218"/>
                  </a:lnTo>
                  <a:lnTo>
                    <a:pt x="2069" y="1397"/>
                  </a:lnTo>
                  <a:lnTo>
                    <a:pt x="2069" y="1397"/>
                  </a:lnTo>
                  <a:lnTo>
                    <a:pt x="2067" y="1576"/>
                  </a:lnTo>
                  <a:lnTo>
                    <a:pt x="2066" y="1625"/>
                  </a:lnTo>
                  <a:lnTo>
                    <a:pt x="2064" y="1673"/>
                  </a:lnTo>
                  <a:lnTo>
                    <a:pt x="2064" y="1673"/>
                  </a:lnTo>
                  <a:close/>
                </a:path>
              </a:pathLst>
            </a:custGeom>
            <a:grp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 name="Freeform 58">
              <a:extLst>
                <a:ext uri="{FF2B5EF4-FFF2-40B4-BE49-F238E27FC236}">
                  <a16:creationId xmlns:a16="http://schemas.microsoft.com/office/drawing/2014/main" id="{1266D04E-A8C2-4C1C-A67E-797E7307C7FA}"/>
                </a:ext>
              </a:extLst>
            </p:cNvPr>
            <p:cNvSpPr>
              <a:spLocks noEditPoints="1"/>
            </p:cNvSpPr>
            <p:nvPr/>
          </p:nvSpPr>
          <p:spPr bwMode="auto">
            <a:xfrm>
              <a:off x="2544763" y="2335213"/>
              <a:ext cx="579437" cy="581025"/>
            </a:xfrm>
            <a:custGeom>
              <a:avLst/>
              <a:gdLst>
                <a:gd name="T0" fmla="*/ 1049 w 1097"/>
                <a:gd name="T1" fmla="*/ 111 h 1096"/>
                <a:gd name="T2" fmla="*/ 1002 w 1097"/>
                <a:gd name="T3" fmla="*/ 60 h 1096"/>
                <a:gd name="T4" fmla="*/ 943 w 1097"/>
                <a:gd name="T5" fmla="*/ 26 h 1096"/>
                <a:gd name="T6" fmla="*/ 818 w 1097"/>
                <a:gd name="T7" fmla="*/ 3 h 1096"/>
                <a:gd name="T8" fmla="*/ 548 w 1097"/>
                <a:gd name="T9" fmla="*/ 0 h 1096"/>
                <a:gd name="T10" fmla="*/ 277 w 1097"/>
                <a:gd name="T11" fmla="*/ 3 h 1096"/>
                <a:gd name="T12" fmla="*/ 200 w 1097"/>
                <a:gd name="T13" fmla="*/ 13 h 1096"/>
                <a:gd name="T14" fmla="*/ 132 w 1097"/>
                <a:gd name="T15" fmla="*/ 37 h 1096"/>
                <a:gd name="T16" fmla="*/ 76 w 1097"/>
                <a:gd name="T17" fmla="*/ 76 h 1096"/>
                <a:gd name="T18" fmla="*/ 26 w 1097"/>
                <a:gd name="T19" fmla="*/ 154 h 1096"/>
                <a:gd name="T20" fmla="*/ 7 w 1097"/>
                <a:gd name="T21" fmla="*/ 233 h 1096"/>
                <a:gd name="T22" fmla="*/ 1 w 1097"/>
                <a:gd name="T23" fmla="*/ 324 h 1096"/>
                <a:gd name="T24" fmla="*/ 0 w 1097"/>
                <a:gd name="T25" fmla="*/ 723 h 1096"/>
                <a:gd name="T26" fmla="*/ 6 w 1097"/>
                <a:gd name="T27" fmla="*/ 841 h 1096"/>
                <a:gd name="T28" fmla="*/ 26 w 1097"/>
                <a:gd name="T29" fmla="*/ 942 h 1096"/>
                <a:gd name="T30" fmla="*/ 61 w 1097"/>
                <a:gd name="T31" fmla="*/ 1001 h 1096"/>
                <a:gd name="T32" fmla="*/ 113 w 1097"/>
                <a:gd name="T33" fmla="*/ 1048 h 1096"/>
                <a:gd name="T34" fmla="*/ 173 w 1097"/>
                <a:gd name="T35" fmla="*/ 1076 h 1096"/>
                <a:gd name="T36" fmla="*/ 277 w 1097"/>
                <a:gd name="T37" fmla="*/ 1092 h 1096"/>
                <a:gd name="T38" fmla="*/ 548 w 1097"/>
                <a:gd name="T39" fmla="*/ 1096 h 1096"/>
                <a:gd name="T40" fmla="*/ 818 w 1097"/>
                <a:gd name="T41" fmla="*/ 1092 h 1096"/>
                <a:gd name="T42" fmla="*/ 896 w 1097"/>
                <a:gd name="T43" fmla="*/ 1083 h 1096"/>
                <a:gd name="T44" fmla="*/ 965 w 1097"/>
                <a:gd name="T45" fmla="*/ 1059 h 1096"/>
                <a:gd name="T46" fmla="*/ 1019 w 1097"/>
                <a:gd name="T47" fmla="*/ 1018 h 1096"/>
                <a:gd name="T48" fmla="*/ 1069 w 1097"/>
                <a:gd name="T49" fmla="*/ 942 h 1096"/>
                <a:gd name="T50" fmla="*/ 1090 w 1097"/>
                <a:gd name="T51" fmla="*/ 861 h 1096"/>
                <a:gd name="T52" fmla="*/ 1094 w 1097"/>
                <a:gd name="T53" fmla="*/ 770 h 1096"/>
                <a:gd name="T54" fmla="*/ 1096 w 1097"/>
                <a:gd name="T55" fmla="*/ 373 h 1096"/>
                <a:gd name="T56" fmla="*/ 1091 w 1097"/>
                <a:gd name="T57" fmla="*/ 254 h 1096"/>
                <a:gd name="T58" fmla="*/ 1069 w 1097"/>
                <a:gd name="T59" fmla="*/ 154 h 1096"/>
                <a:gd name="T60" fmla="*/ 530 w 1097"/>
                <a:gd name="T61" fmla="*/ 891 h 1096"/>
                <a:gd name="T62" fmla="*/ 414 w 1097"/>
                <a:gd name="T63" fmla="*/ 864 h 1096"/>
                <a:gd name="T64" fmla="*/ 305 w 1097"/>
                <a:gd name="T65" fmla="*/ 791 h 1096"/>
                <a:gd name="T66" fmla="*/ 232 w 1097"/>
                <a:gd name="T67" fmla="*/ 681 h 1096"/>
                <a:gd name="T68" fmla="*/ 205 w 1097"/>
                <a:gd name="T69" fmla="*/ 565 h 1096"/>
                <a:gd name="T70" fmla="*/ 207 w 1097"/>
                <a:gd name="T71" fmla="*/ 512 h 1096"/>
                <a:gd name="T72" fmla="*/ 247 w 1097"/>
                <a:gd name="T73" fmla="*/ 384 h 1096"/>
                <a:gd name="T74" fmla="*/ 330 w 1097"/>
                <a:gd name="T75" fmla="*/ 283 h 1096"/>
                <a:gd name="T76" fmla="*/ 446 w 1097"/>
                <a:gd name="T77" fmla="*/ 220 h 1096"/>
                <a:gd name="T78" fmla="*/ 548 w 1097"/>
                <a:gd name="T79" fmla="*/ 204 h 1096"/>
                <a:gd name="T80" fmla="*/ 617 w 1097"/>
                <a:gd name="T81" fmla="*/ 211 h 1096"/>
                <a:gd name="T82" fmla="*/ 740 w 1097"/>
                <a:gd name="T83" fmla="*/ 263 h 1096"/>
                <a:gd name="T84" fmla="*/ 833 w 1097"/>
                <a:gd name="T85" fmla="*/ 355 h 1096"/>
                <a:gd name="T86" fmla="*/ 884 w 1097"/>
                <a:gd name="T87" fmla="*/ 478 h 1096"/>
                <a:gd name="T88" fmla="*/ 892 w 1097"/>
                <a:gd name="T89" fmla="*/ 547 h 1096"/>
                <a:gd name="T90" fmla="*/ 877 w 1097"/>
                <a:gd name="T91" fmla="*/ 650 h 1096"/>
                <a:gd name="T92" fmla="*/ 814 w 1097"/>
                <a:gd name="T93" fmla="*/ 766 h 1096"/>
                <a:gd name="T94" fmla="*/ 712 w 1097"/>
                <a:gd name="T95" fmla="*/ 850 h 1096"/>
                <a:gd name="T96" fmla="*/ 583 w 1097"/>
                <a:gd name="T97" fmla="*/ 889 h 1096"/>
                <a:gd name="T98" fmla="*/ 905 w 1097"/>
                <a:gd name="T99" fmla="*/ 271 h 1096"/>
                <a:gd name="T100" fmla="*/ 861 w 1097"/>
                <a:gd name="T101" fmla="*/ 257 h 1096"/>
                <a:gd name="T102" fmla="*/ 827 w 1097"/>
                <a:gd name="T103" fmla="*/ 207 h 1096"/>
                <a:gd name="T104" fmla="*/ 831 w 1097"/>
                <a:gd name="T105" fmla="*/ 160 h 1096"/>
                <a:gd name="T106" fmla="*/ 874 w 1097"/>
                <a:gd name="T107" fmla="*/ 117 h 1096"/>
                <a:gd name="T108" fmla="*/ 921 w 1097"/>
                <a:gd name="T109" fmla="*/ 113 h 1096"/>
                <a:gd name="T110" fmla="*/ 972 w 1097"/>
                <a:gd name="T111" fmla="*/ 147 h 1096"/>
                <a:gd name="T112" fmla="*/ 986 w 1097"/>
                <a:gd name="T113" fmla="*/ 191 h 1096"/>
                <a:gd name="T114" fmla="*/ 962 w 1097"/>
                <a:gd name="T115" fmla="*/ 248 h 1096"/>
                <a:gd name="T116" fmla="*/ 905 w 1097"/>
                <a:gd name="T117" fmla="*/ 271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7" h="1096">
                  <a:moveTo>
                    <a:pt x="1069" y="154"/>
                  </a:moveTo>
                  <a:lnTo>
                    <a:pt x="1069" y="154"/>
                  </a:lnTo>
                  <a:lnTo>
                    <a:pt x="1061" y="132"/>
                  </a:lnTo>
                  <a:lnTo>
                    <a:pt x="1049" y="111"/>
                  </a:lnTo>
                  <a:lnTo>
                    <a:pt x="1036" y="94"/>
                  </a:lnTo>
                  <a:lnTo>
                    <a:pt x="1019" y="76"/>
                  </a:lnTo>
                  <a:lnTo>
                    <a:pt x="1019" y="76"/>
                  </a:lnTo>
                  <a:lnTo>
                    <a:pt x="1002" y="60"/>
                  </a:lnTo>
                  <a:lnTo>
                    <a:pt x="984" y="47"/>
                  </a:lnTo>
                  <a:lnTo>
                    <a:pt x="965" y="37"/>
                  </a:lnTo>
                  <a:lnTo>
                    <a:pt x="943" y="26"/>
                  </a:lnTo>
                  <a:lnTo>
                    <a:pt x="943" y="26"/>
                  </a:lnTo>
                  <a:lnTo>
                    <a:pt x="922" y="19"/>
                  </a:lnTo>
                  <a:lnTo>
                    <a:pt x="896" y="13"/>
                  </a:lnTo>
                  <a:lnTo>
                    <a:pt x="862" y="7"/>
                  </a:lnTo>
                  <a:lnTo>
                    <a:pt x="818" y="3"/>
                  </a:lnTo>
                  <a:lnTo>
                    <a:pt x="818" y="3"/>
                  </a:lnTo>
                  <a:lnTo>
                    <a:pt x="771" y="1"/>
                  </a:lnTo>
                  <a:lnTo>
                    <a:pt x="724" y="0"/>
                  </a:lnTo>
                  <a:lnTo>
                    <a:pt x="548" y="0"/>
                  </a:lnTo>
                  <a:lnTo>
                    <a:pt x="548" y="0"/>
                  </a:lnTo>
                  <a:lnTo>
                    <a:pt x="373" y="0"/>
                  </a:lnTo>
                  <a:lnTo>
                    <a:pt x="324" y="1"/>
                  </a:lnTo>
                  <a:lnTo>
                    <a:pt x="277" y="3"/>
                  </a:lnTo>
                  <a:lnTo>
                    <a:pt x="277" y="3"/>
                  </a:lnTo>
                  <a:lnTo>
                    <a:pt x="255" y="4"/>
                  </a:lnTo>
                  <a:lnTo>
                    <a:pt x="235" y="7"/>
                  </a:lnTo>
                  <a:lnTo>
                    <a:pt x="200" y="13"/>
                  </a:lnTo>
                  <a:lnTo>
                    <a:pt x="173" y="19"/>
                  </a:lnTo>
                  <a:lnTo>
                    <a:pt x="154" y="26"/>
                  </a:lnTo>
                  <a:lnTo>
                    <a:pt x="154" y="26"/>
                  </a:lnTo>
                  <a:lnTo>
                    <a:pt x="132" y="37"/>
                  </a:lnTo>
                  <a:lnTo>
                    <a:pt x="113" y="47"/>
                  </a:lnTo>
                  <a:lnTo>
                    <a:pt x="94" y="60"/>
                  </a:lnTo>
                  <a:lnTo>
                    <a:pt x="76" y="76"/>
                  </a:lnTo>
                  <a:lnTo>
                    <a:pt x="76" y="76"/>
                  </a:lnTo>
                  <a:lnTo>
                    <a:pt x="61" y="94"/>
                  </a:lnTo>
                  <a:lnTo>
                    <a:pt x="47" y="111"/>
                  </a:lnTo>
                  <a:lnTo>
                    <a:pt x="36" y="132"/>
                  </a:lnTo>
                  <a:lnTo>
                    <a:pt x="26" y="154"/>
                  </a:lnTo>
                  <a:lnTo>
                    <a:pt x="26" y="154"/>
                  </a:lnTo>
                  <a:lnTo>
                    <a:pt x="20" y="173"/>
                  </a:lnTo>
                  <a:lnTo>
                    <a:pt x="13" y="199"/>
                  </a:lnTo>
                  <a:lnTo>
                    <a:pt x="7" y="233"/>
                  </a:lnTo>
                  <a:lnTo>
                    <a:pt x="6" y="254"/>
                  </a:lnTo>
                  <a:lnTo>
                    <a:pt x="4" y="277"/>
                  </a:lnTo>
                  <a:lnTo>
                    <a:pt x="4" y="277"/>
                  </a:lnTo>
                  <a:lnTo>
                    <a:pt x="1" y="324"/>
                  </a:lnTo>
                  <a:lnTo>
                    <a:pt x="0" y="373"/>
                  </a:lnTo>
                  <a:lnTo>
                    <a:pt x="0" y="547"/>
                  </a:lnTo>
                  <a:lnTo>
                    <a:pt x="0" y="547"/>
                  </a:lnTo>
                  <a:lnTo>
                    <a:pt x="0" y="723"/>
                  </a:lnTo>
                  <a:lnTo>
                    <a:pt x="1" y="770"/>
                  </a:lnTo>
                  <a:lnTo>
                    <a:pt x="4" y="817"/>
                  </a:lnTo>
                  <a:lnTo>
                    <a:pt x="4" y="817"/>
                  </a:lnTo>
                  <a:lnTo>
                    <a:pt x="6" y="841"/>
                  </a:lnTo>
                  <a:lnTo>
                    <a:pt x="7" y="861"/>
                  </a:lnTo>
                  <a:lnTo>
                    <a:pt x="13" y="895"/>
                  </a:lnTo>
                  <a:lnTo>
                    <a:pt x="20" y="922"/>
                  </a:lnTo>
                  <a:lnTo>
                    <a:pt x="26" y="942"/>
                  </a:lnTo>
                  <a:lnTo>
                    <a:pt x="26" y="942"/>
                  </a:lnTo>
                  <a:lnTo>
                    <a:pt x="36" y="964"/>
                  </a:lnTo>
                  <a:lnTo>
                    <a:pt x="47" y="983"/>
                  </a:lnTo>
                  <a:lnTo>
                    <a:pt x="61" y="1001"/>
                  </a:lnTo>
                  <a:lnTo>
                    <a:pt x="76" y="1018"/>
                  </a:lnTo>
                  <a:lnTo>
                    <a:pt x="76" y="1018"/>
                  </a:lnTo>
                  <a:lnTo>
                    <a:pt x="94" y="1035"/>
                  </a:lnTo>
                  <a:lnTo>
                    <a:pt x="113" y="1048"/>
                  </a:lnTo>
                  <a:lnTo>
                    <a:pt x="132" y="1059"/>
                  </a:lnTo>
                  <a:lnTo>
                    <a:pt x="154" y="1068"/>
                  </a:lnTo>
                  <a:lnTo>
                    <a:pt x="154" y="1068"/>
                  </a:lnTo>
                  <a:lnTo>
                    <a:pt x="173" y="1076"/>
                  </a:lnTo>
                  <a:lnTo>
                    <a:pt x="200" y="1083"/>
                  </a:lnTo>
                  <a:lnTo>
                    <a:pt x="235" y="1087"/>
                  </a:lnTo>
                  <a:lnTo>
                    <a:pt x="255" y="1090"/>
                  </a:lnTo>
                  <a:lnTo>
                    <a:pt x="277" y="1092"/>
                  </a:lnTo>
                  <a:lnTo>
                    <a:pt x="277" y="1092"/>
                  </a:lnTo>
                  <a:lnTo>
                    <a:pt x="324" y="1093"/>
                  </a:lnTo>
                  <a:lnTo>
                    <a:pt x="373" y="1095"/>
                  </a:lnTo>
                  <a:lnTo>
                    <a:pt x="548" y="1096"/>
                  </a:lnTo>
                  <a:lnTo>
                    <a:pt x="548" y="1096"/>
                  </a:lnTo>
                  <a:lnTo>
                    <a:pt x="724" y="1095"/>
                  </a:lnTo>
                  <a:lnTo>
                    <a:pt x="771" y="1093"/>
                  </a:lnTo>
                  <a:lnTo>
                    <a:pt x="818" y="1092"/>
                  </a:lnTo>
                  <a:lnTo>
                    <a:pt x="818" y="1092"/>
                  </a:lnTo>
                  <a:lnTo>
                    <a:pt x="842" y="1090"/>
                  </a:lnTo>
                  <a:lnTo>
                    <a:pt x="862" y="1087"/>
                  </a:lnTo>
                  <a:lnTo>
                    <a:pt x="896" y="1083"/>
                  </a:lnTo>
                  <a:lnTo>
                    <a:pt x="922" y="1076"/>
                  </a:lnTo>
                  <a:lnTo>
                    <a:pt x="943" y="1068"/>
                  </a:lnTo>
                  <a:lnTo>
                    <a:pt x="943" y="1068"/>
                  </a:lnTo>
                  <a:lnTo>
                    <a:pt x="965" y="1059"/>
                  </a:lnTo>
                  <a:lnTo>
                    <a:pt x="984" y="1048"/>
                  </a:lnTo>
                  <a:lnTo>
                    <a:pt x="1002" y="1035"/>
                  </a:lnTo>
                  <a:lnTo>
                    <a:pt x="1019" y="1018"/>
                  </a:lnTo>
                  <a:lnTo>
                    <a:pt x="1019" y="1018"/>
                  </a:lnTo>
                  <a:lnTo>
                    <a:pt x="1036" y="1001"/>
                  </a:lnTo>
                  <a:lnTo>
                    <a:pt x="1049" y="983"/>
                  </a:lnTo>
                  <a:lnTo>
                    <a:pt x="1061" y="964"/>
                  </a:lnTo>
                  <a:lnTo>
                    <a:pt x="1069" y="942"/>
                  </a:lnTo>
                  <a:lnTo>
                    <a:pt x="1069" y="942"/>
                  </a:lnTo>
                  <a:lnTo>
                    <a:pt x="1077" y="922"/>
                  </a:lnTo>
                  <a:lnTo>
                    <a:pt x="1084" y="895"/>
                  </a:lnTo>
                  <a:lnTo>
                    <a:pt x="1090" y="861"/>
                  </a:lnTo>
                  <a:lnTo>
                    <a:pt x="1091" y="841"/>
                  </a:lnTo>
                  <a:lnTo>
                    <a:pt x="1093" y="817"/>
                  </a:lnTo>
                  <a:lnTo>
                    <a:pt x="1093" y="817"/>
                  </a:lnTo>
                  <a:lnTo>
                    <a:pt x="1094" y="770"/>
                  </a:lnTo>
                  <a:lnTo>
                    <a:pt x="1096" y="723"/>
                  </a:lnTo>
                  <a:lnTo>
                    <a:pt x="1097" y="547"/>
                  </a:lnTo>
                  <a:lnTo>
                    <a:pt x="1097" y="547"/>
                  </a:lnTo>
                  <a:lnTo>
                    <a:pt x="1096" y="373"/>
                  </a:lnTo>
                  <a:lnTo>
                    <a:pt x="1094" y="324"/>
                  </a:lnTo>
                  <a:lnTo>
                    <a:pt x="1093" y="277"/>
                  </a:lnTo>
                  <a:lnTo>
                    <a:pt x="1093" y="277"/>
                  </a:lnTo>
                  <a:lnTo>
                    <a:pt x="1091" y="254"/>
                  </a:lnTo>
                  <a:lnTo>
                    <a:pt x="1090" y="233"/>
                  </a:lnTo>
                  <a:lnTo>
                    <a:pt x="1084" y="199"/>
                  </a:lnTo>
                  <a:lnTo>
                    <a:pt x="1077" y="173"/>
                  </a:lnTo>
                  <a:lnTo>
                    <a:pt x="1069" y="154"/>
                  </a:lnTo>
                  <a:lnTo>
                    <a:pt x="1069" y="154"/>
                  </a:lnTo>
                  <a:close/>
                  <a:moveTo>
                    <a:pt x="548" y="891"/>
                  </a:moveTo>
                  <a:lnTo>
                    <a:pt x="548" y="891"/>
                  </a:lnTo>
                  <a:lnTo>
                    <a:pt x="530" y="891"/>
                  </a:lnTo>
                  <a:lnTo>
                    <a:pt x="513" y="889"/>
                  </a:lnTo>
                  <a:lnTo>
                    <a:pt x="479" y="883"/>
                  </a:lnTo>
                  <a:lnTo>
                    <a:pt x="446" y="876"/>
                  </a:lnTo>
                  <a:lnTo>
                    <a:pt x="414" y="864"/>
                  </a:lnTo>
                  <a:lnTo>
                    <a:pt x="385" y="850"/>
                  </a:lnTo>
                  <a:lnTo>
                    <a:pt x="357" y="832"/>
                  </a:lnTo>
                  <a:lnTo>
                    <a:pt x="330" y="813"/>
                  </a:lnTo>
                  <a:lnTo>
                    <a:pt x="305" y="791"/>
                  </a:lnTo>
                  <a:lnTo>
                    <a:pt x="283" y="766"/>
                  </a:lnTo>
                  <a:lnTo>
                    <a:pt x="263" y="740"/>
                  </a:lnTo>
                  <a:lnTo>
                    <a:pt x="247" y="712"/>
                  </a:lnTo>
                  <a:lnTo>
                    <a:pt x="232" y="681"/>
                  </a:lnTo>
                  <a:lnTo>
                    <a:pt x="220" y="650"/>
                  </a:lnTo>
                  <a:lnTo>
                    <a:pt x="211" y="616"/>
                  </a:lnTo>
                  <a:lnTo>
                    <a:pt x="207" y="582"/>
                  </a:lnTo>
                  <a:lnTo>
                    <a:pt x="205" y="565"/>
                  </a:lnTo>
                  <a:lnTo>
                    <a:pt x="204" y="547"/>
                  </a:lnTo>
                  <a:lnTo>
                    <a:pt x="204" y="547"/>
                  </a:lnTo>
                  <a:lnTo>
                    <a:pt x="205" y="530"/>
                  </a:lnTo>
                  <a:lnTo>
                    <a:pt x="207" y="512"/>
                  </a:lnTo>
                  <a:lnTo>
                    <a:pt x="211" y="478"/>
                  </a:lnTo>
                  <a:lnTo>
                    <a:pt x="220" y="446"/>
                  </a:lnTo>
                  <a:lnTo>
                    <a:pt x="232" y="414"/>
                  </a:lnTo>
                  <a:lnTo>
                    <a:pt x="247" y="384"/>
                  </a:lnTo>
                  <a:lnTo>
                    <a:pt x="263" y="355"/>
                  </a:lnTo>
                  <a:lnTo>
                    <a:pt x="283" y="329"/>
                  </a:lnTo>
                  <a:lnTo>
                    <a:pt x="305" y="305"/>
                  </a:lnTo>
                  <a:lnTo>
                    <a:pt x="330" y="283"/>
                  </a:lnTo>
                  <a:lnTo>
                    <a:pt x="357" y="263"/>
                  </a:lnTo>
                  <a:lnTo>
                    <a:pt x="385" y="246"/>
                  </a:lnTo>
                  <a:lnTo>
                    <a:pt x="414" y="232"/>
                  </a:lnTo>
                  <a:lnTo>
                    <a:pt x="446" y="220"/>
                  </a:lnTo>
                  <a:lnTo>
                    <a:pt x="479" y="211"/>
                  </a:lnTo>
                  <a:lnTo>
                    <a:pt x="513" y="207"/>
                  </a:lnTo>
                  <a:lnTo>
                    <a:pt x="530" y="205"/>
                  </a:lnTo>
                  <a:lnTo>
                    <a:pt x="548" y="204"/>
                  </a:lnTo>
                  <a:lnTo>
                    <a:pt x="548" y="204"/>
                  </a:lnTo>
                  <a:lnTo>
                    <a:pt x="565" y="205"/>
                  </a:lnTo>
                  <a:lnTo>
                    <a:pt x="583" y="207"/>
                  </a:lnTo>
                  <a:lnTo>
                    <a:pt x="617" y="211"/>
                  </a:lnTo>
                  <a:lnTo>
                    <a:pt x="651" y="220"/>
                  </a:lnTo>
                  <a:lnTo>
                    <a:pt x="681" y="232"/>
                  </a:lnTo>
                  <a:lnTo>
                    <a:pt x="712" y="246"/>
                  </a:lnTo>
                  <a:lnTo>
                    <a:pt x="740" y="263"/>
                  </a:lnTo>
                  <a:lnTo>
                    <a:pt x="767" y="283"/>
                  </a:lnTo>
                  <a:lnTo>
                    <a:pt x="792" y="305"/>
                  </a:lnTo>
                  <a:lnTo>
                    <a:pt x="814" y="329"/>
                  </a:lnTo>
                  <a:lnTo>
                    <a:pt x="833" y="355"/>
                  </a:lnTo>
                  <a:lnTo>
                    <a:pt x="850" y="384"/>
                  </a:lnTo>
                  <a:lnTo>
                    <a:pt x="865" y="414"/>
                  </a:lnTo>
                  <a:lnTo>
                    <a:pt x="877" y="446"/>
                  </a:lnTo>
                  <a:lnTo>
                    <a:pt x="884" y="478"/>
                  </a:lnTo>
                  <a:lnTo>
                    <a:pt x="890" y="512"/>
                  </a:lnTo>
                  <a:lnTo>
                    <a:pt x="892" y="530"/>
                  </a:lnTo>
                  <a:lnTo>
                    <a:pt x="892" y="547"/>
                  </a:lnTo>
                  <a:lnTo>
                    <a:pt x="892" y="547"/>
                  </a:lnTo>
                  <a:lnTo>
                    <a:pt x="892" y="565"/>
                  </a:lnTo>
                  <a:lnTo>
                    <a:pt x="890" y="582"/>
                  </a:lnTo>
                  <a:lnTo>
                    <a:pt x="884" y="616"/>
                  </a:lnTo>
                  <a:lnTo>
                    <a:pt x="877" y="650"/>
                  </a:lnTo>
                  <a:lnTo>
                    <a:pt x="865" y="681"/>
                  </a:lnTo>
                  <a:lnTo>
                    <a:pt x="850" y="712"/>
                  </a:lnTo>
                  <a:lnTo>
                    <a:pt x="833" y="740"/>
                  </a:lnTo>
                  <a:lnTo>
                    <a:pt x="814" y="766"/>
                  </a:lnTo>
                  <a:lnTo>
                    <a:pt x="792" y="791"/>
                  </a:lnTo>
                  <a:lnTo>
                    <a:pt x="767" y="813"/>
                  </a:lnTo>
                  <a:lnTo>
                    <a:pt x="740" y="832"/>
                  </a:lnTo>
                  <a:lnTo>
                    <a:pt x="712" y="850"/>
                  </a:lnTo>
                  <a:lnTo>
                    <a:pt x="681" y="864"/>
                  </a:lnTo>
                  <a:lnTo>
                    <a:pt x="651" y="876"/>
                  </a:lnTo>
                  <a:lnTo>
                    <a:pt x="617" y="883"/>
                  </a:lnTo>
                  <a:lnTo>
                    <a:pt x="583" y="889"/>
                  </a:lnTo>
                  <a:lnTo>
                    <a:pt x="565" y="891"/>
                  </a:lnTo>
                  <a:lnTo>
                    <a:pt x="548" y="891"/>
                  </a:lnTo>
                  <a:lnTo>
                    <a:pt x="548" y="891"/>
                  </a:lnTo>
                  <a:close/>
                  <a:moveTo>
                    <a:pt x="905" y="271"/>
                  </a:moveTo>
                  <a:lnTo>
                    <a:pt x="905" y="271"/>
                  </a:lnTo>
                  <a:lnTo>
                    <a:pt x="889" y="270"/>
                  </a:lnTo>
                  <a:lnTo>
                    <a:pt x="874" y="264"/>
                  </a:lnTo>
                  <a:lnTo>
                    <a:pt x="861" y="257"/>
                  </a:lnTo>
                  <a:lnTo>
                    <a:pt x="849" y="248"/>
                  </a:lnTo>
                  <a:lnTo>
                    <a:pt x="839" y="236"/>
                  </a:lnTo>
                  <a:lnTo>
                    <a:pt x="831" y="221"/>
                  </a:lnTo>
                  <a:lnTo>
                    <a:pt x="827" y="207"/>
                  </a:lnTo>
                  <a:lnTo>
                    <a:pt x="825" y="191"/>
                  </a:lnTo>
                  <a:lnTo>
                    <a:pt x="825" y="191"/>
                  </a:lnTo>
                  <a:lnTo>
                    <a:pt x="827" y="174"/>
                  </a:lnTo>
                  <a:lnTo>
                    <a:pt x="831" y="160"/>
                  </a:lnTo>
                  <a:lnTo>
                    <a:pt x="839" y="147"/>
                  </a:lnTo>
                  <a:lnTo>
                    <a:pt x="849" y="133"/>
                  </a:lnTo>
                  <a:lnTo>
                    <a:pt x="861" y="125"/>
                  </a:lnTo>
                  <a:lnTo>
                    <a:pt x="874" y="117"/>
                  </a:lnTo>
                  <a:lnTo>
                    <a:pt x="889" y="113"/>
                  </a:lnTo>
                  <a:lnTo>
                    <a:pt x="905" y="110"/>
                  </a:lnTo>
                  <a:lnTo>
                    <a:pt x="905" y="110"/>
                  </a:lnTo>
                  <a:lnTo>
                    <a:pt x="921" y="113"/>
                  </a:lnTo>
                  <a:lnTo>
                    <a:pt x="937" y="117"/>
                  </a:lnTo>
                  <a:lnTo>
                    <a:pt x="950" y="125"/>
                  </a:lnTo>
                  <a:lnTo>
                    <a:pt x="962" y="133"/>
                  </a:lnTo>
                  <a:lnTo>
                    <a:pt x="972" y="147"/>
                  </a:lnTo>
                  <a:lnTo>
                    <a:pt x="980" y="160"/>
                  </a:lnTo>
                  <a:lnTo>
                    <a:pt x="984" y="174"/>
                  </a:lnTo>
                  <a:lnTo>
                    <a:pt x="986" y="191"/>
                  </a:lnTo>
                  <a:lnTo>
                    <a:pt x="986" y="191"/>
                  </a:lnTo>
                  <a:lnTo>
                    <a:pt x="984" y="207"/>
                  </a:lnTo>
                  <a:lnTo>
                    <a:pt x="980" y="221"/>
                  </a:lnTo>
                  <a:lnTo>
                    <a:pt x="972" y="236"/>
                  </a:lnTo>
                  <a:lnTo>
                    <a:pt x="962" y="248"/>
                  </a:lnTo>
                  <a:lnTo>
                    <a:pt x="950" y="257"/>
                  </a:lnTo>
                  <a:lnTo>
                    <a:pt x="937" y="264"/>
                  </a:lnTo>
                  <a:lnTo>
                    <a:pt x="921" y="270"/>
                  </a:lnTo>
                  <a:lnTo>
                    <a:pt x="905" y="271"/>
                  </a:lnTo>
                  <a:lnTo>
                    <a:pt x="905"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69" name="TextBox 27"/>
          <p:cNvSpPr txBox="1">
            <a:spLocks noChangeArrowheads="1"/>
          </p:cNvSpPr>
          <p:nvPr userDrawn="1"/>
        </p:nvSpPr>
        <p:spPr bwMode="auto">
          <a:xfrm>
            <a:off x="8187354" y="3621235"/>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nstagram</a:t>
            </a:r>
          </a:p>
        </p:txBody>
      </p:sp>
      <p:sp>
        <p:nvSpPr>
          <p:cNvPr id="52" name="Freeform 81">
            <a:extLst>
              <a:ext uri="{FF2B5EF4-FFF2-40B4-BE49-F238E27FC236}">
                <a16:creationId xmlns:a16="http://schemas.microsoft.com/office/drawing/2014/main" id="{7DE1DBCC-3144-418D-A726-DD6AA801023A}"/>
              </a:ext>
            </a:extLst>
          </p:cNvPr>
          <p:cNvSpPr>
            <a:spLocks noEditPoints="1"/>
          </p:cNvSpPr>
          <p:nvPr userDrawn="1"/>
        </p:nvSpPr>
        <p:spPr bwMode="auto">
          <a:xfrm>
            <a:off x="9471501" y="2521766"/>
            <a:ext cx="1080000" cy="1080000"/>
          </a:xfrm>
          <a:custGeom>
            <a:avLst/>
            <a:gdLst>
              <a:gd name="T0" fmla="*/ 61 w 5835"/>
              <a:gd name="T1" fmla="*/ 2330 h 5840"/>
              <a:gd name="T2" fmla="*/ 290 w 5835"/>
              <a:gd name="T3" fmla="*/ 1653 h 5840"/>
              <a:gd name="T4" fmla="*/ 668 w 5835"/>
              <a:gd name="T5" fmla="*/ 1062 h 5840"/>
              <a:gd name="T6" fmla="*/ 1175 w 5835"/>
              <a:gd name="T7" fmla="*/ 580 h 5840"/>
              <a:gd name="T8" fmla="*/ 1785 w 5835"/>
              <a:gd name="T9" fmla="*/ 229 h 5840"/>
              <a:gd name="T10" fmla="*/ 2476 w 5835"/>
              <a:gd name="T11" fmla="*/ 34 h 5840"/>
              <a:gd name="T12" fmla="*/ 3145 w 5835"/>
              <a:gd name="T13" fmla="*/ 10 h 5840"/>
              <a:gd name="T14" fmla="*/ 3856 w 5835"/>
              <a:gd name="T15" fmla="*/ 155 h 5840"/>
              <a:gd name="T16" fmla="*/ 4493 w 5835"/>
              <a:gd name="T17" fmla="*/ 462 h 5840"/>
              <a:gd name="T18" fmla="*/ 5032 w 5835"/>
              <a:gd name="T19" fmla="*/ 909 h 5840"/>
              <a:gd name="T20" fmla="*/ 5451 w 5835"/>
              <a:gd name="T21" fmla="*/ 1472 h 5840"/>
              <a:gd name="T22" fmla="*/ 5726 w 5835"/>
              <a:gd name="T23" fmla="*/ 2127 h 5840"/>
              <a:gd name="T24" fmla="*/ 5835 w 5835"/>
              <a:gd name="T25" fmla="*/ 2851 h 5840"/>
              <a:gd name="T26" fmla="*/ 5776 w 5835"/>
              <a:gd name="T27" fmla="*/ 3515 h 5840"/>
              <a:gd name="T28" fmla="*/ 5545 w 5835"/>
              <a:gd name="T29" fmla="*/ 4191 h 5840"/>
              <a:gd name="T30" fmla="*/ 5166 w 5835"/>
              <a:gd name="T31" fmla="*/ 4782 h 5840"/>
              <a:gd name="T32" fmla="*/ 4659 w 5835"/>
              <a:gd name="T33" fmla="*/ 5262 h 5840"/>
              <a:gd name="T34" fmla="*/ 4048 w 5835"/>
              <a:gd name="T35" fmla="*/ 5613 h 5840"/>
              <a:gd name="T36" fmla="*/ 3357 w 5835"/>
              <a:gd name="T37" fmla="*/ 5807 h 5840"/>
              <a:gd name="T38" fmla="*/ 2689 w 5835"/>
              <a:gd name="T39" fmla="*/ 5832 h 5840"/>
              <a:gd name="T40" fmla="*/ 1979 w 5835"/>
              <a:gd name="T41" fmla="*/ 5686 h 5840"/>
              <a:gd name="T42" fmla="*/ 1342 w 5835"/>
              <a:gd name="T43" fmla="*/ 5379 h 5840"/>
              <a:gd name="T44" fmla="*/ 804 w 5835"/>
              <a:gd name="T45" fmla="*/ 4932 h 5840"/>
              <a:gd name="T46" fmla="*/ 386 w 5835"/>
              <a:gd name="T47" fmla="*/ 4371 h 5840"/>
              <a:gd name="T48" fmla="*/ 110 w 5835"/>
              <a:gd name="T49" fmla="*/ 3717 h 5840"/>
              <a:gd name="T50" fmla="*/ 1 w 5835"/>
              <a:gd name="T51" fmla="*/ 2992 h 5840"/>
              <a:gd name="T52" fmla="*/ 4160 w 5835"/>
              <a:gd name="T53" fmla="*/ 1587 h 5840"/>
              <a:gd name="T54" fmla="*/ 4040 w 5835"/>
              <a:gd name="T55" fmla="*/ 1372 h 5840"/>
              <a:gd name="T56" fmla="*/ 3836 w 5835"/>
              <a:gd name="T57" fmla="*/ 1238 h 5840"/>
              <a:gd name="T58" fmla="*/ 3603 w 5835"/>
              <a:gd name="T59" fmla="*/ 1215 h 5840"/>
              <a:gd name="T60" fmla="*/ 3358 w 5835"/>
              <a:gd name="T61" fmla="*/ 1320 h 5840"/>
              <a:gd name="T62" fmla="*/ 3201 w 5835"/>
              <a:gd name="T63" fmla="*/ 1530 h 5840"/>
              <a:gd name="T64" fmla="*/ 3167 w 5835"/>
              <a:gd name="T65" fmla="*/ 1775 h 5840"/>
              <a:gd name="T66" fmla="*/ 2531 w 5835"/>
              <a:gd name="T67" fmla="*/ 2176 h 5840"/>
              <a:gd name="T68" fmla="*/ 1848 w 5835"/>
              <a:gd name="T69" fmla="*/ 2491 h 5840"/>
              <a:gd name="T70" fmla="*/ 1642 w 5835"/>
              <a:gd name="T71" fmla="*/ 2412 h 5840"/>
              <a:gd name="T72" fmla="*/ 1395 w 5835"/>
              <a:gd name="T73" fmla="*/ 2440 h 5840"/>
              <a:gd name="T74" fmla="*/ 1125 w 5835"/>
              <a:gd name="T75" fmla="*/ 2682 h 5840"/>
              <a:gd name="T76" fmla="*/ 1073 w 5835"/>
              <a:gd name="T77" fmla="*/ 3014 h 5840"/>
              <a:gd name="T78" fmla="*/ 1232 w 5835"/>
              <a:gd name="T79" fmla="*/ 3305 h 5840"/>
              <a:gd name="T80" fmla="*/ 1463 w 5835"/>
              <a:gd name="T81" fmla="*/ 3429 h 5840"/>
              <a:gd name="T82" fmla="*/ 1809 w 5835"/>
              <a:gd name="T83" fmla="*/ 3376 h 5840"/>
              <a:gd name="T84" fmla="*/ 1925 w 5835"/>
              <a:gd name="T85" fmla="*/ 3353 h 5840"/>
              <a:gd name="T86" fmla="*/ 3158 w 5835"/>
              <a:gd name="T87" fmla="*/ 4018 h 5840"/>
              <a:gd name="T88" fmla="*/ 3169 w 5835"/>
              <a:gd name="T89" fmla="*/ 4200 h 5840"/>
              <a:gd name="T90" fmla="*/ 3287 w 5835"/>
              <a:gd name="T91" fmla="*/ 4452 h 5840"/>
              <a:gd name="T92" fmla="*/ 3516 w 5835"/>
              <a:gd name="T93" fmla="*/ 4607 h 5840"/>
              <a:gd name="T94" fmla="*/ 3780 w 5835"/>
              <a:gd name="T95" fmla="*/ 4618 h 5840"/>
              <a:gd name="T96" fmla="*/ 4055 w 5835"/>
              <a:gd name="T97" fmla="*/ 4452 h 5840"/>
              <a:gd name="T98" fmla="*/ 4149 w 5835"/>
              <a:gd name="T99" fmla="*/ 4284 h 5840"/>
              <a:gd name="T100" fmla="*/ 4167 w 5835"/>
              <a:gd name="T101" fmla="*/ 4002 h 5840"/>
              <a:gd name="T102" fmla="*/ 3967 w 5835"/>
              <a:gd name="T103" fmla="*/ 3703 h 5840"/>
              <a:gd name="T104" fmla="*/ 3816 w 5835"/>
              <a:gd name="T105" fmla="*/ 3624 h 5840"/>
              <a:gd name="T106" fmla="*/ 3467 w 5835"/>
              <a:gd name="T107" fmla="*/ 3649 h 5840"/>
              <a:gd name="T108" fmla="*/ 3334 w 5835"/>
              <a:gd name="T109" fmla="*/ 3694 h 5840"/>
              <a:gd name="T110" fmla="*/ 2077 w 5835"/>
              <a:gd name="T111" fmla="*/ 3013 h 5840"/>
              <a:gd name="T112" fmla="*/ 2076 w 5835"/>
              <a:gd name="T113" fmla="*/ 2853 h 5840"/>
              <a:gd name="T114" fmla="*/ 3332 w 5835"/>
              <a:gd name="T115" fmla="*/ 2160 h 5840"/>
              <a:gd name="T116" fmla="*/ 3396 w 5835"/>
              <a:gd name="T117" fmla="*/ 2161 h 5840"/>
              <a:gd name="T118" fmla="*/ 3728 w 5835"/>
              <a:gd name="T119" fmla="*/ 2237 h 5840"/>
              <a:gd name="T120" fmla="*/ 4015 w 5835"/>
              <a:gd name="T121" fmla="*/ 2105 h 5840"/>
              <a:gd name="T122" fmla="*/ 4169 w 5835"/>
              <a:gd name="T123" fmla="*/ 1812 h 5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35" h="5840">
                <a:moveTo>
                  <a:pt x="0" y="2917"/>
                </a:moveTo>
                <a:lnTo>
                  <a:pt x="0" y="2917"/>
                </a:lnTo>
                <a:lnTo>
                  <a:pt x="1" y="2842"/>
                </a:lnTo>
                <a:lnTo>
                  <a:pt x="5" y="2767"/>
                </a:lnTo>
                <a:lnTo>
                  <a:pt x="10" y="2692"/>
                </a:lnTo>
                <a:lnTo>
                  <a:pt x="16" y="2618"/>
                </a:lnTo>
                <a:lnTo>
                  <a:pt x="24" y="2546"/>
                </a:lnTo>
                <a:lnTo>
                  <a:pt x="34" y="2473"/>
                </a:lnTo>
                <a:lnTo>
                  <a:pt x="46" y="2400"/>
                </a:lnTo>
                <a:lnTo>
                  <a:pt x="61" y="2330"/>
                </a:lnTo>
                <a:lnTo>
                  <a:pt x="76" y="2258"/>
                </a:lnTo>
                <a:lnTo>
                  <a:pt x="93" y="2188"/>
                </a:lnTo>
                <a:lnTo>
                  <a:pt x="112" y="2119"/>
                </a:lnTo>
                <a:lnTo>
                  <a:pt x="132" y="2049"/>
                </a:lnTo>
                <a:lnTo>
                  <a:pt x="155" y="1981"/>
                </a:lnTo>
                <a:lnTo>
                  <a:pt x="178" y="1914"/>
                </a:lnTo>
                <a:lnTo>
                  <a:pt x="204" y="1848"/>
                </a:lnTo>
                <a:lnTo>
                  <a:pt x="230" y="1781"/>
                </a:lnTo>
                <a:lnTo>
                  <a:pt x="259" y="1717"/>
                </a:lnTo>
                <a:lnTo>
                  <a:pt x="290" y="1653"/>
                </a:lnTo>
                <a:lnTo>
                  <a:pt x="321" y="1590"/>
                </a:lnTo>
                <a:lnTo>
                  <a:pt x="354" y="1526"/>
                </a:lnTo>
                <a:lnTo>
                  <a:pt x="388" y="1465"/>
                </a:lnTo>
                <a:lnTo>
                  <a:pt x="424" y="1404"/>
                </a:lnTo>
                <a:lnTo>
                  <a:pt x="462" y="1344"/>
                </a:lnTo>
                <a:lnTo>
                  <a:pt x="501" y="1286"/>
                </a:lnTo>
                <a:lnTo>
                  <a:pt x="541" y="1228"/>
                </a:lnTo>
                <a:lnTo>
                  <a:pt x="582" y="1172"/>
                </a:lnTo>
                <a:lnTo>
                  <a:pt x="624" y="1116"/>
                </a:lnTo>
                <a:lnTo>
                  <a:pt x="668" y="1062"/>
                </a:lnTo>
                <a:lnTo>
                  <a:pt x="714" y="1008"/>
                </a:lnTo>
                <a:lnTo>
                  <a:pt x="760" y="956"/>
                </a:lnTo>
                <a:lnTo>
                  <a:pt x="807" y="904"/>
                </a:lnTo>
                <a:lnTo>
                  <a:pt x="857" y="854"/>
                </a:lnTo>
                <a:lnTo>
                  <a:pt x="907" y="806"/>
                </a:lnTo>
                <a:lnTo>
                  <a:pt x="958" y="758"/>
                </a:lnTo>
                <a:lnTo>
                  <a:pt x="1011" y="711"/>
                </a:lnTo>
                <a:lnTo>
                  <a:pt x="1064" y="666"/>
                </a:lnTo>
                <a:lnTo>
                  <a:pt x="1119" y="622"/>
                </a:lnTo>
                <a:lnTo>
                  <a:pt x="1175" y="580"/>
                </a:lnTo>
                <a:lnTo>
                  <a:pt x="1232" y="539"/>
                </a:lnTo>
                <a:lnTo>
                  <a:pt x="1289" y="499"/>
                </a:lnTo>
                <a:lnTo>
                  <a:pt x="1348" y="460"/>
                </a:lnTo>
                <a:lnTo>
                  <a:pt x="1408" y="422"/>
                </a:lnTo>
                <a:lnTo>
                  <a:pt x="1468" y="387"/>
                </a:lnTo>
                <a:lnTo>
                  <a:pt x="1530" y="352"/>
                </a:lnTo>
                <a:lnTo>
                  <a:pt x="1592" y="319"/>
                </a:lnTo>
                <a:lnTo>
                  <a:pt x="1656" y="288"/>
                </a:lnTo>
                <a:lnTo>
                  <a:pt x="1720" y="257"/>
                </a:lnTo>
                <a:lnTo>
                  <a:pt x="1785" y="229"/>
                </a:lnTo>
                <a:lnTo>
                  <a:pt x="1850" y="203"/>
                </a:lnTo>
                <a:lnTo>
                  <a:pt x="1917" y="177"/>
                </a:lnTo>
                <a:lnTo>
                  <a:pt x="1985" y="153"/>
                </a:lnTo>
                <a:lnTo>
                  <a:pt x="2052" y="131"/>
                </a:lnTo>
                <a:lnTo>
                  <a:pt x="2122" y="110"/>
                </a:lnTo>
                <a:lnTo>
                  <a:pt x="2191" y="92"/>
                </a:lnTo>
                <a:lnTo>
                  <a:pt x="2261" y="75"/>
                </a:lnTo>
                <a:lnTo>
                  <a:pt x="2333" y="59"/>
                </a:lnTo>
                <a:lnTo>
                  <a:pt x="2404" y="46"/>
                </a:lnTo>
                <a:lnTo>
                  <a:pt x="2476" y="34"/>
                </a:lnTo>
                <a:lnTo>
                  <a:pt x="2548" y="24"/>
                </a:lnTo>
                <a:lnTo>
                  <a:pt x="2622" y="16"/>
                </a:lnTo>
                <a:lnTo>
                  <a:pt x="2696" y="8"/>
                </a:lnTo>
                <a:lnTo>
                  <a:pt x="2770" y="4"/>
                </a:lnTo>
                <a:lnTo>
                  <a:pt x="2845" y="1"/>
                </a:lnTo>
                <a:lnTo>
                  <a:pt x="2921" y="0"/>
                </a:lnTo>
                <a:lnTo>
                  <a:pt x="2921" y="0"/>
                </a:lnTo>
                <a:lnTo>
                  <a:pt x="2996" y="1"/>
                </a:lnTo>
                <a:lnTo>
                  <a:pt x="3071" y="5"/>
                </a:lnTo>
                <a:lnTo>
                  <a:pt x="3145" y="10"/>
                </a:lnTo>
                <a:lnTo>
                  <a:pt x="3219" y="16"/>
                </a:lnTo>
                <a:lnTo>
                  <a:pt x="3292" y="24"/>
                </a:lnTo>
                <a:lnTo>
                  <a:pt x="3364" y="34"/>
                </a:lnTo>
                <a:lnTo>
                  <a:pt x="3437" y="46"/>
                </a:lnTo>
                <a:lnTo>
                  <a:pt x="3509" y="61"/>
                </a:lnTo>
                <a:lnTo>
                  <a:pt x="3579" y="75"/>
                </a:lnTo>
                <a:lnTo>
                  <a:pt x="3649" y="93"/>
                </a:lnTo>
                <a:lnTo>
                  <a:pt x="3719" y="112"/>
                </a:lnTo>
                <a:lnTo>
                  <a:pt x="3787" y="132"/>
                </a:lnTo>
                <a:lnTo>
                  <a:pt x="3856" y="155"/>
                </a:lnTo>
                <a:lnTo>
                  <a:pt x="3923" y="178"/>
                </a:lnTo>
                <a:lnTo>
                  <a:pt x="3990" y="204"/>
                </a:lnTo>
                <a:lnTo>
                  <a:pt x="4056" y="232"/>
                </a:lnTo>
                <a:lnTo>
                  <a:pt x="4121" y="260"/>
                </a:lnTo>
                <a:lnTo>
                  <a:pt x="4185" y="290"/>
                </a:lnTo>
                <a:lnTo>
                  <a:pt x="4248" y="322"/>
                </a:lnTo>
                <a:lnTo>
                  <a:pt x="4311" y="354"/>
                </a:lnTo>
                <a:lnTo>
                  <a:pt x="4373" y="389"/>
                </a:lnTo>
                <a:lnTo>
                  <a:pt x="4434" y="425"/>
                </a:lnTo>
                <a:lnTo>
                  <a:pt x="4493" y="462"/>
                </a:lnTo>
                <a:lnTo>
                  <a:pt x="4551" y="501"/>
                </a:lnTo>
                <a:lnTo>
                  <a:pt x="4609" y="541"/>
                </a:lnTo>
                <a:lnTo>
                  <a:pt x="4666" y="582"/>
                </a:lnTo>
                <a:lnTo>
                  <a:pt x="4722" y="626"/>
                </a:lnTo>
                <a:lnTo>
                  <a:pt x="4777" y="670"/>
                </a:lnTo>
                <a:lnTo>
                  <a:pt x="4830" y="716"/>
                </a:lnTo>
                <a:lnTo>
                  <a:pt x="4882" y="762"/>
                </a:lnTo>
                <a:lnTo>
                  <a:pt x="4933" y="809"/>
                </a:lnTo>
                <a:lnTo>
                  <a:pt x="4984" y="859"/>
                </a:lnTo>
                <a:lnTo>
                  <a:pt x="5032" y="909"/>
                </a:lnTo>
                <a:lnTo>
                  <a:pt x="5080" y="961"/>
                </a:lnTo>
                <a:lnTo>
                  <a:pt x="5127" y="1013"/>
                </a:lnTo>
                <a:lnTo>
                  <a:pt x="5172" y="1067"/>
                </a:lnTo>
                <a:lnTo>
                  <a:pt x="5215" y="1121"/>
                </a:lnTo>
                <a:lnTo>
                  <a:pt x="5258" y="1177"/>
                </a:lnTo>
                <a:lnTo>
                  <a:pt x="5299" y="1234"/>
                </a:lnTo>
                <a:lnTo>
                  <a:pt x="5339" y="1292"/>
                </a:lnTo>
                <a:lnTo>
                  <a:pt x="5378" y="1350"/>
                </a:lnTo>
                <a:lnTo>
                  <a:pt x="5416" y="1411"/>
                </a:lnTo>
                <a:lnTo>
                  <a:pt x="5451" y="1472"/>
                </a:lnTo>
                <a:lnTo>
                  <a:pt x="5486" y="1534"/>
                </a:lnTo>
                <a:lnTo>
                  <a:pt x="5519" y="1596"/>
                </a:lnTo>
                <a:lnTo>
                  <a:pt x="5550" y="1660"/>
                </a:lnTo>
                <a:lnTo>
                  <a:pt x="5579" y="1724"/>
                </a:lnTo>
                <a:lnTo>
                  <a:pt x="5608" y="1789"/>
                </a:lnTo>
                <a:lnTo>
                  <a:pt x="5635" y="1855"/>
                </a:lnTo>
                <a:lnTo>
                  <a:pt x="5660" y="1922"/>
                </a:lnTo>
                <a:lnTo>
                  <a:pt x="5683" y="1990"/>
                </a:lnTo>
                <a:lnTo>
                  <a:pt x="5705" y="2058"/>
                </a:lnTo>
                <a:lnTo>
                  <a:pt x="5726" y="2127"/>
                </a:lnTo>
                <a:lnTo>
                  <a:pt x="5745" y="2196"/>
                </a:lnTo>
                <a:lnTo>
                  <a:pt x="5762" y="2267"/>
                </a:lnTo>
                <a:lnTo>
                  <a:pt x="5777" y="2338"/>
                </a:lnTo>
                <a:lnTo>
                  <a:pt x="5791" y="2410"/>
                </a:lnTo>
                <a:lnTo>
                  <a:pt x="5802" y="2481"/>
                </a:lnTo>
                <a:lnTo>
                  <a:pt x="5813" y="2554"/>
                </a:lnTo>
                <a:lnTo>
                  <a:pt x="5822" y="2628"/>
                </a:lnTo>
                <a:lnTo>
                  <a:pt x="5828" y="2702"/>
                </a:lnTo>
                <a:lnTo>
                  <a:pt x="5833" y="2776"/>
                </a:lnTo>
                <a:lnTo>
                  <a:pt x="5835" y="2851"/>
                </a:lnTo>
                <a:lnTo>
                  <a:pt x="5835" y="2927"/>
                </a:lnTo>
                <a:lnTo>
                  <a:pt x="5835" y="2927"/>
                </a:lnTo>
                <a:lnTo>
                  <a:pt x="5835" y="3002"/>
                </a:lnTo>
                <a:lnTo>
                  <a:pt x="5831" y="3077"/>
                </a:lnTo>
                <a:lnTo>
                  <a:pt x="5827" y="3151"/>
                </a:lnTo>
                <a:lnTo>
                  <a:pt x="5820" y="3225"/>
                </a:lnTo>
                <a:lnTo>
                  <a:pt x="5812" y="3298"/>
                </a:lnTo>
                <a:lnTo>
                  <a:pt x="5801" y="3371"/>
                </a:lnTo>
                <a:lnTo>
                  <a:pt x="5789" y="3444"/>
                </a:lnTo>
                <a:lnTo>
                  <a:pt x="5776" y="3515"/>
                </a:lnTo>
                <a:lnTo>
                  <a:pt x="5760" y="3586"/>
                </a:lnTo>
                <a:lnTo>
                  <a:pt x="5742" y="3656"/>
                </a:lnTo>
                <a:lnTo>
                  <a:pt x="5723" y="3725"/>
                </a:lnTo>
                <a:lnTo>
                  <a:pt x="5703" y="3794"/>
                </a:lnTo>
                <a:lnTo>
                  <a:pt x="5680" y="3862"/>
                </a:lnTo>
                <a:lnTo>
                  <a:pt x="5657" y="3929"/>
                </a:lnTo>
                <a:lnTo>
                  <a:pt x="5631" y="3996"/>
                </a:lnTo>
                <a:lnTo>
                  <a:pt x="5603" y="4062"/>
                </a:lnTo>
                <a:lnTo>
                  <a:pt x="5576" y="4127"/>
                </a:lnTo>
                <a:lnTo>
                  <a:pt x="5545" y="4191"/>
                </a:lnTo>
                <a:lnTo>
                  <a:pt x="5514" y="4254"/>
                </a:lnTo>
                <a:lnTo>
                  <a:pt x="5481" y="4317"/>
                </a:lnTo>
                <a:lnTo>
                  <a:pt x="5446" y="4378"/>
                </a:lnTo>
                <a:lnTo>
                  <a:pt x="5409" y="4439"/>
                </a:lnTo>
                <a:lnTo>
                  <a:pt x="5373" y="4498"/>
                </a:lnTo>
                <a:lnTo>
                  <a:pt x="5334" y="4557"/>
                </a:lnTo>
                <a:lnTo>
                  <a:pt x="5294" y="4614"/>
                </a:lnTo>
                <a:lnTo>
                  <a:pt x="5252" y="4672"/>
                </a:lnTo>
                <a:lnTo>
                  <a:pt x="5209" y="4727"/>
                </a:lnTo>
                <a:lnTo>
                  <a:pt x="5166" y="4782"/>
                </a:lnTo>
                <a:lnTo>
                  <a:pt x="5120" y="4835"/>
                </a:lnTo>
                <a:lnTo>
                  <a:pt x="5074" y="4887"/>
                </a:lnTo>
                <a:lnTo>
                  <a:pt x="5026" y="4938"/>
                </a:lnTo>
                <a:lnTo>
                  <a:pt x="4977" y="4988"/>
                </a:lnTo>
                <a:lnTo>
                  <a:pt x="4927" y="5037"/>
                </a:lnTo>
                <a:lnTo>
                  <a:pt x="4875" y="5085"/>
                </a:lnTo>
                <a:lnTo>
                  <a:pt x="4823" y="5131"/>
                </a:lnTo>
                <a:lnTo>
                  <a:pt x="4769" y="5176"/>
                </a:lnTo>
                <a:lnTo>
                  <a:pt x="4715" y="5220"/>
                </a:lnTo>
                <a:lnTo>
                  <a:pt x="4659" y="5262"/>
                </a:lnTo>
                <a:lnTo>
                  <a:pt x="4602" y="5304"/>
                </a:lnTo>
                <a:lnTo>
                  <a:pt x="4544" y="5344"/>
                </a:lnTo>
                <a:lnTo>
                  <a:pt x="4486" y="5383"/>
                </a:lnTo>
                <a:lnTo>
                  <a:pt x="4426" y="5420"/>
                </a:lnTo>
                <a:lnTo>
                  <a:pt x="4366" y="5455"/>
                </a:lnTo>
                <a:lnTo>
                  <a:pt x="4304" y="5491"/>
                </a:lnTo>
                <a:lnTo>
                  <a:pt x="4241" y="5523"/>
                </a:lnTo>
                <a:lnTo>
                  <a:pt x="4178" y="5555"/>
                </a:lnTo>
                <a:lnTo>
                  <a:pt x="4113" y="5584"/>
                </a:lnTo>
                <a:lnTo>
                  <a:pt x="4048" y="5613"/>
                </a:lnTo>
                <a:lnTo>
                  <a:pt x="3983" y="5640"/>
                </a:lnTo>
                <a:lnTo>
                  <a:pt x="3916" y="5665"/>
                </a:lnTo>
                <a:lnTo>
                  <a:pt x="3848" y="5688"/>
                </a:lnTo>
                <a:lnTo>
                  <a:pt x="3780" y="5710"/>
                </a:lnTo>
                <a:lnTo>
                  <a:pt x="3711" y="5731"/>
                </a:lnTo>
                <a:lnTo>
                  <a:pt x="3642" y="5750"/>
                </a:lnTo>
                <a:lnTo>
                  <a:pt x="3572" y="5767"/>
                </a:lnTo>
                <a:lnTo>
                  <a:pt x="3500" y="5782"/>
                </a:lnTo>
                <a:lnTo>
                  <a:pt x="3429" y="5795"/>
                </a:lnTo>
                <a:lnTo>
                  <a:pt x="3357" y="5807"/>
                </a:lnTo>
                <a:lnTo>
                  <a:pt x="3284" y="5818"/>
                </a:lnTo>
                <a:lnTo>
                  <a:pt x="3211" y="5825"/>
                </a:lnTo>
                <a:lnTo>
                  <a:pt x="3138" y="5833"/>
                </a:lnTo>
                <a:lnTo>
                  <a:pt x="3062" y="5836"/>
                </a:lnTo>
                <a:lnTo>
                  <a:pt x="2988" y="5840"/>
                </a:lnTo>
                <a:lnTo>
                  <a:pt x="2913" y="5840"/>
                </a:lnTo>
                <a:lnTo>
                  <a:pt x="2913" y="5840"/>
                </a:lnTo>
                <a:lnTo>
                  <a:pt x="2838" y="5840"/>
                </a:lnTo>
                <a:lnTo>
                  <a:pt x="2763" y="5836"/>
                </a:lnTo>
                <a:lnTo>
                  <a:pt x="2689" y="5832"/>
                </a:lnTo>
                <a:lnTo>
                  <a:pt x="2615" y="5825"/>
                </a:lnTo>
                <a:lnTo>
                  <a:pt x="2542" y="5817"/>
                </a:lnTo>
                <a:lnTo>
                  <a:pt x="2470" y="5806"/>
                </a:lnTo>
                <a:lnTo>
                  <a:pt x="2397" y="5794"/>
                </a:lnTo>
                <a:lnTo>
                  <a:pt x="2325" y="5781"/>
                </a:lnTo>
                <a:lnTo>
                  <a:pt x="2255" y="5765"/>
                </a:lnTo>
                <a:lnTo>
                  <a:pt x="2185" y="5748"/>
                </a:lnTo>
                <a:lnTo>
                  <a:pt x="2116" y="5728"/>
                </a:lnTo>
                <a:lnTo>
                  <a:pt x="2046" y="5708"/>
                </a:lnTo>
                <a:lnTo>
                  <a:pt x="1979" y="5686"/>
                </a:lnTo>
                <a:lnTo>
                  <a:pt x="1911" y="5662"/>
                </a:lnTo>
                <a:lnTo>
                  <a:pt x="1845" y="5636"/>
                </a:lnTo>
                <a:lnTo>
                  <a:pt x="1779" y="5609"/>
                </a:lnTo>
                <a:lnTo>
                  <a:pt x="1714" y="5582"/>
                </a:lnTo>
                <a:lnTo>
                  <a:pt x="1650" y="5551"/>
                </a:lnTo>
                <a:lnTo>
                  <a:pt x="1587" y="5520"/>
                </a:lnTo>
                <a:lnTo>
                  <a:pt x="1524" y="5486"/>
                </a:lnTo>
                <a:lnTo>
                  <a:pt x="1463" y="5452"/>
                </a:lnTo>
                <a:lnTo>
                  <a:pt x="1403" y="5415"/>
                </a:lnTo>
                <a:lnTo>
                  <a:pt x="1342" y="5379"/>
                </a:lnTo>
                <a:lnTo>
                  <a:pt x="1284" y="5340"/>
                </a:lnTo>
                <a:lnTo>
                  <a:pt x="1227" y="5300"/>
                </a:lnTo>
                <a:lnTo>
                  <a:pt x="1170" y="5258"/>
                </a:lnTo>
                <a:lnTo>
                  <a:pt x="1114" y="5215"/>
                </a:lnTo>
                <a:lnTo>
                  <a:pt x="1060" y="5171"/>
                </a:lnTo>
                <a:lnTo>
                  <a:pt x="1006" y="5125"/>
                </a:lnTo>
                <a:lnTo>
                  <a:pt x="954" y="5079"/>
                </a:lnTo>
                <a:lnTo>
                  <a:pt x="903" y="5032"/>
                </a:lnTo>
                <a:lnTo>
                  <a:pt x="852" y="4982"/>
                </a:lnTo>
                <a:lnTo>
                  <a:pt x="804" y="4932"/>
                </a:lnTo>
                <a:lnTo>
                  <a:pt x="757" y="4881"/>
                </a:lnTo>
                <a:lnTo>
                  <a:pt x="710" y="4828"/>
                </a:lnTo>
                <a:lnTo>
                  <a:pt x="664" y="4775"/>
                </a:lnTo>
                <a:lnTo>
                  <a:pt x="621" y="4720"/>
                </a:lnTo>
                <a:lnTo>
                  <a:pt x="578" y="4664"/>
                </a:lnTo>
                <a:lnTo>
                  <a:pt x="537" y="4607"/>
                </a:lnTo>
                <a:lnTo>
                  <a:pt x="497" y="4550"/>
                </a:lnTo>
                <a:lnTo>
                  <a:pt x="458" y="4491"/>
                </a:lnTo>
                <a:lnTo>
                  <a:pt x="422" y="4431"/>
                </a:lnTo>
                <a:lnTo>
                  <a:pt x="386" y="4371"/>
                </a:lnTo>
                <a:lnTo>
                  <a:pt x="352" y="4309"/>
                </a:lnTo>
                <a:lnTo>
                  <a:pt x="319" y="4246"/>
                </a:lnTo>
                <a:lnTo>
                  <a:pt x="287" y="4183"/>
                </a:lnTo>
                <a:lnTo>
                  <a:pt x="257" y="4118"/>
                </a:lnTo>
                <a:lnTo>
                  <a:pt x="229" y="4054"/>
                </a:lnTo>
                <a:lnTo>
                  <a:pt x="202" y="3987"/>
                </a:lnTo>
                <a:lnTo>
                  <a:pt x="177" y="3920"/>
                </a:lnTo>
                <a:lnTo>
                  <a:pt x="153" y="3854"/>
                </a:lnTo>
                <a:lnTo>
                  <a:pt x="131" y="3785"/>
                </a:lnTo>
                <a:lnTo>
                  <a:pt x="110" y="3717"/>
                </a:lnTo>
                <a:lnTo>
                  <a:pt x="92" y="3646"/>
                </a:lnTo>
                <a:lnTo>
                  <a:pt x="75" y="3576"/>
                </a:lnTo>
                <a:lnTo>
                  <a:pt x="59" y="3505"/>
                </a:lnTo>
                <a:lnTo>
                  <a:pt x="46" y="3434"/>
                </a:lnTo>
                <a:lnTo>
                  <a:pt x="34" y="3361"/>
                </a:lnTo>
                <a:lnTo>
                  <a:pt x="23" y="3288"/>
                </a:lnTo>
                <a:lnTo>
                  <a:pt x="16" y="3215"/>
                </a:lnTo>
                <a:lnTo>
                  <a:pt x="8" y="3141"/>
                </a:lnTo>
                <a:lnTo>
                  <a:pt x="4" y="3067"/>
                </a:lnTo>
                <a:lnTo>
                  <a:pt x="1" y="2992"/>
                </a:lnTo>
                <a:lnTo>
                  <a:pt x="0" y="2917"/>
                </a:lnTo>
                <a:lnTo>
                  <a:pt x="0" y="2917"/>
                </a:lnTo>
                <a:close/>
                <a:moveTo>
                  <a:pt x="4178" y="1738"/>
                </a:moveTo>
                <a:lnTo>
                  <a:pt x="4178" y="1738"/>
                </a:lnTo>
                <a:lnTo>
                  <a:pt x="4178" y="1712"/>
                </a:lnTo>
                <a:lnTo>
                  <a:pt x="4177" y="1687"/>
                </a:lnTo>
                <a:lnTo>
                  <a:pt x="4174" y="1661"/>
                </a:lnTo>
                <a:lnTo>
                  <a:pt x="4170" y="1636"/>
                </a:lnTo>
                <a:lnTo>
                  <a:pt x="4166" y="1611"/>
                </a:lnTo>
                <a:lnTo>
                  <a:pt x="4160" y="1587"/>
                </a:lnTo>
                <a:lnTo>
                  <a:pt x="4152" y="1563"/>
                </a:lnTo>
                <a:lnTo>
                  <a:pt x="4144" y="1540"/>
                </a:lnTo>
                <a:lnTo>
                  <a:pt x="4134" y="1517"/>
                </a:lnTo>
                <a:lnTo>
                  <a:pt x="4123" y="1494"/>
                </a:lnTo>
                <a:lnTo>
                  <a:pt x="4112" y="1472"/>
                </a:lnTo>
                <a:lnTo>
                  <a:pt x="4099" y="1451"/>
                </a:lnTo>
                <a:lnTo>
                  <a:pt x="4086" y="1431"/>
                </a:lnTo>
                <a:lnTo>
                  <a:pt x="4071" y="1410"/>
                </a:lnTo>
                <a:lnTo>
                  <a:pt x="4055" y="1392"/>
                </a:lnTo>
                <a:lnTo>
                  <a:pt x="4040" y="1372"/>
                </a:lnTo>
                <a:lnTo>
                  <a:pt x="4021" y="1355"/>
                </a:lnTo>
                <a:lnTo>
                  <a:pt x="4004" y="1338"/>
                </a:lnTo>
                <a:lnTo>
                  <a:pt x="3985" y="1323"/>
                </a:lnTo>
                <a:lnTo>
                  <a:pt x="3966" y="1307"/>
                </a:lnTo>
                <a:lnTo>
                  <a:pt x="3945" y="1293"/>
                </a:lnTo>
                <a:lnTo>
                  <a:pt x="3924" y="1280"/>
                </a:lnTo>
                <a:lnTo>
                  <a:pt x="3904" y="1268"/>
                </a:lnTo>
                <a:lnTo>
                  <a:pt x="3881" y="1257"/>
                </a:lnTo>
                <a:lnTo>
                  <a:pt x="3859" y="1246"/>
                </a:lnTo>
                <a:lnTo>
                  <a:pt x="3836" y="1238"/>
                </a:lnTo>
                <a:lnTo>
                  <a:pt x="3812" y="1230"/>
                </a:lnTo>
                <a:lnTo>
                  <a:pt x="3787" y="1223"/>
                </a:lnTo>
                <a:lnTo>
                  <a:pt x="3763" y="1218"/>
                </a:lnTo>
                <a:lnTo>
                  <a:pt x="3739" y="1213"/>
                </a:lnTo>
                <a:lnTo>
                  <a:pt x="3713" y="1211"/>
                </a:lnTo>
                <a:lnTo>
                  <a:pt x="3688" y="1210"/>
                </a:lnTo>
                <a:lnTo>
                  <a:pt x="3688" y="1210"/>
                </a:lnTo>
                <a:lnTo>
                  <a:pt x="3659" y="1210"/>
                </a:lnTo>
                <a:lnTo>
                  <a:pt x="3631" y="1211"/>
                </a:lnTo>
                <a:lnTo>
                  <a:pt x="3603" y="1215"/>
                </a:lnTo>
                <a:lnTo>
                  <a:pt x="3575" y="1219"/>
                </a:lnTo>
                <a:lnTo>
                  <a:pt x="3549" y="1226"/>
                </a:lnTo>
                <a:lnTo>
                  <a:pt x="3522" y="1233"/>
                </a:lnTo>
                <a:lnTo>
                  <a:pt x="3496" y="1241"/>
                </a:lnTo>
                <a:lnTo>
                  <a:pt x="3472" y="1251"/>
                </a:lnTo>
                <a:lnTo>
                  <a:pt x="3448" y="1263"/>
                </a:lnTo>
                <a:lnTo>
                  <a:pt x="3424" y="1275"/>
                </a:lnTo>
                <a:lnTo>
                  <a:pt x="3401" y="1289"/>
                </a:lnTo>
                <a:lnTo>
                  <a:pt x="3379" y="1303"/>
                </a:lnTo>
                <a:lnTo>
                  <a:pt x="3358" y="1320"/>
                </a:lnTo>
                <a:lnTo>
                  <a:pt x="3338" y="1337"/>
                </a:lnTo>
                <a:lnTo>
                  <a:pt x="3318" y="1354"/>
                </a:lnTo>
                <a:lnTo>
                  <a:pt x="3300" y="1374"/>
                </a:lnTo>
                <a:lnTo>
                  <a:pt x="3282" y="1394"/>
                </a:lnTo>
                <a:lnTo>
                  <a:pt x="3266" y="1415"/>
                </a:lnTo>
                <a:lnTo>
                  <a:pt x="3250" y="1437"/>
                </a:lnTo>
                <a:lnTo>
                  <a:pt x="3236" y="1458"/>
                </a:lnTo>
                <a:lnTo>
                  <a:pt x="3224" y="1482"/>
                </a:lnTo>
                <a:lnTo>
                  <a:pt x="3211" y="1506"/>
                </a:lnTo>
                <a:lnTo>
                  <a:pt x="3201" y="1530"/>
                </a:lnTo>
                <a:lnTo>
                  <a:pt x="3191" y="1556"/>
                </a:lnTo>
                <a:lnTo>
                  <a:pt x="3184" y="1581"/>
                </a:lnTo>
                <a:lnTo>
                  <a:pt x="3176" y="1608"/>
                </a:lnTo>
                <a:lnTo>
                  <a:pt x="3171" y="1634"/>
                </a:lnTo>
                <a:lnTo>
                  <a:pt x="3168" y="1662"/>
                </a:lnTo>
                <a:lnTo>
                  <a:pt x="3165" y="1690"/>
                </a:lnTo>
                <a:lnTo>
                  <a:pt x="3164" y="1718"/>
                </a:lnTo>
                <a:lnTo>
                  <a:pt x="3164" y="1747"/>
                </a:lnTo>
                <a:lnTo>
                  <a:pt x="3167" y="1775"/>
                </a:lnTo>
                <a:lnTo>
                  <a:pt x="3167" y="1775"/>
                </a:lnTo>
                <a:lnTo>
                  <a:pt x="3169" y="1801"/>
                </a:lnTo>
                <a:lnTo>
                  <a:pt x="3169" y="1812"/>
                </a:lnTo>
                <a:lnTo>
                  <a:pt x="3167" y="1822"/>
                </a:lnTo>
                <a:lnTo>
                  <a:pt x="3163" y="1832"/>
                </a:lnTo>
                <a:lnTo>
                  <a:pt x="3157" y="1842"/>
                </a:lnTo>
                <a:lnTo>
                  <a:pt x="3147" y="1850"/>
                </a:lnTo>
                <a:lnTo>
                  <a:pt x="3134" y="1859"/>
                </a:lnTo>
                <a:lnTo>
                  <a:pt x="3134" y="1859"/>
                </a:lnTo>
                <a:lnTo>
                  <a:pt x="2832" y="2017"/>
                </a:lnTo>
                <a:lnTo>
                  <a:pt x="2531" y="2176"/>
                </a:lnTo>
                <a:lnTo>
                  <a:pt x="1930" y="2495"/>
                </a:lnTo>
                <a:lnTo>
                  <a:pt x="1930" y="2495"/>
                </a:lnTo>
                <a:lnTo>
                  <a:pt x="1919" y="2500"/>
                </a:lnTo>
                <a:lnTo>
                  <a:pt x="1908" y="2503"/>
                </a:lnTo>
                <a:lnTo>
                  <a:pt x="1899" y="2506"/>
                </a:lnTo>
                <a:lnTo>
                  <a:pt x="1889" y="2506"/>
                </a:lnTo>
                <a:lnTo>
                  <a:pt x="1879" y="2504"/>
                </a:lnTo>
                <a:lnTo>
                  <a:pt x="1869" y="2502"/>
                </a:lnTo>
                <a:lnTo>
                  <a:pt x="1859" y="2497"/>
                </a:lnTo>
                <a:lnTo>
                  <a:pt x="1848" y="2491"/>
                </a:lnTo>
                <a:lnTo>
                  <a:pt x="1848" y="2491"/>
                </a:lnTo>
                <a:lnTo>
                  <a:pt x="1826" y="2478"/>
                </a:lnTo>
                <a:lnTo>
                  <a:pt x="1804" y="2466"/>
                </a:lnTo>
                <a:lnTo>
                  <a:pt x="1781" y="2455"/>
                </a:lnTo>
                <a:lnTo>
                  <a:pt x="1759" y="2444"/>
                </a:lnTo>
                <a:lnTo>
                  <a:pt x="1736" y="2435"/>
                </a:lnTo>
                <a:lnTo>
                  <a:pt x="1713" y="2428"/>
                </a:lnTo>
                <a:lnTo>
                  <a:pt x="1689" y="2421"/>
                </a:lnTo>
                <a:lnTo>
                  <a:pt x="1666" y="2416"/>
                </a:lnTo>
                <a:lnTo>
                  <a:pt x="1642" y="2412"/>
                </a:lnTo>
                <a:lnTo>
                  <a:pt x="1617" y="2409"/>
                </a:lnTo>
                <a:lnTo>
                  <a:pt x="1593" y="2407"/>
                </a:lnTo>
                <a:lnTo>
                  <a:pt x="1569" y="2407"/>
                </a:lnTo>
                <a:lnTo>
                  <a:pt x="1543" y="2409"/>
                </a:lnTo>
                <a:lnTo>
                  <a:pt x="1518" y="2410"/>
                </a:lnTo>
                <a:lnTo>
                  <a:pt x="1492" y="2413"/>
                </a:lnTo>
                <a:lnTo>
                  <a:pt x="1467" y="2418"/>
                </a:lnTo>
                <a:lnTo>
                  <a:pt x="1467" y="2418"/>
                </a:lnTo>
                <a:lnTo>
                  <a:pt x="1431" y="2428"/>
                </a:lnTo>
                <a:lnTo>
                  <a:pt x="1395" y="2440"/>
                </a:lnTo>
                <a:lnTo>
                  <a:pt x="1361" y="2455"/>
                </a:lnTo>
                <a:lnTo>
                  <a:pt x="1329" y="2472"/>
                </a:lnTo>
                <a:lnTo>
                  <a:pt x="1297" y="2491"/>
                </a:lnTo>
                <a:lnTo>
                  <a:pt x="1267" y="2513"/>
                </a:lnTo>
                <a:lnTo>
                  <a:pt x="1239" y="2536"/>
                </a:lnTo>
                <a:lnTo>
                  <a:pt x="1212" y="2561"/>
                </a:lnTo>
                <a:lnTo>
                  <a:pt x="1187" y="2589"/>
                </a:lnTo>
                <a:lnTo>
                  <a:pt x="1165" y="2618"/>
                </a:lnTo>
                <a:lnTo>
                  <a:pt x="1143" y="2650"/>
                </a:lnTo>
                <a:lnTo>
                  <a:pt x="1125" y="2682"/>
                </a:lnTo>
                <a:lnTo>
                  <a:pt x="1109" y="2716"/>
                </a:lnTo>
                <a:lnTo>
                  <a:pt x="1095" y="2751"/>
                </a:lnTo>
                <a:lnTo>
                  <a:pt x="1084" y="2787"/>
                </a:lnTo>
                <a:lnTo>
                  <a:pt x="1074" y="2825"/>
                </a:lnTo>
                <a:lnTo>
                  <a:pt x="1074" y="2825"/>
                </a:lnTo>
                <a:lnTo>
                  <a:pt x="1068" y="2864"/>
                </a:lnTo>
                <a:lnTo>
                  <a:pt x="1066" y="2901"/>
                </a:lnTo>
                <a:lnTo>
                  <a:pt x="1066" y="2939"/>
                </a:lnTo>
                <a:lnTo>
                  <a:pt x="1068" y="2976"/>
                </a:lnTo>
                <a:lnTo>
                  <a:pt x="1073" y="3014"/>
                </a:lnTo>
                <a:lnTo>
                  <a:pt x="1080" y="3050"/>
                </a:lnTo>
                <a:lnTo>
                  <a:pt x="1091" y="3087"/>
                </a:lnTo>
                <a:lnTo>
                  <a:pt x="1104" y="3122"/>
                </a:lnTo>
                <a:lnTo>
                  <a:pt x="1119" y="3156"/>
                </a:lnTo>
                <a:lnTo>
                  <a:pt x="1137" y="3189"/>
                </a:lnTo>
                <a:lnTo>
                  <a:pt x="1158" y="3220"/>
                </a:lnTo>
                <a:lnTo>
                  <a:pt x="1180" y="3251"/>
                </a:lnTo>
                <a:lnTo>
                  <a:pt x="1205" y="3279"/>
                </a:lnTo>
                <a:lnTo>
                  <a:pt x="1218" y="3293"/>
                </a:lnTo>
                <a:lnTo>
                  <a:pt x="1232" y="3305"/>
                </a:lnTo>
                <a:lnTo>
                  <a:pt x="1246" y="3319"/>
                </a:lnTo>
                <a:lnTo>
                  <a:pt x="1261" y="3330"/>
                </a:lnTo>
                <a:lnTo>
                  <a:pt x="1277" y="3342"/>
                </a:lnTo>
                <a:lnTo>
                  <a:pt x="1292" y="3353"/>
                </a:lnTo>
                <a:lnTo>
                  <a:pt x="1292" y="3353"/>
                </a:lnTo>
                <a:lnTo>
                  <a:pt x="1326" y="3373"/>
                </a:lnTo>
                <a:lnTo>
                  <a:pt x="1360" y="3391"/>
                </a:lnTo>
                <a:lnTo>
                  <a:pt x="1395" y="3406"/>
                </a:lnTo>
                <a:lnTo>
                  <a:pt x="1429" y="3419"/>
                </a:lnTo>
                <a:lnTo>
                  <a:pt x="1463" y="3429"/>
                </a:lnTo>
                <a:lnTo>
                  <a:pt x="1498" y="3436"/>
                </a:lnTo>
                <a:lnTo>
                  <a:pt x="1532" y="3440"/>
                </a:lnTo>
                <a:lnTo>
                  <a:pt x="1568" y="3441"/>
                </a:lnTo>
                <a:lnTo>
                  <a:pt x="1602" y="3440"/>
                </a:lnTo>
                <a:lnTo>
                  <a:pt x="1637" y="3436"/>
                </a:lnTo>
                <a:lnTo>
                  <a:pt x="1671" y="3430"/>
                </a:lnTo>
                <a:lnTo>
                  <a:pt x="1706" y="3421"/>
                </a:lnTo>
                <a:lnTo>
                  <a:pt x="1740" y="3408"/>
                </a:lnTo>
                <a:lnTo>
                  <a:pt x="1775" y="3394"/>
                </a:lnTo>
                <a:lnTo>
                  <a:pt x="1809" y="3376"/>
                </a:lnTo>
                <a:lnTo>
                  <a:pt x="1844" y="3356"/>
                </a:lnTo>
                <a:lnTo>
                  <a:pt x="1844" y="3356"/>
                </a:lnTo>
                <a:lnTo>
                  <a:pt x="1855" y="3350"/>
                </a:lnTo>
                <a:lnTo>
                  <a:pt x="1865" y="3345"/>
                </a:lnTo>
                <a:lnTo>
                  <a:pt x="1874" y="3343"/>
                </a:lnTo>
                <a:lnTo>
                  <a:pt x="1884" y="3340"/>
                </a:lnTo>
                <a:lnTo>
                  <a:pt x="1894" y="3342"/>
                </a:lnTo>
                <a:lnTo>
                  <a:pt x="1903" y="3343"/>
                </a:lnTo>
                <a:lnTo>
                  <a:pt x="1914" y="3348"/>
                </a:lnTo>
                <a:lnTo>
                  <a:pt x="1925" y="3353"/>
                </a:lnTo>
                <a:lnTo>
                  <a:pt x="1925" y="3353"/>
                </a:lnTo>
                <a:lnTo>
                  <a:pt x="2516" y="3666"/>
                </a:lnTo>
                <a:lnTo>
                  <a:pt x="2813" y="3821"/>
                </a:lnTo>
                <a:lnTo>
                  <a:pt x="3108" y="3975"/>
                </a:lnTo>
                <a:lnTo>
                  <a:pt x="3108" y="3975"/>
                </a:lnTo>
                <a:lnTo>
                  <a:pt x="3125" y="3985"/>
                </a:lnTo>
                <a:lnTo>
                  <a:pt x="3140" y="3994"/>
                </a:lnTo>
                <a:lnTo>
                  <a:pt x="3151" y="4007"/>
                </a:lnTo>
                <a:lnTo>
                  <a:pt x="3155" y="4011"/>
                </a:lnTo>
                <a:lnTo>
                  <a:pt x="3158" y="4018"/>
                </a:lnTo>
                <a:lnTo>
                  <a:pt x="3162" y="4025"/>
                </a:lnTo>
                <a:lnTo>
                  <a:pt x="3164" y="4031"/>
                </a:lnTo>
                <a:lnTo>
                  <a:pt x="3167" y="4047"/>
                </a:lnTo>
                <a:lnTo>
                  <a:pt x="3168" y="4064"/>
                </a:lnTo>
                <a:lnTo>
                  <a:pt x="3167" y="4084"/>
                </a:lnTo>
                <a:lnTo>
                  <a:pt x="3167" y="4084"/>
                </a:lnTo>
                <a:lnTo>
                  <a:pt x="3164" y="4113"/>
                </a:lnTo>
                <a:lnTo>
                  <a:pt x="3164" y="4142"/>
                </a:lnTo>
                <a:lnTo>
                  <a:pt x="3165" y="4170"/>
                </a:lnTo>
                <a:lnTo>
                  <a:pt x="3169" y="4200"/>
                </a:lnTo>
                <a:lnTo>
                  <a:pt x="3174" y="4227"/>
                </a:lnTo>
                <a:lnTo>
                  <a:pt x="3180" y="4254"/>
                </a:lnTo>
                <a:lnTo>
                  <a:pt x="3188" y="4282"/>
                </a:lnTo>
                <a:lnTo>
                  <a:pt x="3198" y="4308"/>
                </a:lnTo>
                <a:lnTo>
                  <a:pt x="3210" y="4334"/>
                </a:lnTo>
                <a:lnTo>
                  <a:pt x="3222" y="4358"/>
                </a:lnTo>
                <a:lnTo>
                  <a:pt x="3237" y="4383"/>
                </a:lnTo>
                <a:lnTo>
                  <a:pt x="3253" y="4407"/>
                </a:lnTo>
                <a:lnTo>
                  <a:pt x="3268" y="4430"/>
                </a:lnTo>
                <a:lnTo>
                  <a:pt x="3287" y="4452"/>
                </a:lnTo>
                <a:lnTo>
                  <a:pt x="3305" y="4473"/>
                </a:lnTo>
                <a:lnTo>
                  <a:pt x="3325" y="4492"/>
                </a:lnTo>
                <a:lnTo>
                  <a:pt x="3346" y="4511"/>
                </a:lnTo>
                <a:lnTo>
                  <a:pt x="3368" y="4528"/>
                </a:lnTo>
                <a:lnTo>
                  <a:pt x="3391" y="4545"/>
                </a:lnTo>
                <a:lnTo>
                  <a:pt x="3415" y="4560"/>
                </a:lnTo>
                <a:lnTo>
                  <a:pt x="3439" y="4574"/>
                </a:lnTo>
                <a:lnTo>
                  <a:pt x="3464" y="4587"/>
                </a:lnTo>
                <a:lnTo>
                  <a:pt x="3490" y="4597"/>
                </a:lnTo>
                <a:lnTo>
                  <a:pt x="3516" y="4607"/>
                </a:lnTo>
                <a:lnTo>
                  <a:pt x="3542" y="4616"/>
                </a:lnTo>
                <a:lnTo>
                  <a:pt x="3570" y="4623"/>
                </a:lnTo>
                <a:lnTo>
                  <a:pt x="3598" y="4628"/>
                </a:lnTo>
                <a:lnTo>
                  <a:pt x="3626" y="4631"/>
                </a:lnTo>
                <a:lnTo>
                  <a:pt x="3654" y="4633"/>
                </a:lnTo>
                <a:lnTo>
                  <a:pt x="3683" y="4633"/>
                </a:lnTo>
                <a:lnTo>
                  <a:pt x="3711" y="4630"/>
                </a:lnTo>
                <a:lnTo>
                  <a:pt x="3740" y="4627"/>
                </a:lnTo>
                <a:lnTo>
                  <a:pt x="3740" y="4627"/>
                </a:lnTo>
                <a:lnTo>
                  <a:pt x="3780" y="4618"/>
                </a:lnTo>
                <a:lnTo>
                  <a:pt x="3819" y="4607"/>
                </a:lnTo>
                <a:lnTo>
                  <a:pt x="3855" y="4594"/>
                </a:lnTo>
                <a:lnTo>
                  <a:pt x="3892" y="4579"/>
                </a:lnTo>
                <a:lnTo>
                  <a:pt x="3926" y="4561"/>
                </a:lnTo>
                <a:lnTo>
                  <a:pt x="3957" y="4540"/>
                </a:lnTo>
                <a:lnTo>
                  <a:pt x="3989" y="4517"/>
                </a:lnTo>
                <a:lnTo>
                  <a:pt x="4016" y="4493"/>
                </a:lnTo>
                <a:lnTo>
                  <a:pt x="4030" y="4480"/>
                </a:lnTo>
                <a:lnTo>
                  <a:pt x="4043" y="4466"/>
                </a:lnTo>
                <a:lnTo>
                  <a:pt x="4055" y="4452"/>
                </a:lnTo>
                <a:lnTo>
                  <a:pt x="4067" y="4437"/>
                </a:lnTo>
                <a:lnTo>
                  <a:pt x="4078" y="4423"/>
                </a:lnTo>
                <a:lnTo>
                  <a:pt x="4089" y="4407"/>
                </a:lnTo>
                <a:lnTo>
                  <a:pt x="4100" y="4391"/>
                </a:lnTo>
                <a:lnTo>
                  <a:pt x="4110" y="4374"/>
                </a:lnTo>
                <a:lnTo>
                  <a:pt x="4118" y="4357"/>
                </a:lnTo>
                <a:lnTo>
                  <a:pt x="4127" y="4340"/>
                </a:lnTo>
                <a:lnTo>
                  <a:pt x="4135" y="4322"/>
                </a:lnTo>
                <a:lnTo>
                  <a:pt x="4143" y="4304"/>
                </a:lnTo>
                <a:lnTo>
                  <a:pt x="4149" y="4284"/>
                </a:lnTo>
                <a:lnTo>
                  <a:pt x="4155" y="4266"/>
                </a:lnTo>
                <a:lnTo>
                  <a:pt x="4160" y="4247"/>
                </a:lnTo>
                <a:lnTo>
                  <a:pt x="4164" y="4226"/>
                </a:lnTo>
                <a:lnTo>
                  <a:pt x="4164" y="4226"/>
                </a:lnTo>
                <a:lnTo>
                  <a:pt x="4172" y="4187"/>
                </a:lnTo>
                <a:lnTo>
                  <a:pt x="4175" y="4149"/>
                </a:lnTo>
                <a:lnTo>
                  <a:pt x="4178" y="4110"/>
                </a:lnTo>
                <a:lnTo>
                  <a:pt x="4177" y="4073"/>
                </a:lnTo>
                <a:lnTo>
                  <a:pt x="4173" y="4037"/>
                </a:lnTo>
                <a:lnTo>
                  <a:pt x="4167" y="4002"/>
                </a:lnTo>
                <a:lnTo>
                  <a:pt x="4158" y="3968"/>
                </a:lnTo>
                <a:lnTo>
                  <a:pt x="4147" y="3935"/>
                </a:lnTo>
                <a:lnTo>
                  <a:pt x="4134" y="3902"/>
                </a:lnTo>
                <a:lnTo>
                  <a:pt x="4117" y="3871"/>
                </a:lnTo>
                <a:lnTo>
                  <a:pt x="4099" y="3840"/>
                </a:lnTo>
                <a:lnTo>
                  <a:pt x="4077" y="3811"/>
                </a:lnTo>
                <a:lnTo>
                  <a:pt x="4053" y="3782"/>
                </a:lnTo>
                <a:lnTo>
                  <a:pt x="4027" y="3755"/>
                </a:lnTo>
                <a:lnTo>
                  <a:pt x="3998" y="3729"/>
                </a:lnTo>
                <a:lnTo>
                  <a:pt x="3967" y="3703"/>
                </a:lnTo>
                <a:lnTo>
                  <a:pt x="3967" y="3703"/>
                </a:lnTo>
                <a:lnTo>
                  <a:pt x="3951" y="3691"/>
                </a:lnTo>
                <a:lnTo>
                  <a:pt x="3935" y="3681"/>
                </a:lnTo>
                <a:lnTo>
                  <a:pt x="3920" y="3670"/>
                </a:lnTo>
                <a:lnTo>
                  <a:pt x="3903" y="3661"/>
                </a:lnTo>
                <a:lnTo>
                  <a:pt x="3886" y="3652"/>
                </a:lnTo>
                <a:lnTo>
                  <a:pt x="3869" y="3645"/>
                </a:lnTo>
                <a:lnTo>
                  <a:pt x="3852" y="3638"/>
                </a:lnTo>
                <a:lnTo>
                  <a:pt x="3835" y="3630"/>
                </a:lnTo>
                <a:lnTo>
                  <a:pt x="3816" y="3624"/>
                </a:lnTo>
                <a:lnTo>
                  <a:pt x="3798" y="3620"/>
                </a:lnTo>
                <a:lnTo>
                  <a:pt x="3763" y="3611"/>
                </a:lnTo>
                <a:lnTo>
                  <a:pt x="3727" y="3606"/>
                </a:lnTo>
                <a:lnTo>
                  <a:pt x="3689" y="3604"/>
                </a:lnTo>
                <a:lnTo>
                  <a:pt x="3653" y="3604"/>
                </a:lnTo>
                <a:lnTo>
                  <a:pt x="3615" y="3607"/>
                </a:lnTo>
                <a:lnTo>
                  <a:pt x="3578" y="3613"/>
                </a:lnTo>
                <a:lnTo>
                  <a:pt x="3541" y="3622"/>
                </a:lnTo>
                <a:lnTo>
                  <a:pt x="3504" y="3634"/>
                </a:lnTo>
                <a:lnTo>
                  <a:pt x="3467" y="3649"/>
                </a:lnTo>
                <a:lnTo>
                  <a:pt x="3431" y="3666"/>
                </a:lnTo>
                <a:lnTo>
                  <a:pt x="3396" y="3686"/>
                </a:lnTo>
                <a:lnTo>
                  <a:pt x="3396" y="3686"/>
                </a:lnTo>
                <a:lnTo>
                  <a:pt x="3386" y="3691"/>
                </a:lnTo>
                <a:lnTo>
                  <a:pt x="3378" y="3695"/>
                </a:lnTo>
                <a:lnTo>
                  <a:pt x="3369" y="3697"/>
                </a:lnTo>
                <a:lnTo>
                  <a:pt x="3361" y="3698"/>
                </a:lnTo>
                <a:lnTo>
                  <a:pt x="3352" y="3698"/>
                </a:lnTo>
                <a:lnTo>
                  <a:pt x="3344" y="3696"/>
                </a:lnTo>
                <a:lnTo>
                  <a:pt x="3334" y="3694"/>
                </a:lnTo>
                <a:lnTo>
                  <a:pt x="3324" y="3689"/>
                </a:lnTo>
                <a:lnTo>
                  <a:pt x="3324" y="3689"/>
                </a:lnTo>
                <a:lnTo>
                  <a:pt x="2720" y="3370"/>
                </a:lnTo>
                <a:lnTo>
                  <a:pt x="2116" y="3053"/>
                </a:lnTo>
                <a:lnTo>
                  <a:pt x="2116" y="3053"/>
                </a:lnTo>
                <a:lnTo>
                  <a:pt x="2103" y="3046"/>
                </a:lnTo>
                <a:lnTo>
                  <a:pt x="2094" y="3038"/>
                </a:lnTo>
                <a:lnTo>
                  <a:pt x="2086" y="3031"/>
                </a:lnTo>
                <a:lnTo>
                  <a:pt x="2080" y="3023"/>
                </a:lnTo>
                <a:lnTo>
                  <a:pt x="2077" y="3013"/>
                </a:lnTo>
                <a:lnTo>
                  <a:pt x="2076" y="3003"/>
                </a:lnTo>
                <a:lnTo>
                  <a:pt x="2076" y="2991"/>
                </a:lnTo>
                <a:lnTo>
                  <a:pt x="2077" y="2978"/>
                </a:lnTo>
                <a:lnTo>
                  <a:pt x="2077" y="2978"/>
                </a:lnTo>
                <a:lnTo>
                  <a:pt x="2079" y="2950"/>
                </a:lnTo>
                <a:lnTo>
                  <a:pt x="2080" y="2921"/>
                </a:lnTo>
                <a:lnTo>
                  <a:pt x="2079" y="2893"/>
                </a:lnTo>
                <a:lnTo>
                  <a:pt x="2077" y="2864"/>
                </a:lnTo>
                <a:lnTo>
                  <a:pt x="2077" y="2864"/>
                </a:lnTo>
                <a:lnTo>
                  <a:pt x="2076" y="2853"/>
                </a:lnTo>
                <a:lnTo>
                  <a:pt x="2076" y="2842"/>
                </a:lnTo>
                <a:lnTo>
                  <a:pt x="2077" y="2833"/>
                </a:lnTo>
                <a:lnTo>
                  <a:pt x="2080" y="2825"/>
                </a:lnTo>
                <a:lnTo>
                  <a:pt x="2085" y="2816"/>
                </a:lnTo>
                <a:lnTo>
                  <a:pt x="2091" y="2810"/>
                </a:lnTo>
                <a:lnTo>
                  <a:pt x="2100" y="2803"/>
                </a:lnTo>
                <a:lnTo>
                  <a:pt x="2111" y="2797"/>
                </a:lnTo>
                <a:lnTo>
                  <a:pt x="2111" y="2797"/>
                </a:lnTo>
                <a:lnTo>
                  <a:pt x="2720" y="2479"/>
                </a:lnTo>
                <a:lnTo>
                  <a:pt x="3332" y="2160"/>
                </a:lnTo>
                <a:lnTo>
                  <a:pt x="3332" y="2160"/>
                </a:lnTo>
                <a:lnTo>
                  <a:pt x="3338" y="2157"/>
                </a:lnTo>
                <a:lnTo>
                  <a:pt x="3346" y="2155"/>
                </a:lnTo>
                <a:lnTo>
                  <a:pt x="3355" y="2154"/>
                </a:lnTo>
                <a:lnTo>
                  <a:pt x="3364" y="2154"/>
                </a:lnTo>
                <a:lnTo>
                  <a:pt x="3373" y="2154"/>
                </a:lnTo>
                <a:lnTo>
                  <a:pt x="3381" y="2156"/>
                </a:lnTo>
                <a:lnTo>
                  <a:pt x="3390" y="2159"/>
                </a:lnTo>
                <a:lnTo>
                  <a:pt x="3396" y="2161"/>
                </a:lnTo>
                <a:lnTo>
                  <a:pt x="3396" y="2161"/>
                </a:lnTo>
                <a:lnTo>
                  <a:pt x="3429" y="2179"/>
                </a:lnTo>
                <a:lnTo>
                  <a:pt x="3462" y="2195"/>
                </a:lnTo>
                <a:lnTo>
                  <a:pt x="3495" y="2210"/>
                </a:lnTo>
                <a:lnTo>
                  <a:pt x="3529" y="2220"/>
                </a:lnTo>
                <a:lnTo>
                  <a:pt x="3562" y="2229"/>
                </a:lnTo>
                <a:lnTo>
                  <a:pt x="3596" y="2235"/>
                </a:lnTo>
                <a:lnTo>
                  <a:pt x="3630" y="2239"/>
                </a:lnTo>
                <a:lnTo>
                  <a:pt x="3662" y="2241"/>
                </a:lnTo>
                <a:lnTo>
                  <a:pt x="3695" y="2240"/>
                </a:lnTo>
                <a:lnTo>
                  <a:pt x="3728" y="2237"/>
                </a:lnTo>
                <a:lnTo>
                  <a:pt x="3761" y="2234"/>
                </a:lnTo>
                <a:lnTo>
                  <a:pt x="3792" y="2227"/>
                </a:lnTo>
                <a:lnTo>
                  <a:pt x="3823" y="2218"/>
                </a:lnTo>
                <a:lnTo>
                  <a:pt x="3853" y="2207"/>
                </a:lnTo>
                <a:lnTo>
                  <a:pt x="3882" y="2195"/>
                </a:lnTo>
                <a:lnTo>
                  <a:pt x="3911" y="2180"/>
                </a:lnTo>
                <a:lnTo>
                  <a:pt x="3939" y="2165"/>
                </a:lnTo>
                <a:lnTo>
                  <a:pt x="3966" y="2146"/>
                </a:lnTo>
                <a:lnTo>
                  <a:pt x="3991" y="2127"/>
                </a:lnTo>
                <a:lnTo>
                  <a:pt x="4015" y="2105"/>
                </a:lnTo>
                <a:lnTo>
                  <a:pt x="4038" y="2083"/>
                </a:lnTo>
                <a:lnTo>
                  <a:pt x="4059" y="2058"/>
                </a:lnTo>
                <a:lnTo>
                  <a:pt x="4080" y="2032"/>
                </a:lnTo>
                <a:lnTo>
                  <a:pt x="4098" y="2005"/>
                </a:lnTo>
                <a:lnTo>
                  <a:pt x="4115" y="1975"/>
                </a:lnTo>
                <a:lnTo>
                  <a:pt x="4129" y="1946"/>
                </a:lnTo>
                <a:lnTo>
                  <a:pt x="4143" y="1914"/>
                </a:lnTo>
                <a:lnTo>
                  <a:pt x="4153" y="1881"/>
                </a:lnTo>
                <a:lnTo>
                  <a:pt x="4163" y="1847"/>
                </a:lnTo>
                <a:lnTo>
                  <a:pt x="4169" y="1812"/>
                </a:lnTo>
                <a:lnTo>
                  <a:pt x="4175" y="1775"/>
                </a:lnTo>
                <a:lnTo>
                  <a:pt x="4178" y="1738"/>
                </a:lnTo>
                <a:lnTo>
                  <a:pt x="4178" y="1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70" name="TextBox 27"/>
          <p:cNvSpPr txBox="1">
            <a:spLocks noChangeArrowheads="1"/>
          </p:cNvSpPr>
          <p:nvPr userDrawn="1"/>
        </p:nvSpPr>
        <p:spPr bwMode="auto">
          <a:xfrm>
            <a:off x="9516470" y="3621235"/>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cial media</a:t>
            </a:r>
          </a:p>
        </p:txBody>
      </p:sp>
      <p:sp>
        <p:nvSpPr>
          <p:cNvPr id="29" name="Freeform 102"/>
          <p:cNvSpPr>
            <a:spLocks noEditPoints="1"/>
          </p:cNvSpPr>
          <p:nvPr userDrawn="1"/>
        </p:nvSpPr>
        <p:spPr bwMode="auto">
          <a:xfrm>
            <a:off x="10785527"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242 w 726"/>
              <a:gd name="T47" fmla="*/ 328 h 726"/>
              <a:gd name="T48" fmla="*/ 232 w 726"/>
              <a:gd name="T49" fmla="*/ 300 h 726"/>
              <a:gd name="T50" fmla="*/ 230 w 726"/>
              <a:gd name="T51" fmla="*/ 270 h 726"/>
              <a:gd name="T52" fmla="*/ 236 w 726"/>
              <a:gd name="T53" fmla="*/ 228 h 726"/>
              <a:gd name="T54" fmla="*/ 252 w 726"/>
              <a:gd name="T55" fmla="*/ 192 h 726"/>
              <a:gd name="T56" fmla="*/ 280 w 726"/>
              <a:gd name="T57" fmla="*/ 164 h 726"/>
              <a:gd name="T58" fmla="*/ 312 w 726"/>
              <a:gd name="T59" fmla="*/ 144 h 726"/>
              <a:gd name="T60" fmla="*/ 352 w 726"/>
              <a:gd name="T61" fmla="*/ 134 h 726"/>
              <a:gd name="T62" fmla="*/ 380 w 726"/>
              <a:gd name="T63" fmla="*/ 134 h 726"/>
              <a:gd name="T64" fmla="*/ 418 w 726"/>
              <a:gd name="T65" fmla="*/ 144 h 726"/>
              <a:gd name="T66" fmla="*/ 452 w 726"/>
              <a:gd name="T67" fmla="*/ 164 h 726"/>
              <a:gd name="T68" fmla="*/ 478 w 726"/>
              <a:gd name="T69" fmla="*/ 192 h 726"/>
              <a:gd name="T70" fmla="*/ 496 w 726"/>
              <a:gd name="T71" fmla="*/ 228 h 726"/>
              <a:gd name="T72" fmla="*/ 502 w 726"/>
              <a:gd name="T73" fmla="*/ 270 h 726"/>
              <a:gd name="T74" fmla="*/ 498 w 726"/>
              <a:gd name="T75" fmla="*/ 300 h 726"/>
              <a:gd name="T76" fmla="*/ 366 w 726"/>
              <a:gd name="T77" fmla="*/ 200 h 726"/>
              <a:gd name="T78" fmla="*/ 338 w 726"/>
              <a:gd name="T79" fmla="*/ 206 h 726"/>
              <a:gd name="T80" fmla="*/ 308 w 726"/>
              <a:gd name="T81" fmla="*/ 230 h 726"/>
              <a:gd name="T82" fmla="*/ 296 w 726"/>
              <a:gd name="T83" fmla="*/ 270 h 726"/>
              <a:gd name="T84" fmla="*/ 302 w 726"/>
              <a:gd name="T85" fmla="*/ 296 h 726"/>
              <a:gd name="T86" fmla="*/ 328 w 726"/>
              <a:gd name="T87" fmla="*/ 326 h 726"/>
              <a:gd name="T88" fmla="*/ 366 w 726"/>
              <a:gd name="T89" fmla="*/ 338 h 726"/>
              <a:gd name="T90" fmla="*/ 392 w 726"/>
              <a:gd name="T91" fmla="*/ 332 h 726"/>
              <a:gd name="T92" fmla="*/ 422 w 726"/>
              <a:gd name="T93" fmla="*/ 308 h 726"/>
              <a:gd name="T94" fmla="*/ 434 w 726"/>
              <a:gd name="T95" fmla="*/ 270 h 726"/>
              <a:gd name="T96" fmla="*/ 430 w 726"/>
              <a:gd name="T97" fmla="*/ 242 h 726"/>
              <a:gd name="T98" fmla="*/ 404 w 726"/>
              <a:gd name="T99" fmla="*/ 212 h 726"/>
              <a:gd name="T100" fmla="*/ 366 w 726"/>
              <a:gd name="T101" fmla="*/ 200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90" y="328"/>
                </a:moveTo>
                <a:lnTo>
                  <a:pt x="366" y="576"/>
                </a:lnTo>
                <a:lnTo>
                  <a:pt x="242" y="328"/>
                </a:lnTo>
                <a:lnTo>
                  <a:pt x="236" y="314"/>
                </a:lnTo>
                <a:lnTo>
                  <a:pt x="232" y="300"/>
                </a:lnTo>
                <a:lnTo>
                  <a:pt x="230" y="284"/>
                </a:lnTo>
                <a:lnTo>
                  <a:pt x="230" y="270"/>
                </a:lnTo>
                <a:lnTo>
                  <a:pt x="230" y="256"/>
                </a:lnTo>
                <a:lnTo>
                  <a:pt x="232" y="242"/>
                </a:lnTo>
                <a:lnTo>
                  <a:pt x="236" y="228"/>
                </a:lnTo>
                <a:lnTo>
                  <a:pt x="240" y="216"/>
                </a:lnTo>
                <a:lnTo>
                  <a:pt x="246" y="204"/>
                </a:lnTo>
                <a:lnTo>
                  <a:pt x="252" y="192"/>
                </a:lnTo>
                <a:lnTo>
                  <a:pt x="260" y="182"/>
                </a:lnTo>
                <a:lnTo>
                  <a:pt x="270" y="172"/>
                </a:lnTo>
                <a:lnTo>
                  <a:pt x="280" y="164"/>
                </a:lnTo>
                <a:lnTo>
                  <a:pt x="290" y="156"/>
                </a:lnTo>
                <a:lnTo>
                  <a:pt x="300" y="150"/>
                </a:lnTo>
                <a:lnTo>
                  <a:pt x="312" y="144"/>
                </a:lnTo>
                <a:lnTo>
                  <a:pt x="326" y="140"/>
                </a:lnTo>
                <a:lnTo>
                  <a:pt x="338" y="136"/>
                </a:lnTo>
                <a:lnTo>
                  <a:pt x="352" y="134"/>
                </a:lnTo>
                <a:lnTo>
                  <a:pt x="366" y="132"/>
                </a:lnTo>
                <a:lnTo>
                  <a:pt x="380" y="134"/>
                </a:lnTo>
                <a:lnTo>
                  <a:pt x="394" y="136"/>
                </a:lnTo>
                <a:lnTo>
                  <a:pt x="406" y="140"/>
                </a:lnTo>
                <a:lnTo>
                  <a:pt x="418" y="144"/>
                </a:lnTo>
                <a:lnTo>
                  <a:pt x="430" y="150"/>
                </a:lnTo>
                <a:lnTo>
                  <a:pt x="442" y="156"/>
                </a:lnTo>
                <a:lnTo>
                  <a:pt x="452" y="164"/>
                </a:lnTo>
                <a:lnTo>
                  <a:pt x="462" y="172"/>
                </a:lnTo>
                <a:lnTo>
                  <a:pt x="470" y="182"/>
                </a:lnTo>
                <a:lnTo>
                  <a:pt x="478" y="192"/>
                </a:lnTo>
                <a:lnTo>
                  <a:pt x="486" y="204"/>
                </a:lnTo>
                <a:lnTo>
                  <a:pt x="492" y="216"/>
                </a:lnTo>
                <a:lnTo>
                  <a:pt x="496" y="228"/>
                </a:lnTo>
                <a:lnTo>
                  <a:pt x="500" y="242"/>
                </a:lnTo>
                <a:lnTo>
                  <a:pt x="502" y="256"/>
                </a:lnTo>
                <a:lnTo>
                  <a:pt x="502" y="270"/>
                </a:lnTo>
                <a:lnTo>
                  <a:pt x="502" y="284"/>
                </a:lnTo>
                <a:lnTo>
                  <a:pt x="498" y="300"/>
                </a:lnTo>
                <a:lnTo>
                  <a:pt x="494" y="314"/>
                </a:lnTo>
                <a:lnTo>
                  <a:pt x="490" y="328"/>
                </a:lnTo>
                <a:close/>
                <a:moveTo>
                  <a:pt x="366" y="200"/>
                </a:moveTo>
                <a:lnTo>
                  <a:pt x="366" y="200"/>
                </a:lnTo>
                <a:lnTo>
                  <a:pt x="352" y="202"/>
                </a:lnTo>
                <a:lnTo>
                  <a:pt x="338" y="206"/>
                </a:lnTo>
                <a:lnTo>
                  <a:pt x="328" y="212"/>
                </a:lnTo>
                <a:lnTo>
                  <a:pt x="318" y="220"/>
                </a:lnTo>
                <a:lnTo>
                  <a:pt x="308" y="230"/>
                </a:lnTo>
                <a:lnTo>
                  <a:pt x="302" y="242"/>
                </a:lnTo>
                <a:lnTo>
                  <a:pt x="298" y="256"/>
                </a:lnTo>
                <a:lnTo>
                  <a:pt x="296" y="270"/>
                </a:lnTo>
                <a:lnTo>
                  <a:pt x="298" y="284"/>
                </a:lnTo>
                <a:lnTo>
                  <a:pt x="302" y="296"/>
                </a:lnTo>
                <a:lnTo>
                  <a:pt x="308" y="308"/>
                </a:lnTo>
                <a:lnTo>
                  <a:pt x="318" y="318"/>
                </a:lnTo>
                <a:lnTo>
                  <a:pt x="328" y="326"/>
                </a:lnTo>
                <a:lnTo>
                  <a:pt x="338" y="332"/>
                </a:lnTo>
                <a:lnTo>
                  <a:pt x="352" y="336"/>
                </a:lnTo>
                <a:lnTo>
                  <a:pt x="366" y="338"/>
                </a:lnTo>
                <a:lnTo>
                  <a:pt x="380" y="336"/>
                </a:lnTo>
                <a:lnTo>
                  <a:pt x="392" y="332"/>
                </a:lnTo>
                <a:lnTo>
                  <a:pt x="404" y="326"/>
                </a:lnTo>
                <a:lnTo>
                  <a:pt x="414" y="318"/>
                </a:lnTo>
                <a:lnTo>
                  <a:pt x="422" y="308"/>
                </a:lnTo>
                <a:lnTo>
                  <a:pt x="430" y="296"/>
                </a:lnTo>
                <a:lnTo>
                  <a:pt x="434" y="284"/>
                </a:lnTo>
                <a:lnTo>
                  <a:pt x="434" y="270"/>
                </a:lnTo>
                <a:lnTo>
                  <a:pt x="434" y="256"/>
                </a:lnTo>
                <a:lnTo>
                  <a:pt x="430" y="242"/>
                </a:lnTo>
                <a:lnTo>
                  <a:pt x="422" y="230"/>
                </a:lnTo>
                <a:lnTo>
                  <a:pt x="414" y="220"/>
                </a:lnTo>
                <a:lnTo>
                  <a:pt x="404" y="212"/>
                </a:lnTo>
                <a:lnTo>
                  <a:pt x="392" y="206"/>
                </a:lnTo>
                <a:lnTo>
                  <a:pt x="380" y="202"/>
                </a:lnTo>
                <a:lnTo>
                  <a:pt x="366" y="20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1" name="TextBox 27"/>
          <p:cNvSpPr txBox="1">
            <a:spLocks noChangeArrowheads="1"/>
          </p:cNvSpPr>
          <p:nvPr userDrawn="1"/>
        </p:nvSpPr>
        <p:spPr bwMode="auto">
          <a:xfrm>
            <a:off x="10832971" y="3621234"/>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Location</a:t>
            </a:r>
          </a:p>
        </p:txBody>
      </p:sp>
      <p:sp>
        <p:nvSpPr>
          <p:cNvPr id="34" name="Freeform 415"/>
          <p:cNvSpPr>
            <a:spLocks noEditPoints="1"/>
          </p:cNvSpPr>
          <p:nvPr userDrawn="1"/>
        </p:nvSpPr>
        <p:spPr bwMode="auto">
          <a:xfrm>
            <a:off x="12099556" y="2521766"/>
            <a:ext cx="1080000" cy="1080000"/>
          </a:xfrm>
          <a:custGeom>
            <a:avLst/>
            <a:gdLst>
              <a:gd name="T0" fmla="*/ 402 w 726"/>
              <a:gd name="T1" fmla="*/ 314 h 726"/>
              <a:gd name="T2" fmla="*/ 498 w 726"/>
              <a:gd name="T3" fmla="*/ 328 h 726"/>
              <a:gd name="T4" fmla="*/ 486 w 726"/>
              <a:gd name="T5" fmla="*/ 424 h 726"/>
              <a:gd name="T6" fmla="*/ 504 w 726"/>
              <a:gd name="T7" fmla="*/ 426 h 726"/>
              <a:gd name="T8" fmla="*/ 520 w 726"/>
              <a:gd name="T9" fmla="*/ 396 h 726"/>
              <a:gd name="T10" fmla="*/ 516 w 726"/>
              <a:gd name="T11" fmla="*/ 334 h 726"/>
              <a:gd name="T12" fmla="*/ 502 w 726"/>
              <a:gd name="T13" fmla="*/ 404 h 726"/>
              <a:gd name="T14" fmla="*/ 486 w 726"/>
              <a:gd name="T15" fmla="*/ 406 h 726"/>
              <a:gd name="T16" fmla="*/ 498 w 726"/>
              <a:gd name="T17" fmla="*/ 344 h 726"/>
              <a:gd name="T18" fmla="*/ 436 w 726"/>
              <a:gd name="T19" fmla="*/ 402 h 726"/>
              <a:gd name="T20" fmla="*/ 422 w 726"/>
              <a:gd name="T21" fmla="*/ 406 h 726"/>
              <a:gd name="T22" fmla="*/ 406 w 726"/>
              <a:gd name="T23" fmla="*/ 418 h 726"/>
              <a:gd name="T24" fmla="*/ 426 w 726"/>
              <a:gd name="T25" fmla="*/ 422 h 726"/>
              <a:gd name="T26" fmla="*/ 436 w 726"/>
              <a:gd name="T27" fmla="*/ 402 h 726"/>
              <a:gd name="T28" fmla="*/ 206 w 726"/>
              <a:gd name="T29" fmla="*/ 356 h 726"/>
              <a:gd name="T30" fmla="*/ 214 w 726"/>
              <a:gd name="T31" fmla="*/ 410 h 726"/>
              <a:gd name="T32" fmla="*/ 222 w 726"/>
              <a:gd name="T33" fmla="*/ 356 h 726"/>
              <a:gd name="T34" fmla="*/ 364 w 726"/>
              <a:gd name="T35" fmla="*/ 0 h 726"/>
              <a:gd name="T36" fmla="*/ 190 w 726"/>
              <a:gd name="T37" fmla="*/ 44 h 726"/>
              <a:gd name="T38" fmla="*/ 44 w 726"/>
              <a:gd name="T39" fmla="*/ 190 h 726"/>
              <a:gd name="T40" fmla="*/ 0 w 726"/>
              <a:gd name="T41" fmla="*/ 362 h 726"/>
              <a:gd name="T42" fmla="*/ 62 w 726"/>
              <a:gd name="T43" fmla="*/ 566 h 726"/>
              <a:gd name="T44" fmla="*/ 222 w 726"/>
              <a:gd name="T45" fmla="*/ 698 h 726"/>
              <a:gd name="T46" fmla="*/ 400 w 726"/>
              <a:gd name="T47" fmla="*/ 724 h 726"/>
              <a:gd name="T48" fmla="*/ 594 w 726"/>
              <a:gd name="T49" fmla="*/ 642 h 726"/>
              <a:gd name="T50" fmla="*/ 710 w 726"/>
              <a:gd name="T51" fmla="*/ 470 h 726"/>
              <a:gd name="T52" fmla="*/ 718 w 726"/>
              <a:gd name="T53" fmla="*/ 290 h 726"/>
              <a:gd name="T54" fmla="*/ 620 w 726"/>
              <a:gd name="T55" fmla="*/ 106 h 726"/>
              <a:gd name="T56" fmla="*/ 436 w 726"/>
              <a:gd name="T57" fmla="*/ 8 h 726"/>
              <a:gd name="T58" fmla="*/ 146 w 726"/>
              <a:gd name="T59" fmla="*/ 372 h 726"/>
              <a:gd name="T60" fmla="*/ 142 w 726"/>
              <a:gd name="T61" fmla="*/ 296 h 726"/>
              <a:gd name="T62" fmla="*/ 240 w 726"/>
              <a:gd name="T63" fmla="*/ 394 h 726"/>
              <a:gd name="T64" fmla="*/ 220 w 726"/>
              <a:gd name="T65" fmla="*/ 426 h 726"/>
              <a:gd name="T66" fmla="*/ 194 w 726"/>
              <a:gd name="T67" fmla="*/ 416 h 726"/>
              <a:gd name="T68" fmla="*/ 190 w 726"/>
              <a:gd name="T69" fmla="*/ 346 h 726"/>
              <a:gd name="T70" fmla="*/ 214 w 726"/>
              <a:gd name="T71" fmla="*/ 328 h 726"/>
              <a:gd name="T72" fmla="*/ 234 w 726"/>
              <a:gd name="T73" fmla="*/ 338 h 726"/>
              <a:gd name="T74" fmla="*/ 288 w 726"/>
              <a:gd name="T75" fmla="*/ 414 h 726"/>
              <a:gd name="T76" fmla="*/ 260 w 726"/>
              <a:gd name="T77" fmla="*/ 424 h 726"/>
              <a:gd name="T78" fmla="*/ 272 w 726"/>
              <a:gd name="T79" fmla="*/ 400 h 726"/>
              <a:gd name="T80" fmla="*/ 276 w 726"/>
              <a:gd name="T81" fmla="*/ 410 h 726"/>
              <a:gd name="T82" fmla="*/ 600 w 726"/>
              <a:gd name="T83" fmla="*/ 430 h 726"/>
              <a:gd name="T84" fmla="*/ 570 w 726"/>
              <a:gd name="T85" fmla="*/ 458 h 726"/>
              <a:gd name="T86" fmla="*/ 382 w 726"/>
              <a:gd name="T87" fmla="*/ 460 h 726"/>
              <a:gd name="T88" fmla="*/ 326 w 726"/>
              <a:gd name="T89" fmla="*/ 430 h 726"/>
              <a:gd name="T90" fmla="*/ 320 w 726"/>
              <a:gd name="T91" fmla="*/ 328 h 726"/>
              <a:gd name="T92" fmla="*/ 346 w 726"/>
              <a:gd name="T93" fmla="*/ 270 h 726"/>
              <a:gd name="T94" fmla="*/ 462 w 726"/>
              <a:gd name="T95" fmla="*/ 264 h 726"/>
              <a:gd name="T96" fmla="*/ 590 w 726"/>
              <a:gd name="T97" fmla="*/ 276 h 726"/>
              <a:gd name="T98" fmla="*/ 606 w 726"/>
              <a:gd name="T99" fmla="*/ 362 h 726"/>
              <a:gd name="T100" fmla="*/ 558 w 726"/>
              <a:gd name="T101" fmla="*/ 328 h 726"/>
              <a:gd name="T102" fmla="*/ 534 w 726"/>
              <a:gd name="T103" fmla="*/ 348 h 726"/>
              <a:gd name="T104" fmla="*/ 538 w 726"/>
              <a:gd name="T105" fmla="*/ 416 h 726"/>
              <a:gd name="T106" fmla="*/ 566 w 726"/>
              <a:gd name="T107" fmla="*/ 426 h 726"/>
              <a:gd name="T108" fmla="*/ 584 w 726"/>
              <a:gd name="T109" fmla="*/ 406 h 726"/>
              <a:gd name="T110" fmla="*/ 566 w 726"/>
              <a:gd name="T111" fmla="*/ 404 h 726"/>
              <a:gd name="T112" fmla="*/ 552 w 726"/>
              <a:gd name="T113" fmla="*/ 406 h 726"/>
              <a:gd name="T114" fmla="*/ 584 w 726"/>
              <a:gd name="T115" fmla="*/ 360 h 726"/>
              <a:gd name="T116" fmla="*/ 564 w 726"/>
              <a:gd name="T117" fmla="*/ 328 h 726"/>
              <a:gd name="T118" fmla="*/ 550 w 726"/>
              <a:gd name="T119" fmla="*/ 352 h 726"/>
              <a:gd name="T120" fmla="*/ 564 w 726"/>
              <a:gd name="T121" fmla="*/ 34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42" y="314"/>
                </a:moveTo>
                <a:lnTo>
                  <a:pt x="362" y="314"/>
                </a:lnTo>
                <a:lnTo>
                  <a:pt x="362" y="424"/>
                </a:lnTo>
                <a:lnTo>
                  <a:pt x="380" y="424"/>
                </a:lnTo>
                <a:lnTo>
                  <a:pt x="380" y="314"/>
                </a:lnTo>
                <a:lnTo>
                  <a:pt x="402" y="314"/>
                </a:lnTo>
                <a:lnTo>
                  <a:pt x="402" y="296"/>
                </a:lnTo>
                <a:lnTo>
                  <a:pt x="342" y="296"/>
                </a:lnTo>
                <a:lnTo>
                  <a:pt x="342" y="314"/>
                </a:lnTo>
                <a:close/>
                <a:moveTo>
                  <a:pt x="504" y="328"/>
                </a:moveTo>
                <a:lnTo>
                  <a:pt x="504" y="328"/>
                </a:lnTo>
                <a:lnTo>
                  <a:pt x="498" y="328"/>
                </a:lnTo>
                <a:lnTo>
                  <a:pt x="494" y="330"/>
                </a:lnTo>
                <a:lnTo>
                  <a:pt x="486" y="338"/>
                </a:lnTo>
                <a:lnTo>
                  <a:pt x="486" y="296"/>
                </a:lnTo>
                <a:lnTo>
                  <a:pt x="468" y="296"/>
                </a:lnTo>
                <a:lnTo>
                  <a:pt x="468" y="424"/>
                </a:lnTo>
                <a:lnTo>
                  <a:pt x="486" y="424"/>
                </a:lnTo>
                <a:lnTo>
                  <a:pt x="486" y="416"/>
                </a:lnTo>
                <a:lnTo>
                  <a:pt x="494" y="424"/>
                </a:lnTo>
                <a:lnTo>
                  <a:pt x="500" y="426"/>
                </a:lnTo>
                <a:lnTo>
                  <a:pt x="504" y="426"/>
                </a:lnTo>
                <a:lnTo>
                  <a:pt x="508" y="426"/>
                </a:lnTo>
                <a:lnTo>
                  <a:pt x="512" y="424"/>
                </a:lnTo>
                <a:lnTo>
                  <a:pt x="516" y="420"/>
                </a:lnTo>
                <a:lnTo>
                  <a:pt x="518" y="416"/>
                </a:lnTo>
                <a:lnTo>
                  <a:pt x="520" y="396"/>
                </a:lnTo>
                <a:lnTo>
                  <a:pt x="520" y="358"/>
                </a:lnTo>
                <a:lnTo>
                  <a:pt x="518" y="346"/>
                </a:lnTo>
                <a:lnTo>
                  <a:pt x="518" y="338"/>
                </a:lnTo>
                <a:lnTo>
                  <a:pt x="516" y="334"/>
                </a:lnTo>
                <a:lnTo>
                  <a:pt x="512" y="330"/>
                </a:lnTo>
                <a:lnTo>
                  <a:pt x="508" y="328"/>
                </a:lnTo>
                <a:lnTo>
                  <a:pt x="504" y="328"/>
                </a:lnTo>
                <a:close/>
                <a:moveTo>
                  <a:pt x="502" y="398"/>
                </a:moveTo>
                <a:lnTo>
                  <a:pt x="502" y="398"/>
                </a:lnTo>
                <a:lnTo>
                  <a:pt x="502" y="404"/>
                </a:lnTo>
                <a:lnTo>
                  <a:pt x="500" y="408"/>
                </a:lnTo>
                <a:lnTo>
                  <a:pt x="498" y="410"/>
                </a:lnTo>
                <a:lnTo>
                  <a:pt x="494" y="410"/>
                </a:lnTo>
                <a:lnTo>
                  <a:pt x="490" y="410"/>
                </a:lnTo>
                <a:lnTo>
                  <a:pt x="486" y="406"/>
                </a:lnTo>
                <a:lnTo>
                  <a:pt x="486" y="348"/>
                </a:lnTo>
                <a:lnTo>
                  <a:pt x="490" y="344"/>
                </a:lnTo>
                <a:lnTo>
                  <a:pt x="494" y="344"/>
                </a:lnTo>
                <a:lnTo>
                  <a:pt x="498" y="344"/>
                </a:lnTo>
                <a:lnTo>
                  <a:pt x="500" y="348"/>
                </a:lnTo>
                <a:lnTo>
                  <a:pt x="502" y="352"/>
                </a:lnTo>
                <a:lnTo>
                  <a:pt x="502" y="356"/>
                </a:lnTo>
                <a:lnTo>
                  <a:pt x="502" y="398"/>
                </a:lnTo>
                <a:close/>
                <a:moveTo>
                  <a:pt x="436" y="402"/>
                </a:moveTo>
                <a:lnTo>
                  <a:pt x="436" y="402"/>
                </a:lnTo>
                <a:lnTo>
                  <a:pt x="430" y="408"/>
                </a:lnTo>
                <a:lnTo>
                  <a:pt x="426" y="410"/>
                </a:lnTo>
                <a:lnTo>
                  <a:pt x="422" y="410"/>
                </a:lnTo>
                <a:lnTo>
                  <a:pt x="422" y="406"/>
                </a:lnTo>
                <a:lnTo>
                  <a:pt x="422" y="400"/>
                </a:lnTo>
                <a:lnTo>
                  <a:pt x="422" y="330"/>
                </a:lnTo>
                <a:lnTo>
                  <a:pt x="404" y="330"/>
                </a:lnTo>
                <a:lnTo>
                  <a:pt x="404" y="404"/>
                </a:lnTo>
                <a:lnTo>
                  <a:pt x="406" y="418"/>
                </a:lnTo>
                <a:lnTo>
                  <a:pt x="410" y="424"/>
                </a:lnTo>
                <a:lnTo>
                  <a:pt x="416" y="426"/>
                </a:lnTo>
                <a:lnTo>
                  <a:pt x="422" y="426"/>
                </a:lnTo>
                <a:lnTo>
                  <a:pt x="426" y="422"/>
                </a:lnTo>
                <a:lnTo>
                  <a:pt x="436" y="414"/>
                </a:lnTo>
                <a:lnTo>
                  <a:pt x="436" y="424"/>
                </a:lnTo>
                <a:lnTo>
                  <a:pt x="454" y="424"/>
                </a:lnTo>
                <a:lnTo>
                  <a:pt x="454" y="330"/>
                </a:lnTo>
                <a:lnTo>
                  <a:pt x="436" y="330"/>
                </a:lnTo>
                <a:lnTo>
                  <a:pt x="436" y="402"/>
                </a:lnTo>
                <a:close/>
                <a:moveTo>
                  <a:pt x="214" y="342"/>
                </a:moveTo>
                <a:lnTo>
                  <a:pt x="214" y="342"/>
                </a:lnTo>
                <a:lnTo>
                  <a:pt x="210" y="344"/>
                </a:lnTo>
                <a:lnTo>
                  <a:pt x="208" y="346"/>
                </a:lnTo>
                <a:lnTo>
                  <a:pt x="206" y="350"/>
                </a:lnTo>
                <a:lnTo>
                  <a:pt x="206" y="356"/>
                </a:lnTo>
                <a:lnTo>
                  <a:pt x="206" y="396"/>
                </a:lnTo>
                <a:lnTo>
                  <a:pt x="206" y="402"/>
                </a:lnTo>
                <a:lnTo>
                  <a:pt x="208" y="406"/>
                </a:lnTo>
                <a:lnTo>
                  <a:pt x="210" y="410"/>
                </a:lnTo>
                <a:lnTo>
                  <a:pt x="214" y="410"/>
                </a:lnTo>
                <a:lnTo>
                  <a:pt x="218" y="410"/>
                </a:lnTo>
                <a:lnTo>
                  <a:pt x="220" y="406"/>
                </a:lnTo>
                <a:lnTo>
                  <a:pt x="222" y="402"/>
                </a:lnTo>
                <a:lnTo>
                  <a:pt x="222" y="396"/>
                </a:lnTo>
                <a:lnTo>
                  <a:pt x="222" y="356"/>
                </a:lnTo>
                <a:lnTo>
                  <a:pt x="222" y="350"/>
                </a:lnTo>
                <a:lnTo>
                  <a:pt x="220" y="346"/>
                </a:lnTo>
                <a:lnTo>
                  <a:pt x="218" y="344"/>
                </a:lnTo>
                <a:lnTo>
                  <a:pt x="214" y="34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6" y="372"/>
                </a:moveTo>
                <a:lnTo>
                  <a:pt x="166" y="424"/>
                </a:lnTo>
                <a:lnTo>
                  <a:pt x="146" y="424"/>
                </a:lnTo>
                <a:lnTo>
                  <a:pt x="146" y="372"/>
                </a:lnTo>
                <a:lnTo>
                  <a:pt x="142" y="356"/>
                </a:lnTo>
                <a:lnTo>
                  <a:pt x="134" y="332"/>
                </a:lnTo>
                <a:lnTo>
                  <a:pt x="122" y="296"/>
                </a:lnTo>
                <a:lnTo>
                  <a:pt x="142" y="296"/>
                </a:lnTo>
                <a:lnTo>
                  <a:pt x="156" y="346"/>
                </a:lnTo>
                <a:lnTo>
                  <a:pt x="170" y="296"/>
                </a:lnTo>
                <a:lnTo>
                  <a:pt x="188" y="296"/>
                </a:lnTo>
                <a:lnTo>
                  <a:pt x="166" y="372"/>
                </a:lnTo>
                <a:close/>
                <a:moveTo>
                  <a:pt x="240" y="394"/>
                </a:moveTo>
                <a:lnTo>
                  <a:pt x="240" y="394"/>
                </a:lnTo>
                <a:lnTo>
                  <a:pt x="238" y="406"/>
                </a:lnTo>
                <a:lnTo>
                  <a:pt x="234" y="416"/>
                </a:lnTo>
                <a:lnTo>
                  <a:pt x="230" y="420"/>
                </a:lnTo>
                <a:lnTo>
                  <a:pt x="226" y="424"/>
                </a:lnTo>
                <a:lnTo>
                  <a:pt x="220" y="426"/>
                </a:lnTo>
                <a:lnTo>
                  <a:pt x="214" y="426"/>
                </a:lnTo>
                <a:lnTo>
                  <a:pt x="208" y="426"/>
                </a:lnTo>
                <a:lnTo>
                  <a:pt x="202" y="424"/>
                </a:lnTo>
                <a:lnTo>
                  <a:pt x="198" y="420"/>
                </a:lnTo>
                <a:lnTo>
                  <a:pt x="194" y="416"/>
                </a:lnTo>
                <a:lnTo>
                  <a:pt x="190" y="406"/>
                </a:lnTo>
                <a:lnTo>
                  <a:pt x="188" y="394"/>
                </a:lnTo>
                <a:lnTo>
                  <a:pt x="188" y="360"/>
                </a:lnTo>
                <a:lnTo>
                  <a:pt x="190" y="346"/>
                </a:lnTo>
                <a:lnTo>
                  <a:pt x="194" y="338"/>
                </a:lnTo>
                <a:lnTo>
                  <a:pt x="198" y="332"/>
                </a:lnTo>
                <a:lnTo>
                  <a:pt x="202" y="330"/>
                </a:lnTo>
                <a:lnTo>
                  <a:pt x="208" y="328"/>
                </a:lnTo>
                <a:lnTo>
                  <a:pt x="214" y="328"/>
                </a:lnTo>
                <a:lnTo>
                  <a:pt x="220" y="328"/>
                </a:lnTo>
                <a:lnTo>
                  <a:pt x="226" y="330"/>
                </a:lnTo>
                <a:lnTo>
                  <a:pt x="230" y="332"/>
                </a:lnTo>
                <a:lnTo>
                  <a:pt x="234" y="338"/>
                </a:lnTo>
                <a:lnTo>
                  <a:pt x="238" y="346"/>
                </a:lnTo>
                <a:lnTo>
                  <a:pt x="240" y="360"/>
                </a:lnTo>
                <a:lnTo>
                  <a:pt x="240" y="394"/>
                </a:lnTo>
                <a:close/>
                <a:moveTo>
                  <a:pt x="304" y="424"/>
                </a:moveTo>
                <a:lnTo>
                  <a:pt x="288" y="424"/>
                </a:lnTo>
                <a:lnTo>
                  <a:pt x="288" y="414"/>
                </a:lnTo>
                <a:lnTo>
                  <a:pt x="278" y="422"/>
                </a:lnTo>
                <a:lnTo>
                  <a:pt x="272" y="426"/>
                </a:lnTo>
                <a:lnTo>
                  <a:pt x="268" y="426"/>
                </a:lnTo>
                <a:lnTo>
                  <a:pt x="260" y="424"/>
                </a:lnTo>
                <a:lnTo>
                  <a:pt x="256" y="418"/>
                </a:lnTo>
                <a:lnTo>
                  <a:pt x="254" y="404"/>
                </a:lnTo>
                <a:lnTo>
                  <a:pt x="254" y="328"/>
                </a:lnTo>
                <a:lnTo>
                  <a:pt x="272" y="328"/>
                </a:lnTo>
                <a:lnTo>
                  <a:pt x="272" y="400"/>
                </a:lnTo>
                <a:lnTo>
                  <a:pt x="272" y="406"/>
                </a:lnTo>
                <a:lnTo>
                  <a:pt x="274" y="410"/>
                </a:lnTo>
                <a:lnTo>
                  <a:pt x="276" y="410"/>
                </a:lnTo>
                <a:lnTo>
                  <a:pt x="282" y="408"/>
                </a:lnTo>
                <a:lnTo>
                  <a:pt x="288" y="402"/>
                </a:lnTo>
                <a:lnTo>
                  <a:pt x="288" y="328"/>
                </a:lnTo>
                <a:lnTo>
                  <a:pt x="304" y="328"/>
                </a:lnTo>
                <a:lnTo>
                  <a:pt x="304" y="424"/>
                </a:lnTo>
                <a:close/>
                <a:moveTo>
                  <a:pt x="600" y="430"/>
                </a:moveTo>
                <a:lnTo>
                  <a:pt x="600" y="430"/>
                </a:lnTo>
                <a:lnTo>
                  <a:pt x="596" y="440"/>
                </a:lnTo>
                <a:lnTo>
                  <a:pt x="590" y="450"/>
                </a:lnTo>
                <a:lnTo>
                  <a:pt x="580" y="456"/>
                </a:lnTo>
                <a:lnTo>
                  <a:pt x="570" y="458"/>
                </a:lnTo>
                <a:lnTo>
                  <a:pt x="542" y="460"/>
                </a:lnTo>
                <a:lnTo>
                  <a:pt x="516" y="462"/>
                </a:lnTo>
                <a:lnTo>
                  <a:pt x="462" y="462"/>
                </a:lnTo>
                <a:lnTo>
                  <a:pt x="410" y="462"/>
                </a:lnTo>
                <a:lnTo>
                  <a:pt x="382" y="460"/>
                </a:lnTo>
                <a:lnTo>
                  <a:pt x="356" y="458"/>
                </a:lnTo>
                <a:lnTo>
                  <a:pt x="346" y="456"/>
                </a:lnTo>
                <a:lnTo>
                  <a:pt x="336" y="450"/>
                </a:lnTo>
                <a:lnTo>
                  <a:pt x="330" y="440"/>
                </a:lnTo>
                <a:lnTo>
                  <a:pt x="326" y="430"/>
                </a:lnTo>
                <a:lnTo>
                  <a:pt x="322" y="414"/>
                </a:lnTo>
                <a:lnTo>
                  <a:pt x="320" y="396"/>
                </a:lnTo>
                <a:lnTo>
                  <a:pt x="320" y="362"/>
                </a:lnTo>
                <a:lnTo>
                  <a:pt x="320" y="328"/>
                </a:lnTo>
                <a:lnTo>
                  <a:pt x="322" y="312"/>
                </a:lnTo>
                <a:lnTo>
                  <a:pt x="326" y="296"/>
                </a:lnTo>
                <a:lnTo>
                  <a:pt x="330" y="284"/>
                </a:lnTo>
                <a:lnTo>
                  <a:pt x="336" y="276"/>
                </a:lnTo>
                <a:lnTo>
                  <a:pt x="346" y="270"/>
                </a:lnTo>
                <a:lnTo>
                  <a:pt x="356" y="268"/>
                </a:lnTo>
                <a:lnTo>
                  <a:pt x="382" y="266"/>
                </a:lnTo>
                <a:lnTo>
                  <a:pt x="410" y="264"/>
                </a:lnTo>
                <a:lnTo>
                  <a:pt x="462" y="264"/>
                </a:lnTo>
                <a:lnTo>
                  <a:pt x="516" y="264"/>
                </a:lnTo>
                <a:lnTo>
                  <a:pt x="544" y="266"/>
                </a:lnTo>
                <a:lnTo>
                  <a:pt x="570" y="268"/>
                </a:lnTo>
                <a:lnTo>
                  <a:pt x="580" y="270"/>
                </a:lnTo>
                <a:lnTo>
                  <a:pt x="590" y="276"/>
                </a:lnTo>
                <a:lnTo>
                  <a:pt x="596" y="284"/>
                </a:lnTo>
                <a:lnTo>
                  <a:pt x="600" y="296"/>
                </a:lnTo>
                <a:lnTo>
                  <a:pt x="604" y="312"/>
                </a:lnTo>
                <a:lnTo>
                  <a:pt x="604" y="328"/>
                </a:lnTo>
                <a:lnTo>
                  <a:pt x="606" y="362"/>
                </a:lnTo>
                <a:lnTo>
                  <a:pt x="604" y="396"/>
                </a:lnTo>
                <a:lnTo>
                  <a:pt x="604" y="414"/>
                </a:lnTo>
                <a:lnTo>
                  <a:pt x="600" y="430"/>
                </a:lnTo>
                <a:close/>
                <a:moveTo>
                  <a:pt x="558" y="328"/>
                </a:moveTo>
                <a:lnTo>
                  <a:pt x="558" y="328"/>
                </a:lnTo>
                <a:lnTo>
                  <a:pt x="552" y="328"/>
                </a:lnTo>
                <a:lnTo>
                  <a:pt x="546" y="330"/>
                </a:lnTo>
                <a:lnTo>
                  <a:pt x="542" y="334"/>
                </a:lnTo>
                <a:lnTo>
                  <a:pt x="538" y="338"/>
                </a:lnTo>
                <a:lnTo>
                  <a:pt x="534" y="348"/>
                </a:lnTo>
                <a:lnTo>
                  <a:pt x="532" y="360"/>
                </a:lnTo>
                <a:lnTo>
                  <a:pt x="532" y="394"/>
                </a:lnTo>
                <a:lnTo>
                  <a:pt x="534" y="406"/>
                </a:lnTo>
                <a:lnTo>
                  <a:pt x="538" y="416"/>
                </a:lnTo>
                <a:lnTo>
                  <a:pt x="542" y="420"/>
                </a:lnTo>
                <a:lnTo>
                  <a:pt x="546" y="424"/>
                </a:lnTo>
                <a:lnTo>
                  <a:pt x="552" y="426"/>
                </a:lnTo>
                <a:lnTo>
                  <a:pt x="558" y="426"/>
                </a:lnTo>
                <a:lnTo>
                  <a:pt x="566" y="426"/>
                </a:lnTo>
                <a:lnTo>
                  <a:pt x="570" y="424"/>
                </a:lnTo>
                <a:lnTo>
                  <a:pt x="576" y="420"/>
                </a:lnTo>
                <a:lnTo>
                  <a:pt x="580" y="416"/>
                </a:lnTo>
                <a:lnTo>
                  <a:pt x="582" y="410"/>
                </a:lnTo>
                <a:lnTo>
                  <a:pt x="584" y="406"/>
                </a:lnTo>
                <a:lnTo>
                  <a:pt x="584" y="394"/>
                </a:lnTo>
                <a:lnTo>
                  <a:pt x="584" y="392"/>
                </a:lnTo>
                <a:lnTo>
                  <a:pt x="566" y="392"/>
                </a:lnTo>
                <a:lnTo>
                  <a:pt x="566" y="404"/>
                </a:lnTo>
                <a:lnTo>
                  <a:pt x="564" y="408"/>
                </a:lnTo>
                <a:lnTo>
                  <a:pt x="558" y="410"/>
                </a:lnTo>
                <a:lnTo>
                  <a:pt x="554" y="410"/>
                </a:lnTo>
                <a:lnTo>
                  <a:pt x="552" y="406"/>
                </a:lnTo>
                <a:lnTo>
                  <a:pt x="550" y="402"/>
                </a:lnTo>
                <a:lnTo>
                  <a:pt x="550" y="398"/>
                </a:lnTo>
                <a:lnTo>
                  <a:pt x="550" y="380"/>
                </a:lnTo>
                <a:lnTo>
                  <a:pt x="584" y="380"/>
                </a:lnTo>
                <a:lnTo>
                  <a:pt x="584" y="360"/>
                </a:lnTo>
                <a:lnTo>
                  <a:pt x="582" y="348"/>
                </a:lnTo>
                <a:lnTo>
                  <a:pt x="578" y="338"/>
                </a:lnTo>
                <a:lnTo>
                  <a:pt x="574" y="334"/>
                </a:lnTo>
                <a:lnTo>
                  <a:pt x="570" y="330"/>
                </a:lnTo>
                <a:lnTo>
                  <a:pt x="564" y="328"/>
                </a:lnTo>
                <a:lnTo>
                  <a:pt x="558" y="328"/>
                </a:lnTo>
                <a:close/>
                <a:moveTo>
                  <a:pt x="566" y="366"/>
                </a:moveTo>
                <a:lnTo>
                  <a:pt x="550" y="366"/>
                </a:lnTo>
                <a:lnTo>
                  <a:pt x="550" y="356"/>
                </a:lnTo>
                <a:lnTo>
                  <a:pt x="550" y="352"/>
                </a:lnTo>
                <a:lnTo>
                  <a:pt x="552" y="348"/>
                </a:lnTo>
                <a:lnTo>
                  <a:pt x="554" y="344"/>
                </a:lnTo>
                <a:lnTo>
                  <a:pt x="558" y="344"/>
                </a:lnTo>
                <a:lnTo>
                  <a:pt x="562" y="344"/>
                </a:lnTo>
                <a:lnTo>
                  <a:pt x="564" y="348"/>
                </a:lnTo>
                <a:lnTo>
                  <a:pt x="566" y="352"/>
                </a:lnTo>
                <a:lnTo>
                  <a:pt x="566" y="356"/>
                </a:lnTo>
                <a:lnTo>
                  <a:pt x="566" y="36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2" name="TextBox 27"/>
          <p:cNvSpPr txBox="1">
            <a:spLocks noChangeArrowheads="1"/>
          </p:cNvSpPr>
          <p:nvPr userDrawn="1"/>
        </p:nvSpPr>
        <p:spPr bwMode="auto">
          <a:xfrm>
            <a:off x="12141855" y="3621233"/>
            <a:ext cx="999247"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YouTube</a:t>
            </a:r>
          </a:p>
        </p:txBody>
      </p:sp>
      <p:sp>
        <p:nvSpPr>
          <p:cNvPr id="16" name="Freeform 177"/>
          <p:cNvSpPr>
            <a:spLocks noEditPoints="1"/>
          </p:cNvSpPr>
          <p:nvPr userDrawn="1"/>
        </p:nvSpPr>
        <p:spPr bwMode="auto">
          <a:xfrm>
            <a:off x="9471501"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76 w 726"/>
              <a:gd name="T47" fmla="*/ 478 h 726"/>
              <a:gd name="T48" fmla="*/ 564 w 726"/>
              <a:gd name="T49" fmla="*/ 498 h 726"/>
              <a:gd name="T50" fmla="*/ 544 w 726"/>
              <a:gd name="T51" fmla="*/ 510 h 726"/>
              <a:gd name="T52" fmla="*/ 192 w 726"/>
              <a:gd name="T53" fmla="*/ 510 h 726"/>
              <a:gd name="T54" fmla="*/ 168 w 726"/>
              <a:gd name="T55" fmla="*/ 504 h 726"/>
              <a:gd name="T56" fmla="*/ 154 w 726"/>
              <a:gd name="T57" fmla="*/ 486 h 726"/>
              <a:gd name="T58" fmla="*/ 150 w 726"/>
              <a:gd name="T59" fmla="*/ 256 h 726"/>
              <a:gd name="T60" fmla="*/ 154 w 726"/>
              <a:gd name="T61" fmla="*/ 240 h 726"/>
              <a:gd name="T62" fmla="*/ 168 w 726"/>
              <a:gd name="T63" fmla="*/ 222 h 726"/>
              <a:gd name="T64" fmla="*/ 192 w 726"/>
              <a:gd name="T65" fmla="*/ 216 h 726"/>
              <a:gd name="T66" fmla="*/ 544 w 726"/>
              <a:gd name="T67" fmla="*/ 216 h 726"/>
              <a:gd name="T68" fmla="*/ 564 w 726"/>
              <a:gd name="T69" fmla="*/ 228 h 726"/>
              <a:gd name="T70" fmla="*/ 576 w 726"/>
              <a:gd name="T71" fmla="*/ 248 h 726"/>
              <a:gd name="T72" fmla="*/ 530 w 726"/>
              <a:gd name="T73" fmla="*/ 240 h 726"/>
              <a:gd name="T74" fmla="*/ 530 w 726"/>
              <a:gd name="T75" fmla="*/ 240 h 726"/>
              <a:gd name="T76" fmla="*/ 176 w 726"/>
              <a:gd name="T77" fmla="*/ 256 h 726"/>
              <a:gd name="T78" fmla="*/ 176 w 726"/>
              <a:gd name="T79" fmla="*/ 472 h 726"/>
              <a:gd name="T80" fmla="*/ 422 w 726"/>
              <a:gd name="T81" fmla="*/ 362 h 726"/>
              <a:gd name="T82" fmla="*/ 552 w 726"/>
              <a:gd name="T83" fmla="*/ 470 h 726"/>
              <a:gd name="T84" fmla="*/ 552 w 726"/>
              <a:gd name="T85" fmla="*/ 254 h 726"/>
              <a:gd name="T86" fmla="*/ 372 w 726"/>
              <a:gd name="T87" fmla="*/ 406 h 726"/>
              <a:gd name="T88" fmla="*/ 364 w 726"/>
              <a:gd name="T89" fmla="*/ 410 h 726"/>
              <a:gd name="T90" fmla="*/ 324 w 726"/>
              <a:gd name="T91" fmla="*/ 378 h 726"/>
              <a:gd name="T92" fmla="*/ 404 w 726"/>
              <a:gd name="T93" fmla="*/ 378 h 72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76" y="470"/>
                </a:moveTo>
                <a:lnTo>
                  <a:pt x="576" y="470"/>
                </a:lnTo>
                <a:lnTo>
                  <a:pt x="576" y="478"/>
                </a:lnTo>
                <a:lnTo>
                  <a:pt x="574" y="486"/>
                </a:lnTo>
                <a:lnTo>
                  <a:pt x="570" y="492"/>
                </a:lnTo>
                <a:lnTo>
                  <a:pt x="564" y="498"/>
                </a:lnTo>
                <a:lnTo>
                  <a:pt x="558" y="504"/>
                </a:lnTo>
                <a:lnTo>
                  <a:pt x="552" y="508"/>
                </a:lnTo>
                <a:lnTo>
                  <a:pt x="544" y="510"/>
                </a:lnTo>
                <a:lnTo>
                  <a:pt x="536" y="510"/>
                </a:lnTo>
                <a:lnTo>
                  <a:pt x="192" y="510"/>
                </a:lnTo>
                <a:lnTo>
                  <a:pt x="184" y="510"/>
                </a:lnTo>
                <a:lnTo>
                  <a:pt x="176" y="508"/>
                </a:lnTo>
                <a:lnTo>
                  <a:pt x="168" y="504"/>
                </a:lnTo>
                <a:lnTo>
                  <a:pt x="162" y="498"/>
                </a:lnTo>
                <a:lnTo>
                  <a:pt x="158" y="492"/>
                </a:lnTo>
                <a:lnTo>
                  <a:pt x="154" y="486"/>
                </a:lnTo>
                <a:lnTo>
                  <a:pt x="152" y="478"/>
                </a:lnTo>
                <a:lnTo>
                  <a:pt x="150" y="470"/>
                </a:lnTo>
                <a:lnTo>
                  <a:pt x="150" y="256"/>
                </a:lnTo>
                <a:lnTo>
                  <a:pt x="152" y="248"/>
                </a:lnTo>
                <a:lnTo>
                  <a:pt x="154" y="240"/>
                </a:lnTo>
                <a:lnTo>
                  <a:pt x="158" y="234"/>
                </a:lnTo>
                <a:lnTo>
                  <a:pt x="162" y="228"/>
                </a:lnTo>
                <a:lnTo>
                  <a:pt x="168" y="222"/>
                </a:lnTo>
                <a:lnTo>
                  <a:pt x="176" y="218"/>
                </a:lnTo>
                <a:lnTo>
                  <a:pt x="184" y="216"/>
                </a:lnTo>
                <a:lnTo>
                  <a:pt x="192" y="216"/>
                </a:lnTo>
                <a:lnTo>
                  <a:pt x="536" y="216"/>
                </a:lnTo>
                <a:lnTo>
                  <a:pt x="544" y="216"/>
                </a:lnTo>
                <a:lnTo>
                  <a:pt x="552" y="218"/>
                </a:lnTo>
                <a:lnTo>
                  <a:pt x="558" y="222"/>
                </a:lnTo>
                <a:lnTo>
                  <a:pt x="564" y="228"/>
                </a:lnTo>
                <a:lnTo>
                  <a:pt x="570" y="234"/>
                </a:lnTo>
                <a:lnTo>
                  <a:pt x="574" y="240"/>
                </a:lnTo>
                <a:lnTo>
                  <a:pt x="576" y="248"/>
                </a:lnTo>
                <a:lnTo>
                  <a:pt x="576" y="256"/>
                </a:lnTo>
                <a:lnTo>
                  <a:pt x="576" y="470"/>
                </a:lnTo>
                <a:close/>
                <a:moveTo>
                  <a:pt x="530" y="240"/>
                </a:moveTo>
                <a:lnTo>
                  <a:pt x="196" y="240"/>
                </a:lnTo>
                <a:lnTo>
                  <a:pt x="364" y="380"/>
                </a:lnTo>
                <a:lnTo>
                  <a:pt x="530" y="240"/>
                </a:lnTo>
                <a:close/>
                <a:moveTo>
                  <a:pt x="176" y="254"/>
                </a:moveTo>
                <a:lnTo>
                  <a:pt x="176" y="254"/>
                </a:lnTo>
                <a:lnTo>
                  <a:pt x="176" y="256"/>
                </a:lnTo>
                <a:lnTo>
                  <a:pt x="176" y="470"/>
                </a:lnTo>
                <a:lnTo>
                  <a:pt x="176" y="472"/>
                </a:lnTo>
                <a:lnTo>
                  <a:pt x="304" y="362"/>
                </a:lnTo>
                <a:lnTo>
                  <a:pt x="176" y="254"/>
                </a:lnTo>
                <a:close/>
                <a:moveTo>
                  <a:pt x="422" y="362"/>
                </a:moveTo>
                <a:lnTo>
                  <a:pt x="552" y="472"/>
                </a:lnTo>
                <a:lnTo>
                  <a:pt x="552" y="470"/>
                </a:lnTo>
                <a:lnTo>
                  <a:pt x="552" y="256"/>
                </a:lnTo>
                <a:lnTo>
                  <a:pt x="552" y="254"/>
                </a:lnTo>
                <a:lnTo>
                  <a:pt x="422" y="362"/>
                </a:lnTo>
                <a:close/>
                <a:moveTo>
                  <a:pt x="372" y="406"/>
                </a:moveTo>
                <a:lnTo>
                  <a:pt x="372" y="406"/>
                </a:lnTo>
                <a:lnTo>
                  <a:pt x="368" y="408"/>
                </a:lnTo>
                <a:lnTo>
                  <a:pt x="364" y="410"/>
                </a:lnTo>
                <a:lnTo>
                  <a:pt x="360" y="408"/>
                </a:lnTo>
                <a:lnTo>
                  <a:pt x="356" y="406"/>
                </a:lnTo>
                <a:lnTo>
                  <a:pt x="324" y="378"/>
                </a:lnTo>
                <a:lnTo>
                  <a:pt x="196" y="486"/>
                </a:lnTo>
                <a:lnTo>
                  <a:pt x="530" y="486"/>
                </a:lnTo>
                <a:lnTo>
                  <a:pt x="404" y="378"/>
                </a:lnTo>
                <a:lnTo>
                  <a:pt x="372" y="4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7" name="Freeform 184"/>
          <p:cNvSpPr>
            <a:spLocks noEditPoints="1"/>
          </p:cNvSpPr>
          <p:nvPr userDrawn="1"/>
        </p:nvSpPr>
        <p:spPr bwMode="auto">
          <a:xfrm>
            <a:off x="10785527"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16 w 726"/>
              <a:gd name="T47" fmla="*/ 132 h 726"/>
              <a:gd name="T48" fmla="*/ 410 w 726"/>
              <a:gd name="T49" fmla="*/ 204 h 726"/>
              <a:gd name="T50" fmla="*/ 410 w 726"/>
              <a:gd name="T51" fmla="*/ 344 h 726"/>
              <a:gd name="T52" fmla="*/ 406 w 726"/>
              <a:gd name="T53" fmla="*/ 414 h 726"/>
              <a:gd name="T54" fmla="*/ 486 w 726"/>
              <a:gd name="T55" fmla="*/ 414 h 726"/>
              <a:gd name="T56" fmla="*/ 396 w 726"/>
              <a:gd name="T57" fmla="*/ 500 h 726"/>
              <a:gd name="T58" fmla="*/ 388 w 726"/>
              <a:gd name="T59" fmla="*/ 414 h 726"/>
              <a:gd name="T60" fmla="*/ 388 w 726"/>
              <a:gd name="T61" fmla="*/ 438 h 726"/>
              <a:gd name="T62" fmla="*/ 236 w 726"/>
              <a:gd name="T63" fmla="*/ 414 h 726"/>
              <a:gd name="T64" fmla="*/ 332 w 726"/>
              <a:gd name="T65" fmla="*/ 414 h 726"/>
              <a:gd name="T66" fmla="*/ 360 w 726"/>
              <a:gd name="T67" fmla="*/ 478 h 726"/>
              <a:gd name="T68" fmla="*/ 276 w 726"/>
              <a:gd name="T69" fmla="*/ 478 h 726"/>
              <a:gd name="T70" fmla="*/ 276 w 726"/>
              <a:gd name="T71" fmla="*/ 454 h 726"/>
              <a:gd name="T72" fmla="*/ 236 w 726"/>
              <a:gd name="T73" fmla="*/ 454 h 726"/>
              <a:gd name="T74" fmla="*/ 260 w 726"/>
              <a:gd name="T75" fmla="*/ 454 h 726"/>
              <a:gd name="T76" fmla="*/ 486 w 726"/>
              <a:gd name="T77" fmla="*/ 204 h 726"/>
              <a:gd name="T78" fmla="*/ 460 w 726"/>
              <a:gd name="T79" fmla="*/ 242 h 726"/>
              <a:gd name="T80" fmla="*/ 460 w 726"/>
              <a:gd name="T81" fmla="*/ 266 h 726"/>
              <a:gd name="T82" fmla="*/ 486 w 726"/>
              <a:gd name="T83" fmla="*/ 266 h 726"/>
              <a:gd name="T84" fmla="*/ 470 w 726"/>
              <a:gd name="T85" fmla="*/ 266 h 726"/>
              <a:gd name="T86" fmla="*/ 486 w 726"/>
              <a:gd name="T87" fmla="*/ 318 h 726"/>
              <a:gd name="T88" fmla="*/ 456 w 726"/>
              <a:gd name="T89" fmla="*/ 306 h 726"/>
              <a:gd name="T90" fmla="*/ 456 w 726"/>
              <a:gd name="T91" fmla="*/ 280 h 726"/>
              <a:gd name="T92" fmla="*/ 446 w 726"/>
              <a:gd name="T93" fmla="*/ 306 h 726"/>
              <a:gd name="T94" fmla="*/ 426 w 726"/>
              <a:gd name="T95" fmla="*/ 306 h 726"/>
              <a:gd name="T96" fmla="*/ 486 w 726"/>
              <a:gd name="T97" fmla="*/ 500 h 726"/>
              <a:gd name="T98" fmla="*/ 412 w 726"/>
              <a:gd name="T99" fmla="*/ 566 h 726"/>
              <a:gd name="T100" fmla="*/ 412 w 726"/>
              <a:gd name="T101" fmla="*/ 542 h 726"/>
              <a:gd name="T102" fmla="*/ 260 w 726"/>
              <a:gd name="T103" fmla="*/ 160 h 726"/>
              <a:gd name="T104" fmla="*/ 464 w 726"/>
              <a:gd name="T105" fmla="*/ 160 h 726"/>
              <a:gd name="T106" fmla="*/ 486 w 726"/>
              <a:gd name="T107" fmla="*/ 364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10" y="594"/>
                </a:moveTo>
                <a:lnTo>
                  <a:pt x="210" y="132"/>
                </a:lnTo>
                <a:lnTo>
                  <a:pt x="516" y="132"/>
                </a:lnTo>
                <a:lnTo>
                  <a:pt x="516" y="594"/>
                </a:lnTo>
                <a:lnTo>
                  <a:pt x="210" y="594"/>
                </a:lnTo>
                <a:close/>
                <a:moveTo>
                  <a:pt x="410" y="204"/>
                </a:moveTo>
                <a:lnTo>
                  <a:pt x="236" y="204"/>
                </a:lnTo>
                <a:lnTo>
                  <a:pt x="236" y="344"/>
                </a:lnTo>
                <a:lnTo>
                  <a:pt x="410" y="344"/>
                </a:lnTo>
                <a:lnTo>
                  <a:pt x="410" y="204"/>
                </a:lnTo>
                <a:close/>
                <a:moveTo>
                  <a:pt x="486" y="414"/>
                </a:moveTo>
                <a:lnTo>
                  <a:pt x="406" y="414"/>
                </a:lnTo>
                <a:lnTo>
                  <a:pt x="406" y="482"/>
                </a:lnTo>
                <a:lnTo>
                  <a:pt x="486" y="482"/>
                </a:lnTo>
                <a:lnTo>
                  <a:pt x="486" y="414"/>
                </a:lnTo>
                <a:close/>
                <a:moveTo>
                  <a:pt x="236" y="566"/>
                </a:moveTo>
                <a:lnTo>
                  <a:pt x="396" y="566"/>
                </a:lnTo>
                <a:lnTo>
                  <a:pt x="396" y="500"/>
                </a:lnTo>
                <a:lnTo>
                  <a:pt x="236" y="500"/>
                </a:lnTo>
                <a:lnTo>
                  <a:pt x="236" y="566"/>
                </a:lnTo>
                <a:close/>
                <a:moveTo>
                  <a:pt x="388" y="414"/>
                </a:moveTo>
                <a:lnTo>
                  <a:pt x="350" y="414"/>
                </a:lnTo>
                <a:lnTo>
                  <a:pt x="350" y="438"/>
                </a:lnTo>
                <a:lnTo>
                  <a:pt x="388" y="438"/>
                </a:lnTo>
                <a:lnTo>
                  <a:pt x="388" y="414"/>
                </a:lnTo>
                <a:close/>
                <a:moveTo>
                  <a:pt x="332" y="414"/>
                </a:moveTo>
                <a:lnTo>
                  <a:pt x="236" y="414"/>
                </a:lnTo>
                <a:lnTo>
                  <a:pt x="236" y="438"/>
                </a:lnTo>
                <a:lnTo>
                  <a:pt x="332" y="438"/>
                </a:lnTo>
                <a:lnTo>
                  <a:pt x="332" y="414"/>
                </a:lnTo>
                <a:close/>
                <a:moveTo>
                  <a:pt x="388" y="454"/>
                </a:moveTo>
                <a:lnTo>
                  <a:pt x="360" y="454"/>
                </a:lnTo>
                <a:lnTo>
                  <a:pt x="360" y="478"/>
                </a:lnTo>
                <a:lnTo>
                  <a:pt x="388" y="478"/>
                </a:lnTo>
                <a:lnTo>
                  <a:pt x="388" y="454"/>
                </a:lnTo>
                <a:close/>
                <a:moveTo>
                  <a:pt x="276" y="478"/>
                </a:moveTo>
                <a:lnTo>
                  <a:pt x="344" y="478"/>
                </a:lnTo>
                <a:lnTo>
                  <a:pt x="344" y="454"/>
                </a:lnTo>
                <a:lnTo>
                  <a:pt x="276" y="454"/>
                </a:lnTo>
                <a:lnTo>
                  <a:pt x="276" y="478"/>
                </a:lnTo>
                <a:close/>
                <a:moveTo>
                  <a:pt x="260" y="454"/>
                </a:moveTo>
                <a:lnTo>
                  <a:pt x="236" y="454"/>
                </a:lnTo>
                <a:lnTo>
                  <a:pt x="236" y="478"/>
                </a:lnTo>
                <a:lnTo>
                  <a:pt x="260" y="478"/>
                </a:lnTo>
                <a:lnTo>
                  <a:pt x="260" y="454"/>
                </a:lnTo>
                <a:close/>
                <a:moveTo>
                  <a:pt x="426" y="228"/>
                </a:moveTo>
                <a:lnTo>
                  <a:pt x="486" y="228"/>
                </a:lnTo>
                <a:lnTo>
                  <a:pt x="486" y="204"/>
                </a:lnTo>
                <a:lnTo>
                  <a:pt x="426" y="204"/>
                </a:lnTo>
                <a:lnTo>
                  <a:pt x="426" y="228"/>
                </a:lnTo>
                <a:close/>
                <a:moveTo>
                  <a:pt x="460" y="242"/>
                </a:moveTo>
                <a:lnTo>
                  <a:pt x="426" y="242"/>
                </a:lnTo>
                <a:lnTo>
                  <a:pt x="426" y="266"/>
                </a:lnTo>
                <a:lnTo>
                  <a:pt x="460" y="266"/>
                </a:lnTo>
                <a:lnTo>
                  <a:pt x="460" y="242"/>
                </a:lnTo>
                <a:close/>
                <a:moveTo>
                  <a:pt x="470" y="266"/>
                </a:moveTo>
                <a:lnTo>
                  <a:pt x="486" y="266"/>
                </a:lnTo>
                <a:lnTo>
                  <a:pt x="486" y="242"/>
                </a:lnTo>
                <a:lnTo>
                  <a:pt x="470" y="242"/>
                </a:lnTo>
                <a:lnTo>
                  <a:pt x="470" y="266"/>
                </a:lnTo>
                <a:close/>
                <a:moveTo>
                  <a:pt x="426" y="344"/>
                </a:moveTo>
                <a:lnTo>
                  <a:pt x="486" y="344"/>
                </a:lnTo>
                <a:lnTo>
                  <a:pt x="486" y="318"/>
                </a:lnTo>
                <a:lnTo>
                  <a:pt x="426" y="318"/>
                </a:lnTo>
                <a:lnTo>
                  <a:pt x="426" y="344"/>
                </a:lnTo>
                <a:close/>
                <a:moveTo>
                  <a:pt x="456" y="306"/>
                </a:moveTo>
                <a:lnTo>
                  <a:pt x="486" y="306"/>
                </a:lnTo>
                <a:lnTo>
                  <a:pt x="486" y="280"/>
                </a:lnTo>
                <a:lnTo>
                  <a:pt x="456" y="280"/>
                </a:lnTo>
                <a:lnTo>
                  <a:pt x="456" y="306"/>
                </a:lnTo>
                <a:close/>
                <a:moveTo>
                  <a:pt x="426" y="306"/>
                </a:moveTo>
                <a:lnTo>
                  <a:pt x="446" y="306"/>
                </a:lnTo>
                <a:lnTo>
                  <a:pt x="446" y="280"/>
                </a:lnTo>
                <a:lnTo>
                  <a:pt x="426" y="280"/>
                </a:lnTo>
                <a:lnTo>
                  <a:pt x="426" y="306"/>
                </a:lnTo>
                <a:close/>
                <a:moveTo>
                  <a:pt x="412" y="526"/>
                </a:moveTo>
                <a:lnTo>
                  <a:pt x="486" y="526"/>
                </a:lnTo>
                <a:lnTo>
                  <a:pt x="486" y="500"/>
                </a:lnTo>
                <a:lnTo>
                  <a:pt x="412" y="500"/>
                </a:lnTo>
                <a:lnTo>
                  <a:pt x="412" y="526"/>
                </a:lnTo>
                <a:close/>
                <a:moveTo>
                  <a:pt x="412" y="566"/>
                </a:moveTo>
                <a:lnTo>
                  <a:pt x="454" y="566"/>
                </a:lnTo>
                <a:lnTo>
                  <a:pt x="454" y="542"/>
                </a:lnTo>
                <a:lnTo>
                  <a:pt x="412" y="542"/>
                </a:lnTo>
                <a:lnTo>
                  <a:pt x="412" y="566"/>
                </a:lnTo>
                <a:close/>
                <a:moveTo>
                  <a:pt x="464" y="160"/>
                </a:moveTo>
                <a:lnTo>
                  <a:pt x="260" y="160"/>
                </a:lnTo>
                <a:lnTo>
                  <a:pt x="260" y="184"/>
                </a:lnTo>
                <a:lnTo>
                  <a:pt x="464" y="184"/>
                </a:lnTo>
                <a:lnTo>
                  <a:pt x="464" y="160"/>
                </a:lnTo>
                <a:close/>
                <a:moveTo>
                  <a:pt x="236" y="390"/>
                </a:moveTo>
                <a:lnTo>
                  <a:pt x="486" y="390"/>
                </a:lnTo>
                <a:lnTo>
                  <a:pt x="486" y="364"/>
                </a:lnTo>
                <a:lnTo>
                  <a:pt x="236" y="364"/>
                </a:lnTo>
                <a:lnTo>
                  <a:pt x="236" y="39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1" name="Freeform 451"/>
          <p:cNvSpPr>
            <a:spLocks noEditPoints="1"/>
          </p:cNvSpPr>
          <p:nvPr userDrawn="1"/>
        </p:nvSpPr>
        <p:spPr bwMode="auto">
          <a:xfrm>
            <a:off x="12099556"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12 w 726"/>
              <a:gd name="T47" fmla="*/ 542 h 726"/>
              <a:gd name="T48" fmla="*/ 202 w 726"/>
              <a:gd name="T49" fmla="*/ 534 h 726"/>
              <a:gd name="T50" fmla="*/ 202 w 726"/>
              <a:gd name="T51" fmla="*/ 524 h 726"/>
              <a:gd name="T52" fmla="*/ 212 w 726"/>
              <a:gd name="T53" fmla="*/ 518 h 726"/>
              <a:gd name="T54" fmla="*/ 518 w 726"/>
              <a:gd name="T55" fmla="*/ 518 h 726"/>
              <a:gd name="T56" fmla="*/ 526 w 726"/>
              <a:gd name="T57" fmla="*/ 530 h 726"/>
              <a:gd name="T58" fmla="*/ 522 w 726"/>
              <a:gd name="T59" fmla="*/ 538 h 726"/>
              <a:gd name="T60" fmla="*/ 608 w 726"/>
              <a:gd name="T61" fmla="*/ 504 h 726"/>
              <a:gd name="T62" fmla="*/ 608 w 726"/>
              <a:gd name="T63" fmla="*/ 184 h 726"/>
              <a:gd name="T64" fmla="*/ 164 w 726"/>
              <a:gd name="T65" fmla="*/ 468 h 726"/>
              <a:gd name="T66" fmla="*/ 174 w 726"/>
              <a:gd name="T67" fmla="*/ 462 h 726"/>
              <a:gd name="T68" fmla="*/ 174 w 726"/>
              <a:gd name="T69" fmla="*/ 454 h 726"/>
              <a:gd name="T70" fmla="*/ 164 w 726"/>
              <a:gd name="T71" fmla="*/ 448 h 726"/>
              <a:gd name="T72" fmla="*/ 158 w 726"/>
              <a:gd name="T73" fmla="*/ 450 h 726"/>
              <a:gd name="T74" fmla="*/ 154 w 726"/>
              <a:gd name="T75" fmla="*/ 458 h 726"/>
              <a:gd name="T76" fmla="*/ 160 w 726"/>
              <a:gd name="T77" fmla="*/ 468 h 726"/>
              <a:gd name="T78" fmla="*/ 506 w 726"/>
              <a:gd name="T79" fmla="*/ 452 h 726"/>
              <a:gd name="T80" fmla="*/ 518 w 726"/>
              <a:gd name="T81" fmla="*/ 450 h 726"/>
              <a:gd name="T82" fmla="*/ 536 w 726"/>
              <a:gd name="T83" fmla="*/ 424 h 726"/>
              <a:gd name="T84" fmla="*/ 532 w 726"/>
              <a:gd name="T85" fmla="*/ 254 h 726"/>
              <a:gd name="T86" fmla="*/ 512 w 726"/>
              <a:gd name="T87" fmla="*/ 236 h 726"/>
              <a:gd name="T88" fmla="*/ 220 w 726"/>
              <a:gd name="T89" fmla="*/ 236 h 726"/>
              <a:gd name="T90" fmla="*/ 200 w 726"/>
              <a:gd name="T91" fmla="*/ 244 h 726"/>
              <a:gd name="T92" fmla="*/ 190 w 726"/>
              <a:gd name="T93" fmla="*/ 424 h 726"/>
              <a:gd name="T94" fmla="*/ 200 w 726"/>
              <a:gd name="T95" fmla="*/ 444 h 726"/>
              <a:gd name="T96" fmla="*/ 220 w 726"/>
              <a:gd name="T97" fmla="*/ 452 h 7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14" y="542"/>
                </a:moveTo>
                <a:lnTo>
                  <a:pt x="212" y="542"/>
                </a:lnTo>
                <a:lnTo>
                  <a:pt x="208" y="540"/>
                </a:lnTo>
                <a:lnTo>
                  <a:pt x="204" y="538"/>
                </a:lnTo>
                <a:lnTo>
                  <a:pt x="202" y="534"/>
                </a:lnTo>
                <a:lnTo>
                  <a:pt x="200" y="530"/>
                </a:lnTo>
                <a:lnTo>
                  <a:pt x="202" y="524"/>
                </a:lnTo>
                <a:lnTo>
                  <a:pt x="204" y="520"/>
                </a:lnTo>
                <a:lnTo>
                  <a:pt x="208" y="518"/>
                </a:lnTo>
                <a:lnTo>
                  <a:pt x="212" y="518"/>
                </a:lnTo>
                <a:lnTo>
                  <a:pt x="514" y="518"/>
                </a:lnTo>
                <a:lnTo>
                  <a:pt x="518" y="518"/>
                </a:lnTo>
                <a:lnTo>
                  <a:pt x="522" y="520"/>
                </a:lnTo>
                <a:lnTo>
                  <a:pt x="524" y="524"/>
                </a:lnTo>
                <a:lnTo>
                  <a:pt x="526" y="530"/>
                </a:lnTo>
                <a:lnTo>
                  <a:pt x="524" y="534"/>
                </a:lnTo>
                <a:lnTo>
                  <a:pt x="522" y="538"/>
                </a:lnTo>
                <a:lnTo>
                  <a:pt x="518" y="540"/>
                </a:lnTo>
                <a:lnTo>
                  <a:pt x="514" y="542"/>
                </a:lnTo>
                <a:close/>
                <a:moveTo>
                  <a:pt x="608" y="504"/>
                </a:moveTo>
                <a:lnTo>
                  <a:pt x="120" y="504"/>
                </a:lnTo>
                <a:lnTo>
                  <a:pt x="120" y="184"/>
                </a:lnTo>
                <a:lnTo>
                  <a:pt x="608" y="184"/>
                </a:lnTo>
                <a:lnTo>
                  <a:pt x="608" y="504"/>
                </a:lnTo>
                <a:close/>
                <a:moveTo>
                  <a:pt x="164" y="468"/>
                </a:moveTo>
                <a:lnTo>
                  <a:pt x="164" y="468"/>
                </a:lnTo>
                <a:lnTo>
                  <a:pt x="170" y="468"/>
                </a:lnTo>
                <a:lnTo>
                  <a:pt x="172" y="466"/>
                </a:lnTo>
                <a:lnTo>
                  <a:pt x="174" y="462"/>
                </a:lnTo>
                <a:lnTo>
                  <a:pt x="176" y="458"/>
                </a:lnTo>
                <a:lnTo>
                  <a:pt x="174" y="454"/>
                </a:lnTo>
                <a:lnTo>
                  <a:pt x="172" y="450"/>
                </a:lnTo>
                <a:lnTo>
                  <a:pt x="170" y="448"/>
                </a:lnTo>
                <a:lnTo>
                  <a:pt x="164" y="448"/>
                </a:lnTo>
                <a:lnTo>
                  <a:pt x="160" y="448"/>
                </a:lnTo>
                <a:lnTo>
                  <a:pt x="158" y="450"/>
                </a:lnTo>
                <a:lnTo>
                  <a:pt x="156" y="454"/>
                </a:lnTo>
                <a:lnTo>
                  <a:pt x="154" y="458"/>
                </a:lnTo>
                <a:lnTo>
                  <a:pt x="156" y="462"/>
                </a:lnTo>
                <a:lnTo>
                  <a:pt x="158" y="466"/>
                </a:lnTo>
                <a:lnTo>
                  <a:pt x="160" y="468"/>
                </a:lnTo>
                <a:lnTo>
                  <a:pt x="164" y="468"/>
                </a:lnTo>
                <a:close/>
                <a:moveTo>
                  <a:pt x="220" y="452"/>
                </a:moveTo>
                <a:lnTo>
                  <a:pt x="506" y="452"/>
                </a:lnTo>
                <a:lnTo>
                  <a:pt x="512" y="452"/>
                </a:lnTo>
                <a:lnTo>
                  <a:pt x="518" y="450"/>
                </a:lnTo>
                <a:lnTo>
                  <a:pt x="526" y="444"/>
                </a:lnTo>
                <a:lnTo>
                  <a:pt x="532" y="434"/>
                </a:lnTo>
                <a:lnTo>
                  <a:pt x="536" y="424"/>
                </a:lnTo>
                <a:lnTo>
                  <a:pt x="536" y="266"/>
                </a:lnTo>
                <a:lnTo>
                  <a:pt x="532" y="254"/>
                </a:lnTo>
                <a:lnTo>
                  <a:pt x="526" y="244"/>
                </a:lnTo>
                <a:lnTo>
                  <a:pt x="518" y="238"/>
                </a:lnTo>
                <a:lnTo>
                  <a:pt x="512" y="236"/>
                </a:lnTo>
                <a:lnTo>
                  <a:pt x="506" y="236"/>
                </a:lnTo>
                <a:lnTo>
                  <a:pt x="220" y="236"/>
                </a:lnTo>
                <a:lnTo>
                  <a:pt x="214" y="236"/>
                </a:lnTo>
                <a:lnTo>
                  <a:pt x="208" y="238"/>
                </a:lnTo>
                <a:lnTo>
                  <a:pt x="200" y="244"/>
                </a:lnTo>
                <a:lnTo>
                  <a:pt x="194" y="254"/>
                </a:lnTo>
                <a:lnTo>
                  <a:pt x="190" y="266"/>
                </a:lnTo>
                <a:lnTo>
                  <a:pt x="190" y="424"/>
                </a:lnTo>
                <a:lnTo>
                  <a:pt x="194" y="434"/>
                </a:lnTo>
                <a:lnTo>
                  <a:pt x="200" y="444"/>
                </a:lnTo>
                <a:lnTo>
                  <a:pt x="208" y="450"/>
                </a:lnTo>
                <a:lnTo>
                  <a:pt x="214" y="452"/>
                </a:lnTo>
                <a:lnTo>
                  <a:pt x="220" y="45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0" name="Freeform 125"/>
          <p:cNvSpPr>
            <a:spLocks noEditPoints="1"/>
          </p:cNvSpPr>
          <p:nvPr userDrawn="1"/>
        </p:nvSpPr>
        <p:spPr bwMode="auto">
          <a:xfrm>
            <a:off x="27331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82 w 726"/>
              <a:gd name="T15" fmla="*/ 536 h 726"/>
              <a:gd name="T16" fmla="*/ 726 w 726"/>
              <a:gd name="T17" fmla="*/ 362 h 726"/>
              <a:gd name="T18" fmla="*/ 664 w 726"/>
              <a:gd name="T19" fmla="*/ 160 h 726"/>
              <a:gd name="T20" fmla="*/ 504 w 726"/>
              <a:gd name="T21" fmla="*/ 28 h 726"/>
              <a:gd name="T22" fmla="*/ 528 w 726"/>
              <a:gd name="T23" fmla="*/ 510 h 726"/>
              <a:gd name="T24" fmla="*/ 452 w 726"/>
              <a:gd name="T25" fmla="*/ 470 h 726"/>
              <a:gd name="T26" fmla="*/ 298 w 726"/>
              <a:gd name="T27" fmla="*/ 428 h 726"/>
              <a:gd name="T28" fmla="*/ 214 w 726"/>
              <a:gd name="T29" fmla="*/ 512 h 726"/>
              <a:gd name="T30" fmla="*/ 176 w 726"/>
              <a:gd name="T31" fmla="*/ 498 h 726"/>
              <a:gd name="T32" fmla="*/ 148 w 726"/>
              <a:gd name="T33" fmla="*/ 370 h 726"/>
              <a:gd name="T34" fmla="*/ 158 w 726"/>
              <a:gd name="T35" fmla="*/ 292 h 726"/>
              <a:gd name="T36" fmla="*/ 238 w 726"/>
              <a:gd name="T37" fmla="*/ 240 h 726"/>
              <a:gd name="T38" fmla="*/ 290 w 726"/>
              <a:gd name="T39" fmla="*/ 258 h 726"/>
              <a:gd name="T40" fmla="*/ 338 w 726"/>
              <a:gd name="T41" fmla="*/ 210 h 726"/>
              <a:gd name="T42" fmla="*/ 352 w 726"/>
              <a:gd name="T43" fmla="*/ 154 h 726"/>
              <a:gd name="T44" fmla="*/ 370 w 726"/>
              <a:gd name="T45" fmla="*/ 116 h 726"/>
              <a:gd name="T46" fmla="*/ 390 w 726"/>
              <a:gd name="T47" fmla="*/ 124 h 726"/>
              <a:gd name="T48" fmla="*/ 374 w 726"/>
              <a:gd name="T49" fmla="*/ 166 h 726"/>
              <a:gd name="T50" fmla="*/ 364 w 726"/>
              <a:gd name="T51" fmla="*/ 222 h 726"/>
              <a:gd name="T52" fmla="*/ 436 w 726"/>
              <a:gd name="T53" fmla="*/ 258 h 726"/>
              <a:gd name="T54" fmla="*/ 506 w 726"/>
              <a:gd name="T55" fmla="*/ 242 h 726"/>
              <a:gd name="T56" fmla="*/ 572 w 726"/>
              <a:gd name="T57" fmla="*/ 310 h 726"/>
              <a:gd name="T58" fmla="*/ 580 w 726"/>
              <a:gd name="T59" fmla="*/ 400 h 726"/>
              <a:gd name="T60" fmla="*/ 542 w 726"/>
              <a:gd name="T61" fmla="*/ 504 h 726"/>
              <a:gd name="T62" fmla="*/ 252 w 726"/>
              <a:gd name="T63" fmla="*/ 292 h 726"/>
              <a:gd name="T64" fmla="*/ 234 w 726"/>
              <a:gd name="T65" fmla="*/ 280 h 726"/>
              <a:gd name="T66" fmla="*/ 206 w 726"/>
              <a:gd name="T67" fmla="*/ 312 h 726"/>
              <a:gd name="T68" fmla="*/ 194 w 726"/>
              <a:gd name="T69" fmla="*/ 330 h 726"/>
              <a:gd name="T70" fmla="*/ 226 w 726"/>
              <a:gd name="T71" fmla="*/ 356 h 726"/>
              <a:gd name="T72" fmla="*/ 244 w 726"/>
              <a:gd name="T73" fmla="*/ 368 h 726"/>
              <a:gd name="T74" fmla="*/ 270 w 726"/>
              <a:gd name="T75" fmla="*/ 338 h 726"/>
              <a:gd name="T76" fmla="*/ 282 w 726"/>
              <a:gd name="T77" fmla="*/ 320 h 726"/>
              <a:gd name="T78" fmla="*/ 516 w 726"/>
              <a:gd name="T79" fmla="*/ 310 h 726"/>
              <a:gd name="T80" fmla="*/ 512 w 726"/>
              <a:gd name="T81" fmla="*/ 336 h 726"/>
              <a:gd name="T82" fmla="*/ 538 w 726"/>
              <a:gd name="T83" fmla="*/ 330 h 726"/>
              <a:gd name="T84" fmla="*/ 524 w 726"/>
              <a:gd name="T85" fmla="*/ 308 h 726"/>
              <a:gd name="T86" fmla="*/ 442 w 726"/>
              <a:gd name="T87" fmla="*/ 324 h 726"/>
              <a:gd name="T88" fmla="*/ 458 w 726"/>
              <a:gd name="T89" fmla="*/ 340 h 726"/>
              <a:gd name="T90" fmla="*/ 472 w 726"/>
              <a:gd name="T91" fmla="*/ 318 h 726"/>
              <a:gd name="T92" fmla="*/ 484 w 726"/>
              <a:gd name="T93" fmla="*/ 342 h 726"/>
              <a:gd name="T94" fmla="*/ 478 w 726"/>
              <a:gd name="T95" fmla="*/ 368 h 726"/>
              <a:gd name="T96" fmla="*/ 506 w 726"/>
              <a:gd name="T97" fmla="*/ 364 h 726"/>
              <a:gd name="T98" fmla="*/ 490 w 726"/>
              <a:gd name="T99" fmla="*/ 340 h 726"/>
              <a:gd name="T100" fmla="*/ 506 w 726"/>
              <a:gd name="T101" fmla="*/ 292 h 726"/>
              <a:gd name="T102" fmla="*/ 490 w 726"/>
              <a:gd name="T103" fmla="*/ 276 h 726"/>
              <a:gd name="T104" fmla="*/ 476 w 726"/>
              <a:gd name="T105" fmla="*/ 298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8" y="510"/>
                </a:moveTo>
                <a:lnTo>
                  <a:pt x="528" y="510"/>
                </a:lnTo>
                <a:lnTo>
                  <a:pt x="520" y="512"/>
                </a:lnTo>
                <a:lnTo>
                  <a:pt x="512" y="512"/>
                </a:lnTo>
                <a:lnTo>
                  <a:pt x="496" y="508"/>
                </a:lnTo>
                <a:lnTo>
                  <a:pt x="482" y="500"/>
                </a:lnTo>
                <a:lnTo>
                  <a:pt x="466" y="486"/>
                </a:lnTo>
                <a:lnTo>
                  <a:pt x="452" y="470"/>
                </a:lnTo>
                <a:lnTo>
                  <a:pt x="440" y="450"/>
                </a:lnTo>
                <a:lnTo>
                  <a:pt x="428" y="428"/>
                </a:lnTo>
                <a:lnTo>
                  <a:pt x="418" y="402"/>
                </a:lnTo>
                <a:lnTo>
                  <a:pt x="308" y="402"/>
                </a:lnTo>
                <a:lnTo>
                  <a:pt x="298" y="428"/>
                </a:lnTo>
                <a:lnTo>
                  <a:pt x="286" y="450"/>
                </a:lnTo>
                <a:lnTo>
                  <a:pt x="274" y="470"/>
                </a:lnTo>
                <a:lnTo>
                  <a:pt x="260" y="486"/>
                </a:lnTo>
                <a:lnTo>
                  <a:pt x="244" y="500"/>
                </a:lnTo>
                <a:lnTo>
                  <a:pt x="230" y="508"/>
                </a:lnTo>
                <a:lnTo>
                  <a:pt x="214" y="512"/>
                </a:lnTo>
                <a:lnTo>
                  <a:pt x="206" y="512"/>
                </a:lnTo>
                <a:lnTo>
                  <a:pt x="198" y="510"/>
                </a:lnTo>
                <a:lnTo>
                  <a:pt x="190" y="508"/>
                </a:lnTo>
                <a:lnTo>
                  <a:pt x="184" y="504"/>
                </a:lnTo>
                <a:lnTo>
                  <a:pt x="176" y="498"/>
                </a:lnTo>
                <a:lnTo>
                  <a:pt x="170" y="492"/>
                </a:lnTo>
                <a:lnTo>
                  <a:pt x="160" y="474"/>
                </a:lnTo>
                <a:lnTo>
                  <a:pt x="152" y="454"/>
                </a:lnTo>
                <a:lnTo>
                  <a:pt x="148" y="428"/>
                </a:lnTo>
                <a:lnTo>
                  <a:pt x="146" y="400"/>
                </a:lnTo>
                <a:lnTo>
                  <a:pt x="148" y="370"/>
                </a:lnTo>
                <a:lnTo>
                  <a:pt x="152" y="338"/>
                </a:lnTo>
                <a:lnTo>
                  <a:pt x="152" y="326"/>
                </a:lnTo>
                <a:lnTo>
                  <a:pt x="154" y="310"/>
                </a:lnTo>
                <a:lnTo>
                  <a:pt x="158" y="292"/>
                </a:lnTo>
                <a:lnTo>
                  <a:pt x="166" y="278"/>
                </a:lnTo>
                <a:lnTo>
                  <a:pt x="176" y="266"/>
                </a:lnTo>
                <a:lnTo>
                  <a:pt x="190" y="254"/>
                </a:lnTo>
                <a:lnTo>
                  <a:pt x="204" y="246"/>
                </a:lnTo>
                <a:lnTo>
                  <a:pt x="220" y="242"/>
                </a:lnTo>
                <a:lnTo>
                  <a:pt x="238" y="240"/>
                </a:lnTo>
                <a:lnTo>
                  <a:pt x="252" y="242"/>
                </a:lnTo>
                <a:lnTo>
                  <a:pt x="266" y="244"/>
                </a:lnTo>
                <a:lnTo>
                  <a:pt x="278" y="250"/>
                </a:lnTo>
                <a:lnTo>
                  <a:pt x="290" y="258"/>
                </a:lnTo>
                <a:lnTo>
                  <a:pt x="316" y="252"/>
                </a:lnTo>
                <a:lnTo>
                  <a:pt x="344" y="248"/>
                </a:lnTo>
                <a:lnTo>
                  <a:pt x="340" y="232"/>
                </a:lnTo>
                <a:lnTo>
                  <a:pt x="338" y="210"/>
                </a:lnTo>
                <a:lnTo>
                  <a:pt x="340" y="192"/>
                </a:lnTo>
                <a:lnTo>
                  <a:pt x="342" y="178"/>
                </a:lnTo>
                <a:lnTo>
                  <a:pt x="348" y="166"/>
                </a:lnTo>
                <a:lnTo>
                  <a:pt x="352" y="154"/>
                </a:lnTo>
                <a:lnTo>
                  <a:pt x="362" y="138"/>
                </a:lnTo>
                <a:lnTo>
                  <a:pt x="364" y="132"/>
                </a:lnTo>
                <a:lnTo>
                  <a:pt x="366" y="124"/>
                </a:lnTo>
                <a:lnTo>
                  <a:pt x="368" y="120"/>
                </a:lnTo>
                <a:lnTo>
                  <a:pt x="370" y="116"/>
                </a:lnTo>
                <a:lnTo>
                  <a:pt x="376" y="114"/>
                </a:lnTo>
                <a:lnTo>
                  <a:pt x="380" y="114"/>
                </a:lnTo>
                <a:lnTo>
                  <a:pt x="384" y="116"/>
                </a:lnTo>
                <a:lnTo>
                  <a:pt x="388" y="118"/>
                </a:lnTo>
                <a:lnTo>
                  <a:pt x="390" y="124"/>
                </a:lnTo>
                <a:lnTo>
                  <a:pt x="390" y="128"/>
                </a:lnTo>
                <a:lnTo>
                  <a:pt x="388" y="140"/>
                </a:lnTo>
                <a:lnTo>
                  <a:pt x="384" y="150"/>
                </a:lnTo>
                <a:lnTo>
                  <a:pt x="374" y="166"/>
                </a:lnTo>
                <a:lnTo>
                  <a:pt x="370" y="176"/>
                </a:lnTo>
                <a:lnTo>
                  <a:pt x="366" y="184"/>
                </a:lnTo>
                <a:lnTo>
                  <a:pt x="364" y="196"/>
                </a:lnTo>
                <a:lnTo>
                  <a:pt x="364" y="210"/>
                </a:lnTo>
                <a:lnTo>
                  <a:pt x="364" y="222"/>
                </a:lnTo>
                <a:lnTo>
                  <a:pt x="366" y="232"/>
                </a:lnTo>
                <a:lnTo>
                  <a:pt x="372" y="248"/>
                </a:lnTo>
                <a:lnTo>
                  <a:pt x="404" y="250"/>
                </a:lnTo>
                <a:lnTo>
                  <a:pt x="436" y="258"/>
                </a:lnTo>
                <a:lnTo>
                  <a:pt x="448" y="250"/>
                </a:lnTo>
                <a:lnTo>
                  <a:pt x="460" y="244"/>
                </a:lnTo>
                <a:lnTo>
                  <a:pt x="474" y="242"/>
                </a:lnTo>
                <a:lnTo>
                  <a:pt x="488" y="240"/>
                </a:lnTo>
                <a:lnTo>
                  <a:pt x="506" y="242"/>
                </a:lnTo>
                <a:lnTo>
                  <a:pt x="522" y="246"/>
                </a:lnTo>
                <a:lnTo>
                  <a:pt x="536" y="254"/>
                </a:lnTo>
                <a:lnTo>
                  <a:pt x="550" y="266"/>
                </a:lnTo>
                <a:lnTo>
                  <a:pt x="560" y="278"/>
                </a:lnTo>
                <a:lnTo>
                  <a:pt x="568" y="292"/>
                </a:lnTo>
                <a:lnTo>
                  <a:pt x="572" y="310"/>
                </a:lnTo>
                <a:lnTo>
                  <a:pt x="574" y="326"/>
                </a:lnTo>
                <a:lnTo>
                  <a:pt x="574" y="338"/>
                </a:lnTo>
                <a:lnTo>
                  <a:pt x="578" y="370"/>
                </a:lnTo>
                <a:lnTo>
                  <a:pt x="580" y="400"/>
                </a:lnTo>
                <a:lnTo>
                  <a:pt x="578" y="428"/>
                </a:lnTo>
                <a:lnTo>
                  <a:pt x="574" y="454"/>
                </a:lnTo>
                <a:lnTo>
                  <a:pt x="566" y="474"/>
                </a:lnTo>
                <a:lnTo>
                  <a:pt x="556" y="492"/>
                </a:lnTo>
                <a:lnTo>
                  <a:pt x="550" y="498"/>
                </a:lnTo>
                <a:lnTo>
                  <a:pt x="542" y="504"/>
                </a:lnTo>
                <a:lnTo>
                  <a:pt x="536" y="508"/>
                </a:lnTo>
                <a:lnTo>
                  <a:pt x="528" y="510"/>
                </a:lnTo>
                <a:close/>
                <a:moveTo>
                  <a:pt x="270" y="312"/>
                </a:moveTo>
                <a:lnTo>
                  <a:pt x="252" y="312"/>
                </a:lnTo>
                <a:lnTo>
                  <a:pt x="252" y="292"/>
                </a:lnTo>
                <a:lnTo>
                  <a:pt x="250" y="288"/>
                </a:lnTo>
                <a:lnTo>
                  <a:pt x="248" y="284"/>
                </a:lnTo>
                <a:lnTo>
                  <a:pt x="244" y="280"/>
                </a:lnTo>
                <a:lnTo>
                  <a:pt x="238" y="280"/>
                </a:lnTo>
                <a:lnTo>
                  <a:pt x="234" y="280"/>
                </a:lnTo>
                <a:lnTo>
                  <a:pt x="230" y="284"/>
                </a:lnTo>
                <a:lnTo>
                  <a:pt x="226" y="288"/>
                </a:lnTo>
                <a:lnTo>
                  <a:pt x="226" y="292"/>
                </a:lnTo>
                <a:lnTo>
                  <a:pt x="226" y="312"/>
                </a:lnTo>
                <a:lnTo>
                  <a:pt x="206" y="312"/>
                </a:lnTo>
                <a:lnTo>
                  <a:pt x="202" y="312"/>
                </a:lnTo>
                <a:lnTo>
                  <a:pt x="198" y="316"/>
                </a:lnTo>
                <a:lnTo>
                  <a:pt x="194" y="320"/>
                </a:lnTo>
                <a:lnTo>
                  <a:pt x="194" y="324"/>
                </a:lnTo>
                <a:lnTo>
                  <a:pt x="194" y="330"/>
                </a:lnTo>
                <a:lnTo>
                  <a:pt x="198" y="334"/>
                </a:lnTo>
                <a:lnTo>
                  <a:pt x="202" y="336"/>
                </a:lnTo>
                <a:lnTo>
                  <a:pt x="206" y="338"/>
                </a:lnTo>
                <a:lnTo>
                  <a:pt x="226" y="338"/>
                </a:lnTo>
                <a:lnTo>
                  <a:pt x="226" y="356"/>
                </a:lnTo>
                <a:lnTo>
                  <a:pt x="226" y="362"/>
                </a:lnTo>
                <a:lnTo>
                  <a:pt x="230" y="366"/>
                </a:lnTo>
                <a:lnTo>
                  <a:pt x="234" y="368"/>
                </a:lnTo>
                <a:lnTo>
                  <a:pt x="238" y="370"/>
                </a:lnTo>
                <a:lnTo>
                  <a:pt x="244" y="368"/>
                </a:lnTo>
                <a:lnTo>
                  <a:pt x="248" y="366"/>
                </a:lnTo>
                <a:lnTo>
                  <a:pt x="250" y="362"/>
                </a:lnTo>
                <a:lnTo>
                  <a:pt x="252" y="356"/>
                </a:lnTo>
                <a:lnTo>
                  <a:pt x="252" y="338"/>
                </a:lnTo>
                <a:lnTo>
                  <a:pt x="270" y="338"/>
                </a:lnTo>
                <a:lnTo>
                  <a:pt x="276" y="336"/>
                </a:lnTo>
                <a:lnTo>
                  <a:pt x="280" y="334"/>
                </a:lnTo>
                <a:lnTo>
                  <a:pt x="282" y="330"/>
                </a:lnTo>
                <a:lnTo>
                  <a:pt x="284" y="324"/>
                </a:lnTo>
                <a:lnTo>
                  <a:pt x="282" y="320"/>
                </a:lnTo>
                <a:lnTo>
                  <a:pt x="280" y="316"/>
                </a:lnTo>
                <a:lnTo>
                  <a:pt x="276" y="312"/>
                </a:lnTo>
                <a:lnTo>
                  <a:pt x="270" y="312"/>
                </a:lnTo>
                <a:close/>
                <a:moveTo>
                  <a:pt x="524" y="308"/>
                </a:moveTo>
                <a:lnTo>
                  <a:pt x="524" y="308"/>
                </a:lnTo>
                <a:lnTo>
                  <a:pt x="516" y="310"/>
                </a:lnTo>
                <a:lnTo>
                  <a:pt x="512" y="312"/>
                </a:lnTo>
                <a:lnTo>
                  <a:pt x="508" y="318"/>
                </a:lnTo>
                <a:lnTo>
                  <a:pt x="506" y="324"/>
                </a:lnTo>
                <a:lnTo>
                  <a:pt x="508" y="330"/>
                </a:lnTo>
                <a:lnTo>
                  <a:pt x="512" y="336"/>
                </a:lnTo>
                <a:lnTo>
                  <a:pt x="516" y="340"/>
                </a:lnTo>
                <a:lnTo>
                  <a:pt x="524" y="340"/>
                </a:lnTo>
                <a:lnTo>
                  <a:pt x="530" y="340"/>
                </a:lnTo>
                <a:lnTo>
                  <a:pt x="534" y="336"/>
                </a:lnTo>
                <a:lnTo>
                  <a:pt x="538" y="330"/>
                </a:lnTo>
                <a:lnTo>
                  <a:pt x="540" y="324"/>
                </a:lnTo>
                <a:lnTo>
                  <a:pt x="538" y="318"/>
                </a:lnTo>
                <a:lnTo>
                  <a:pt x="534" y="312"/>
                </a:lnTo>
                <a:lnTo>
                  <a:pt x="530" y="310"/>
                </a:lnTo>
                <a:lnTo>
                  <a:pt x="524" y="308"/>
                </a:lnTo>
                <a:close/>
                <a:moveTo>
                  <a:pt x="458" y="308"/>
                </a:moveTo>
                <a:lnTo>
                  <a:pt x="458" y="308"/>
                </a:lnTo>
                <a:lnTo>
                  <a:pt x="452" y="310"/>
                </a:lnTo>
                <a:lnTo>
                  <a:pt x="446" y="312"/>
                </a:lnTo>
                <a:lnTo>
                  <a:pt x="442" y="318"/>
                </a:lnTo>
                <a:lnTo>
                  <a:pt x="442" y="324"/>
                </a:lnTo>
                <a:lnTo>
                  <a:pt x="442" y="330"/>
                </a:lnTo>
                <a:lnTo>
                  <a:pt x="446" y="336"/>
                </a:lnTo>
                <a:lnTo>
                  <a:pt x="452" y="340"/>
                </a:lnTo>
                <a:lnTo>
                  <a:pt x="458" y="340"/>
                </a:lnTo>
                <a:lnTo>
                  <a:pt x="464" y="340"/>
                </a:lnTo>
                <a:lnTo>
                  <a:pt x="470" y="336"/>
                </a:lnTo>
                <a:lnTo>
                  <a:pt x="472" y="330"/>
                </a:lnTo>
                <a:lnTo>
                  <a:pt x="474" y="324"/>
                </a:lnTo>
                <a:lnTo>
                  <a:pt x="472" y="318"/>
                </a:lnTo>
                <a:lnTo>
                  <a:pt x="470" y="312"/>
                </a:lnTo>
                <a:lnTo>
                  <a:pt x="464" y="310"/>
                </a:lnTo>
                <a:lnTo>
                  <a:pt x="458" y="308"/>
                </a:lnTo>
                <a:close/>
                <a:moveTo>
                  <a:pt x="490" y="340"/>
                </a:moveTo>
                <a:lnTo>
                  <a:pt x="490" y="340"/>
                </a:lnTo>
                <a:lnTo>
                  <a:pt x="484" y="342"/>
                </a:lnTo>
                <a:lnTo>
                  <a:pt x="478" y="346"/>
                </a:lnTo>
                <a:lnTo>
                  <a:pt x="476" y="350"/>
                </a:lnTo>
                <a:lnTo>
                  <a:pt x="474" y="356"/>
                </a:lnTo>
                <a:lnTo>
                  <a:pt x="476" y="364"/>
                </a:lnTo>
                <a:lnTo>
                  <a:pt x="478" y="368"/>
                </a:lnTo>
                <a:lnTo>
                  <a:pt x="484" y="372"/>
                </a:lnTo>
                <a:lnTo>
                  <a:pt x="490" y="374"/>
                </a:lnTo>
                <a:lnTo>
                  <a:pt x="496" y="372"/>
                </a:lnTo>
                <a:lnTo>
                  <a:pt x="502" y="368"/>
                </a:lnTo>
                <a:lnTo>
                  <a:pt x="506" y="364"/>
                </a:lnTo>
                <a:lnTo>
                  <a:pt x="506" y="356"/>
                </a:lnTo>
                <a:lnTo>
                  <a:pt x="506" y="350"/>
                </a:lnTo>
                <a:lnTo>
                  <a:pt x="502" y="346"/>
                </a:lnTo>
                <a:lnTo>
                  <a:pt x="496" y="342"/>
                </a:lnTo>
                <a:lnTo>
                  <a:pt x="490" y="340"/>
                </a:lnTo>
                <a:close/>
                <a:moveTo>
                  <a:pt x="490" y="308"/>
                </a:moveTo>
                <a:lnTo>
                  <a:pt x="490" y="308"/>
                </a:lnTo>
                <a:lnTo>
                  <a:pt x="496" y="306"/>
                </a:lnTo>
                <a:lnTo>
                  <a:pt x="502" y="304"/>
                </a:lnTo>
                <a:lnTo>
                  <a:pt x="506" y="298"/>
                </a:lnTo>
                <a:lnTo>
                  <a:pt x="506" y="292"/>
                </a:lnTo>
                <a:lnTo>
                  <a:pt x="506" y="286"/>
                </a:lnTo>
                <a:lnTo>
                  <a:pt x="502" y="280"/>
                </a:lnTo>
                <a:lnTo>
                  <a:pt x="496" y="276"/>
                </a:lnTo>
                <a:lnTo>
                  <a:pt x="490" y="276"/>
                </a:lnTo>
                <a:lnTo>
                  <a:pt x="484" y="276"/>
                </a:lnTo>
                <a:lnTo>
                  <a:pt x="478" y="280"/>
                </a:lnTo>
                <a:lnTo>
                  <a:pt x="476" y="286"/>
                </a:lnTo>
                <a:lnTo>
                  <a:pt x="474" y="292"/>
                </a:lnTo>
                <a:lnTo>
                  <a:pt x="476" y="298"/>
                </a:lnTo>
                <a:lnTo>
                  <a:pt x="478" y="304"/>
                </a:lnTo>
                <a:lnTo>
                  <a:pt x="484" y="306"/>
                </a:lnTo>
                <a:lnTo>
                  <a:pt x="490" y="3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1" name="Freeform 146"/>
          <p:cNvSpPr>
            <a:spLocks noEditPoints="1"/>
          </p:cNvSpPr>
          <p:nvPr userDrawn="1"/>
        </p:nvSpPr>
        <p:spPr bwMode="auto">
          <a:xfrm>
            <a:off x="5529423" y="3967485"/>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62 w 724"/>
              <a:gd name="T47" fmla="*/ 240 h 726"/>
              <a:gd name="T48" fmla="*/ 272 w 724"/>
              <a:gd name="T49" fmla="*/ 286 h 726"/>
              <a:gd name="T50" fmla="*/ 186 w 724"/>
              <a:gd name="T51" fmla="*/ 554 h 726"/>
              <a:gd name="T52" fmla="*/ 334 w 724"/>
              <a:gd name="T53" fmla="*/ 340 h 726"/>
              <a:gd name="T54" fmla="*/ 302 w 724"/>
              <a:gd name="T55" fmla="*/ 340 h 726"/>
              <a:gd name="T56" fmla="*/ 280 w 724"/>
              <a:gd name="T57" fmla="*/ 318 h 726"/>
              <a:gd name="T58" fmla="*/ 466 w 724"/>
              <a:gd name="T59" fmla="*/ 182 h 726"/>
              <a:gd name="T60" fmla="*/ 438 w 724"/>
              <a:gd name="T61" fmla="*/ 164 h 726"/>
              <a:gd name="T62" fmla="*/ 402 w 724"/>
              <a:gd name="T63" fmla="*/ 206 h 726"/>
              <a:gd name="T64" fmla="*/ 374 w 724"/>
              <a:gd name="T65" fmla="*/ 188 h 726"/>
              <a:gd name="T66" fmla="*/ 514 w 724"/>
              <a:gd name="T67" fmla="*/ 312 h 726"/>
              <a:gd name="T68" fmla="*/ 514 w 724"/>
              <a:gd name="T69" fmla="*/ 340 h 726"/>
              <a:gd name="T70" fmla="*/ 438 w 724"/>
              <a:gd name="T71" fmla="*/ 340 h 726"/>
              <a:gd name="T72" fmla="*/ 422 w 724"/>
              <a:gd name="T73" fmla="*/ 312 h 726"/>
              <a:gd name="T74" fmla="*/ 402 w 724"/>
              <a:gd name="T75" fmla="*/ 340 h 726"/>
              <a:gd name="T76" fmla="*/ 338 w 724"/>
              <a:gd name="T77" fmla="*/ 230 h 726"/>
              <a:gd name="T78" fmla="*/ 310 w 724"/>
              <a:gd name="T79" fmla="*/ 212 h 726"/>
              <a:gd name="T80" fmla="*/ 514 w 724"/>
              <a:gd name="T81" fmla="*/ 528 h 726"/>
              <a:gd name="T82" fmla="*/ 212 w 724"/>
              <a:gd name="T83" fmla="*/ 528 h 726"/>
              <a:gd name="T84" fmla="*/ 470 w 724"/>
              <a:gd name="T85" fmla="*/ 402 h 726"/>
              <a:gd name="T86" fmla="*/ 484 w 724"/>
              <a:gd name="T87" fmla="*/ 410 h 726"/>
              <a:gd name="T88" fmla="*/ 484 w 724"/>
              <a:gd name="T89" fmla="*/ 420 h 726"/>
              <a:gd name="T90" fmla="*/ 470 w 724"/>
              <a:gd name="T91" fmla="*/ 428 h 726"/>
              <a:gd name="T92" fmla="*/ 250 w 724"/>
              <a:gd name="T93" fmla="*/ 426 h 726"/>
              <a:gd name="T94" fmla="*/ 242 w 724"/>
              <a:gd name="T95" fmla="*/ 414 h 726"/>
              <a:gd name="T96" fmla="*/ 246 w 724"/>
              <a:gd name="T97" fmla="*/ 406 h 726"/>
              <a:gd name="T98" fmla="*/ 256 w 724"/>
              <a:gd name="T99" fmla="*/ 466 h 726"/>
              <a:gd name="T100" fmla="*/ 476 w 724"/>
              <a:gd name="T101" fmla="*/ 468 h 726"/>
              <a:gd name="T102" fmla="*/ 484 w 724"/>
              <a:gd name="T103" fmla="*/ 480 h 726"/>
              <a:gd name="T104" fmla="*/ 480 w 724"/>
              <a:gd name="T105" fmla="*/ 490 h 726"/>
              <a:gd name="T106" fmla="*/ 256 w 724"/>
              <a:gd name="T107" fmla="*/ 492 h 726"/>
              <a:gd name="T108" fmla="*/ 246 w 724"/>
              <a:gd name="T109" fmla="*/ 490 h 726"/>
              <a:gd name="T110" fmla="*/ 242 w 724"/>
              <a:gd name="T111" fmla="*/ 480 h 726"/>
              <a:gd name="T112" fmla="*/ 250 w 724"/>
              <a:gd name="T113" fmla="*/ 468 h 726"/>
              <a:gd name="T114" fmla="*/ 308 w 724"/>
              <a:gd name="T115" fmla="*/ 242 h 726"/>
              <a:gd name="T116" fmla="*/ 246 w 724"/>
              <a:gd name="T117" fmla="*/ 236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186" y="554"/>
                </a:moveTo>
                <a:lnTo>
                  <a:pt x="186" y="300"/>
                </a:lnTo>
                <a:lnTo>
                  <a:pt x="162" y="240"/>
                </a:lnTo>
                <a:lnTo>
                  <a:pt x="494" y="112"/>
                </a:lnTo>
                <a:lnTo>
                  <a:pt x="522" y="190"/>
                </a:lnTo>
                <a:lnTo>
                  <a:pt x="272" y="286"/>
                </a:lnTo>
                <a:lnTo>
                  <a:pt x="540" y="286"/>
                </a:lnTo>
                <a:lnTo>
                  <a:pt x="540" y="554"/>
                </a:lnTo>
                <a:lnTo>
                  <a:pt x="186" y="554"/>
                </a:lnTo>
                <a:close/>
                <a:moveTo>
                  <a:pt x="388" y="312"/>
                </a:moveTo>
                <a:lnTo>
                  <a:pt x="354" y="312"/>
                </a:lnTo>
                <a:lnTo>
                  <a:pt x="334" y="340"/>
                </a:lnTo>
                <a:lnTo>
                  <a:pt x="370" y="340"/>
                </a:lnTo>
                <a:lnTo>
                  <a:pt x="388" y="312"/>
                </a:lnTo>
                <a:close/>
                <a:moveTo>
                  <a:pt x="302" y="340"/>
                </a:moveTo>
                <a:lnTo>
                  <a:pt x="320" y="312"/>
                </a:lnTo>
                <a:lnTo>
                  <a:pt x="286" y="312"/>
                </a:lnTo>
                <a:lnTo>
                  <a:pt x="280" y="318"/>
                </a:lnTo>
                <a:lnTo>
                  <a:pt x="266" y="340"/>
                </a:lnTo>
                <a:lnTo>
                  <a:pt x="302" y="340"/>
                </a:lnTo>
                <a:close/>
                <a:moveTo>
                  <a:pt x="466" y="182"/>
                </a:moveTo>
                <a:lnTo>
                  <a:pt x="488" y="174"/>
                </a:lnTo>
                <a:lnTo>
                  <a:pt x="478" y="148"/>
                </a:lnTo>
                <a:lnTo>
                  <a:pt x="438" y="164"/>
                </a:lnTo>
                <a:lnTo>
                  <a:pt x="466" y="182"/>
                </a:lnTo>
                <a:close/>
                <a:moveTo>
                  <a:pt x="402" y="206"/>
                </a:moveTo>
                <a:lnTo>
                  <a:pt x="436" y="194"/>
                </a:lnTo>
                <a:lnTo>
                  <a:pt x="408" y="174"/>
                </a:lnTo>
                <a:lnTo>
                  <a:pt x="374" y="188"/>
                </a:lnTo>
                <a:lnTo>
                  <a:pt x="378" y="190"/>
                </a:lnTo>
                <a:lnTo>
                  <a:pt x="402" y="206"/>
                </a:lnTo>
                <a:close/>
                <a:moveTo>
                  <a:pt x="514" y="312"/>
                </a:moveTo>
                <a:lnTo>
                  <a:pt x="490" y="312"/>
                </a:lnTo>
                <a:lnTo>
                  <a:pt x="470" y="340"/>
                </a:lnTo>
                <a:lnTo>
                  <a:pt x="514" y="340"/>
                </a:lnTo>
                <a:lnTo>
                  <a:pt x="514" y="312"/>
                </a:lnTo>
                <a:close/>
                <a:moveTo>
                  <a:pt x="438" y="340"/>
                </a:moveTo>
                <a:lnTo>
                  <a:pt x="438" y="340"/>
                </a:lnTo>
                <a:lnTo>
                  <a:pt x="446" y="326"/>
                </a:lnTo>
                <a:lnTo>
                  <a:pt x="458" y="312"/>
                </a:lnTo>
                <a:lnTo>
                  <a:pt x="422" y="312"/>
                </a:lnTo>
                <a:lnTo>
                  <a:pt x="402" y="340"/>
                </a:lnTo>
                <a:lnTo>
                  <a:pt x="438" y="340"/>
                </a:lnTo>
                <a:close/>
                <a:moveTo>
                  <a:pt x="338" y="230"/>
                </a:moveTo>
                <a:lnTo>
                  <a:pt x="372" y="218"/>
                </a:lnTo>
                <a:lnTo>
                  <a:pt x="344" y="200"/>
                </a:lnTo>
                <a:lnTo>
                  <a:pt x="310" y="212"/>
                </a:lnTo>
                <a:lnTo>
                  <a:pt x="338" y="230"/>
                </a:lnTo>
                <a:close/>
                <a:moveTo>
                  <a:pt x="212" y="528"/>
                </a:moveTo>
                <a:lnTo>
                  <a:pt x="514" y="528"/>
                </a:lnTo>
                <a:lnTo>
                  <a:pt x="514" y="366"/>
                </a:lnTo>
                <a:lnTo>
                  <a:pt x="212" y="366"/>
                </a:lnTo>
                <a:lnTo>
                  <a:pt x="212" y="528"/>
                </a:lnTo>
                <a:close/>
                <a:moveTo>
                  <a:pt x="256" y="402"/>
                </a:moveTo>
                <a:lnTo>
                  <a:pt x="470" y="402"/>
                </a:lnTo>
                <a:lnTo>
                  <a:pt x="476" y="402"/>
                </a:lnTo>
                <a:lnTo>
                  <a:pt x="480" y="406"/>
                </a:lnTo>
                <a:lnTo>
                  <a:pt x="484" y="410"/>
                </a:lnTo>
                <a:lnTo>
                  <a:pt x="484" y="414"/>
                </a:lnTo>
                <a:lnTo>
                  <a:pt x="484" y="420"/>
                </a:lnTo>
                <a:lnTo>
                  <a:pt x="480" y="424"/>
                </a:lnTo>
                <a:lnTo>
                  <a:pt x="476" y="426"/>
                </a:lnTo>
                <a:lnTo>
                  <a:pt x="470" y="428"/>
                </a:lnTo>
                <a:lnTo>
                  <a:pt x="256" y="428"/>
                </a:lnTo>
                <a:lnTo>
                  <a:pt x="250" y="426"/>
                </a:lnTo>
                <a:lnTo>
                  <a:pt x="246" y="424"/>
                </a:lnTo>
                <a:lnTo>
                  <a:pt x="242" y="420"/>
                </a:lnTo>
                <a:lnTo>
                  <a:pt x="242" y="414"/>
                </a:lnTo>
                <a:lnTo>
                  <a:pt x="242" y="410"/>
                </a:lnTo>
                <a:lnTo>
                  <a:pt x="246" y="406"/>
                </a:lnTo>
                <a:lnTo>
                  <a:pt x="250" y="402"/>
                </a:lnTo>
                <a:lnTo>
                  <a:pt x="256" y="402"/>
                </a:lnTo>
                <a:close/>
                <a:moveTo>
                  <a:pt x="256" y="466"/>
                </a:moveTo>
                <a:lnTo>
                  <a:pt x="470" y="466"/>
                </a:lnTo>
                <a:lnTo>
                  <a:pt x="476" y="468"/>
                </a:lnTo>
                <a:lnTo>
                  <a:pt x="480" y="470"/>
                </a:lnTo>
                <a:lnTo>
                  <a:pt x="484" y="474"/>
                </a:lnTo>
                <a:lnTo>
                  <a:pt x="484" y="480"/>
                </a:lnTo>
                <a:lnTo>
                  <a:pt x="484" y="484"/>
                </a:lnTo>
                <a:lnTo>
                  <a:pt x="480" y="490"/>
                </a:lnTo>
                <a:lnTo>
                  <a:pt x="476" y="492"/>
                </a:lnTo>
                <a:lnTo>
                  <a:pt x="470" y="492"/>
                </a:lnTo>
                <a:lnTo>
                  <a:pt x="256" y="492"/>
                </a:lnTo>
                <a:lnTo>
                  <a:pt x="250" y="492"/>
                </a:lnTo>
                <a:lnTo>
                  <a:pt x="246" y="490"/>
                </a:lnTo>
                <a:lnTo>
                  <a:pt x="242" y="484"/>
                </a:lnTo>
                <a:lnTo>
                  <a:pt x="242" y="480"/>
                </a:lnTo>
                <a:lnTo>
                  <a:pt x="242" y="474"/>
                </a:lnTo>
                <a:lnTo>
                  <a:pt x="246" y="470"/>
                </a:lnTo>
                <a:lnTo>
                  <a:pt x="250" y="468"/>
                </a:lnTo>
                <a:lnTo>
                  <a:pt x="256" y="466"/>
                </a:lnTo>
                <a:close/>
                <a:moveTo>
                  <a:pt x="274" y="256"/>
                </a:moveTo>
                <a:lnTo>
                  <a:pt x="308" y="242"/>
                </a:lnTo>
                <a:lnTo>
                  <a:pt x="298" y="236"/>
                </a:lnTo>
                <a:lnTo>
                  <a:pt x="280" y="224"/>
                </a:lnTo>
                <a:lnTo>
                  <a:pt x="246" y="236"/>
                </a:lnTo>
                <a:lnTo>
                  <a:pt x="256" y="242"/>
                </a:lnTo>
                <a:lnTo>
                  <a:pt x="274" y="25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2" name="Freeform 160"/>
          <p:cNvSpPr>
            <a:spLocks noEditPoints="1"/>
          </p:cNvSpPr>
          <p:nvPr userDrawn="1"/>
        </p:nvSpPr>
        <p:spPr bwMode="auto">
          <a:xfrm>
            <a:off x="1587345"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496 w 726"/>
              <a:gd name="T47" fmla="*/ 460 h 726"/>
              <a:gd name="T48" fmla="*/ 490 w 726"/>
              <a:gd name="T49" fmla="*/ 486 h 726"/>
              <a:gd name="T50" fmla="*/ 468 w 726"/>
              <a:gd name="T51" fmla="*/ 510 h 726"/>
              <a:gd name="T52" fmla="*/ 436 w 726"/>
              <a:gd name="T53" fmla="*/ 516 h 726"/>
              <a:gd name="T54" fmla="*/ 412 w 726"/>
              <a:gd name="T55" fmla="*/ 512 h 726"/>
              <a:gd name="T56" fmla="*/ 388 w 726"/>
              <a:gd name="T57" fmla="*/ 488 h 726"/>
              <a:gd name="T58" fmla="*/ 382 w 726"/>
              <a:gd name="T59" fmla="*/ 456 h 726"/>
              <a:gd name="T60" fmla="*/ 386 w 726"/>
              <a:gd name="T61" fmla="*/ 434 h 726"/>
              <a:gd name="T62" fmla="*/ 408 w 726"/>
              <a:gd name="T63" fmla="*/ 410 h 726"/>
              <a:gd name="T64" fmla="*/ 438 w 726"/>
              <a:gd name="T65" fmla="*/ 402 h 726"/>
              <a:gd name="T66" fmla="*/ 458 w 726"/>
              <a:gd name="T67" fmla="*/ 268 h 726"/>
              <a:gd name="T68" fmla="*/ 306 w 726"/>
              <a:gd name="T69" fmla="*/ 500 h 726"/>
              <a:gd name="T70" fmla="*/ 300 w 726"/>
              <a:gd name="T71" fmla="*/ 522 h 726"/>
              <a:gd name="T72" fmla="*/ 286 w 726"/>
              <a:gd name="T73" fmla="*/ 540 h 726"/>
              <a:gd name="T74" fmla="*/ 256 w 726"/>
              <a:gd name="T75" fmla="*/ 554 h 726"/>
              <a:gd name="T76" fmla="*/ 222 w 726"/>
              <a:gd name="T77" fmla="*/ 548 h 726"/>
              <a:gd name="T78" fmla="*/ 204 w 726"/>
              <a:gd name="T79" fmla="*/ 534 h 726"/>
              <a:gd name="T80" fmla="*/ 190 w 726"/>
              <a:gd name="T81" fmla="*/ 504 h 726"/>
              <a:gd name="T82" fmla="*/ 196 w 726"/>
              <a:gd name="T83" fmla="*/ 472 h 726"/>
              <a:gd name="T84" fmla="*/ 208 w 726"/>
              <a:gd name="T85" fmla="*/ 454 h 726"/>
              <a:gd name="T86" fmla="*/ 236 w 726"/>
              <a:gd name="T87" fmla="*/ 440 h 726"/>
              <a:gd name="T88" fmla="*/ 266 w 726"/>
              <a:gd name="T89" fmla="*/ 442 h 726"/>
              <a:gd name="T90" fmla="*/ 496 w 726"/>
              <a:gd name="T91" fmla="*/ 46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96" y="460"/>
                </a:moveTo>
                <a:lnTo>
                  <a:pt x="496" y="460"/>
                </a:lnTo>
                <a:lnTo>
                  <a:pt x="494" y="472"/>
                </a:lnTo>
                <a:lnTo>
                  <a:pt x="490" y="486"/>
                </a:lnTo>
                <a:lnTo>
                  <a:pt x="484" y="494"/>
                </a:lnTo>
                <a:lnTo>
                  <a:pt x="476" y="504"/>
                </a:lnTo>
                <a:lnTo>
                  <a:pt x="468" y="510"/>
                </a:lnTo>
                <a:lnTo>
                  <a:pt x="456" y="514"/>
                </a:lnTo>
                <a:lnTo>
                  <a:pt x="446" y="516"/>
                </a:lnTo>
                <a:lnTo>
                  <a:pt x="436" y="516"/>
                </a:lnTo>
                <a:lnTo>
                  <a:pt x="424" y="516"/>
                </a:lnTo>
                <a:lnTo>
                  <a:pt x="412" y="512"/>
                </a:lnTo>
                <a:lnTo>
                  <a:pt x="404" y="504"/>
                </a:lnTo>
                <a:lnTo>
                  <a:pt x="394" y="498"/>
                </a:lnTo>
                <a:lnTo>
                  <a:pt x="388" y="488"/>
                </a:lnTo>
                <a:lnTo>
                  <a:pt x="384" y="478"/>
                </a:lnTo>
                <a:lnTo>
                  <a:pt x="382" y="468"/>
                </a:lnTo>
                <a:lnTo>
                  <a:pt x="382" y="456"/>
                </a:lnTo>
                <a:lnTo>
                  <a:pt x="382" y="444"/>
                </a:lnTo>
                <a:lnTo>
                  <a:pt x="386" y="434"/>
                </a:lnTo>
                <a:lnTo>
                  <a:pt x="392" y="424"/>
                </a:lnTo>
                <a:lnTo>
                  <a:pt x="400" y="416"/>
                </a:lnTo>
                <a:lnTo>
                  <a:pt x="408" y="410"/>
                </a:lnTo>
                <a:lnTo>
                  <a:pt x="418" y="406"/>
                </a:lnTo>
                <a:lnTo>
                  <a:pt x="428" y="404"/>
                </a:lnTo>
                <a:lnTo>
                  <a:pt x="438" y="402"/>
                </a:lnTo>
                <a:lnTo>
                  <a:pt x="448" y="402"/>
                </a:lnTo>
                <a:lnTo>
                  <a:pt x="458" y="406"/>
                </a:lnTo>
                <a:lnTo>
                  <a:pt x="458" y="268"/>
                </a:lnTo>
                <a:lnTo>
                  <a:pt x="306" y="298"/>
                </a:lnTo>
                <a:lnTo>
                  <a:pt x="306" y="496"/>
                </a:lnTo>
                <a:lnTo>
                  <a:pt x="306" y="500"/>
                </a:lnTo>
                <a:lnTo>
                  <a:pt x="304" y="512"/>
                </a:lnTo>
                <a:lnTo>
                  <a:pt x="300" y="522"/>
                </a:lnTo>
                <a:lnTo>
                  <a:pt x="292" y="532"/>
                </a:lnTo>
                <a:lnTo>
                  <a:pt x="286" y="540"/>
                </a:lnTo>
                <a:lnTo>
                  <a:pt x="276" y="546"/>
                </a:lnTo>
                <a:lnTo>
                  <a:pt x="266" y="552"/>
                </a:lnTo>
                <a:lnTo>
                  <a:pt x="256" y="554"/>
                </a:lnTo>
                <a:lnTo>
                  <a:pt x="244" y="554"/>
                </a:lnTo>
                <a:lnTo>
                  <a:pt x="232" y="552"/>
                </a:lnTo>
                <a:lnTo>
                  <a:pt x="222" y="548"/>
                </a:lnTo>
                <a:lnTo>
                  <a:pt x="212" y="542"/>
                </a:lnTo>
                <a:lnTo>
                  <a:pt x="204" y="534"/>
                </a:lnTo>
                <a:lnTo>
                  <a:pt x="198" y="526"/>
                </a:lnTo>
                <a:lnTo>
                  <a:pt x="192" y="516"/>
                </a:lnTo>
                <a:lnTo>
                  <a:pt x="190" y="504"/>
                </a:lnTo>
                <a:lnTo>
                  <a:pt x="190" y="494"/>
                </a:lnTo>
                <a:lnTo>
                  <a:pt x="192" y="482"/>
                </a:lnTo>
                <a:lnTo>
                  <a:pt x="196" y="472"/>
                </a:lnTo>
                <a:lnTo>
                  <a:pt x="202" y="462"/>
                </a:lnTo>
                <a:lnTo>
                  <a:pt x="208" y="454"/>
                </a:lnTo>
                <a:lnTo>
                  <a:pt x="216" y="448"/>
                </a:lnTo>
                <a:lnTo>
                  <a:pt x="226" y="444"/>
                </a:lnTo>
                <a:lnTo>
                  <a:pt x="236" y="440"/>
                </a:lnTo>
                <a:lnTo>
                  <a:pt x="246" y="438"/>
                </a:lnTo>
                <a:lnTo>
                  <a:pt x="256" y="440"/>
                </a:lnTo>
                <a:lnTo>
                  <a:pt x="266" y="442"/>
                </a:lnTo>
                <a:lnTo>
                  <a:pt x="266" y="212"/>
                </a:lnTo>
                <a:lnTo>
                  <a:pt x="496" y="172"/>
                </a:lnTo>
                <a:lnTo>
                  <a:pt x="496" y="46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3" name="Freeform 205"/>
          <p:cNvSpPr>
            <a:spLocks noEditPoints="1"/>
          </p:cNvSpPr>
          <p:nvPr userDrawn="1"/>
        </p:nvSpPr>
        <p:spPr bwMode="auto">
          <a:xfrm>
            <a:off x="684344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46 w 726"/>
              <a:gd name="T23" fmla="*/ 138 h 726"/>
              <a:gd name="T24" fmla="*/ 352 w 726"/>
              <a:gd name="T25" fmla="*/ 134 h 726"/>
              <a:gd name="T26" fmla="*/ 358 w 726"/>
              <a:gd name="T27" fmla="*/ 132 h 726"/>
              <a:gd name="T28" fmla="*/ 358 w 726"/>
              <a:gd name="T29" fmla="*/ 132 h 726"/>
              <a:gd name="T30" fmla="*/ 368 w 726"/>
              <a:gd name="T31" fmla="*/ 132 h 726"/>
              <a:gd name="T32" fmla="*/ 376 w 726"/>
              <a:gd name="T33" fmla="*/ 134 h 726"/>
              <a:gd name="T34" fmla="*/ 376 w 726"/>
              <a:gd name="T35" fmla="*/ 134 h 726"/>
              <a:gd name="T36" fmla="*/ 434 w 726"/>
              <a:gd name="T37" fmla="*/ 190 h 726"/>
              <a:gd name="T38" fmla="*/ 434 w 726"/>
              <a:gd name="T39" fmla="*/ 226 h 726"/>
              <a:gd name="T40" fmla="*/ 388 w 726"/>
              <a:gd name="T41" fmla="*/ 216 h 726"/>
              <a:gd name="T42" fmla="*/ 364 w 726"/>
              <a:gd name="T43" fmla="*/ 298 h 726"/>
              <a:gd name="T44" fmla="*/ 340 w 726"/>
              <a:gd name="T45" fmla="*/ 216 h 726"/>
              <a:gd name="T46" fmla="*/ 312 w 726"/>
              <a:gd name="T47" fmla="*/ 232 h 726"/>
              <a:gd name="T48" fmla="*/ 286 w 726"/>
              <a:gd name="T49" fmla="*/ 208 h 726"/>
              <a:gd name="T50" fmla="*/ 232 w 726"/>
              <a:gd name="T51" fmla="*/ 406 h 726"/>
              <a:gd name="T52" fmla="*/ 218 w 726"/>
              <a:gd name="T53" fmla="*/ 438 h 726"/>
              <a:gd name="T54" fmla="*/ 140 w 726"/>
              <a:gd name="T55" fmla="*/ 380 h 726"/>
              <a:gd name="T56" fmla="*/ 138 w 726"/>
              <a:gd name="T57" fmla="*/ 378 h 726"/>
              <a:gd name="T58" fmla="*/ 136 w 726"/>
              <a:gd name="T59" fmla="*/ 376 h 726"/>
              <a:gd name="T60" fmla="*/ 136 w 726"/>
              <a:gd name="T61" fmla="*/ 350 h 726"/>
              <a:gd name="T62" fmla="*/ 138 w 726"/>
              <a:gd name="T63" fmla="*/ 348 h 726"/>
              <a:gd name="T64" fmla="*/ 140 w 726"/>
              <a:gd name="T65" fmla="*/ 346 h 726"/>
              <a:gd name="T66" fmla="*/ 218 w 726"/>
              <a:gd name="T67" fmla="*/ 288 h 726"/>
              <a:gd name="T68" fmla="*/ 232 w 726"/>
              <a:gd name="T69" fmla="*/ 320 h 726"/>
              <a:gd name="T70" fmla="*/ 292 w 726"/>
              <a:gd name="T71" fmla="*/ 346 h 726"/>
              <a:gd name="T72" fmla="*/ 284 w 726"/>
              <a:gd name="T73" fmla="*/ 386 h 726"/>
              <a:gd name="T74" fmla="*/ 382 w 726"/>
              <a:gd name="T75" fmla="*/ 588 h 726"/>
              <a:gd name="T76" fmla="*/ 356 w 726"/>
              <a:gd name="T77" fmla="*/ 594 h 726"/>
              <a:gd name="T78" fmla="*/ 350 w 726"/>
              <a:gd name="T79" fmla="*/ 590 h 726"/>
              <a:gd name="T80" fmla="*/ 286 w 726"/>
              <a:gd name="T81" fmla="*/ 518 h 726"/>
              <a:gd name="T82" fmla="*/ 312 w 726"/>
              <a:gd name="T83" fmla="*/ 492 h 726"/>
              <a:gd name="T84" fmla="*/ 340 w 726"/>
              <a:gd name="T85" fmla="*/ 452 h 726"/>
              <a:gd name="T86" fmla="*/ 374 w 726"/>
              <a:gd name="T87" fmla="*/ 430 h 726"/>
              <a:gd name="T88" fmla="*/ 398 w 726"/>
              <a:gd name="T89" fmla="*/ 500 h 726"/>
              <a:gd name="T90" fmla="*/ 434 w 726"/>
              <a:gd name="T91" fmla="*/ 500 h 726"/>
              <a:gd name="T92" fmla="*/ 434 w 726"/>
              <a:gd name="T93" fmla="*/ 534 h 726"/>
              <a:gd name="T94" fmla="*/ 518 w 726"/>
              <a:gd name="T95" fmla="*/ 440 h 726"/>
              <a:gd name="T96" fmla="*/ 496 w 726"/>
              <a:gd name="T97" fmla="*/ 424 h 726"/>
              <a:gd name="T98" fmla="*/ 452 w 726"/>
              <a:gd name="T99" fmla="*/ 388 h 726"/>
              <a:gd name="T100" fmla="*/ 428 w 726"/>
              <a:gd name="T101" fmla="*/ 362 h 726"/>
              <a:gd name="T102" fmla="*/ 502 w 726"/>
              <a:gd name="T103" fmla="*/ 328 h 726"/>
              <a:gd name="T104" fmla="*/ 502 w 726"/>
              <a:gd name="T105" fmla="*/ 292 h 726"/>
              <a:gd name="T106" fmla="*/ 536 w 726"/>
              <a:gd name="T107" fmla="*/ 292 h 726"/>
              <a:gd name="T108" fmla="*/ 596 w 726"/>
              <a:gd name="T109" fmla="*/ 362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94" y="190"/>
                </a:moveTo>
                <a:lnTo>
                  <a:pt x="346" y="138"/>
                </a:lnTo>
                <a:lnTo>
                  <a:pt x="350" y="136"/>
                </a:lnTo>
                <a:lnTo>
                  <a:pt x="352" y="134"/>
                </a:lnTo>
                <a:lnTo>
                  <a:pt x="354" y="132"/>
                </a:lnTo>
                <a:lnTo>
                  <a:pt x="358" y="132"/>
                </a:lnTo>
                <a:lnTo>
                  <a:pt x="364" y="130"/>
                </a:lnTo>
                <a:lnTo>
                  <a:pt x="368" y="132"/>
                </a:lnTo>
                <a:lnTo>
                  <a:pt x="370" y="132"/>
                </a:lnTo>
                <a:lnTo>
                  <a:pt x="374" y="132"/>
                </a:lnTo>
                <a:lnTo>
                  <a:pt x="376" y="134"/>
                </a:lnTo>
                <a:lnTo>
                  <a:pt x="378" y="136"/>
                </a:lnTo>
                <a:lnTo>
                  <a:pt x="382" y="138"/>
                </a:lnTo>
                <a:lnTo>
                  <a:pt x="434" y="190"/>
                </a:lnTo>
                <a:lnTo>
                  <a:pt x="440" y="198"/>
                </a:lnTo>
                <a:lnTo>
                  <a:pt x="440" y="208"/>
                </a:lnTo>
                <a:lnTo>
                  <a:pt x="440" y="218"/>
                </a:lnTo>
                <a:lnTo>
                  <a:pt x="434" y="226"/>
                </a:lnTo>
                <a:lnTo>
                  <a:pt x="426" y="230"/>
                </a:lnTo>
                <a:lnTo>
                  <a:pt x="416" y="232"/>
                </a:lnTo>
                <a:lnTo>
                  <a:pt x="408" y="230"/>
                </a:lnTo>
                <a:lnTo>
                  <a:pt x="398" y="226"/>
                </a:lnTo>
                <a:lnTo>
                  <a:pt x="388" y="216"/>
                </a:lnTo>
                <a:lnTo>
                  <a:pt x="388" y="274"/>
                </a:lnTo>
                <a:lnTo>
                  <a:pt x="386" y="284"/>
                </a:lnTo>
                <a:lnTo>
                  <a:pt x="382" y="292"/>
                </a:lnTo>
                <a:lnTo>
                  <a:pt x="374" y="296"/>
                </a:lnTo>
                <a:lnTo>
                  <a:pt x="364" y="298"/>
                </a:lnTo>
                <a:lnTo>
                  <a:pt x="354" y="296"/>
                </a:lnTo>
                <a:lnTo>
                  <a:pt x="346" y="292"/>
                </a:lnTo>
                <a:lnTo>
                  <a:pt x="342" y="284"/>
                </a:lnTo>
                <a:lnTo>
                  <a:pt x="340" y="274"/>
                </a:lnTo>
                <a:lnTo>
                  <a:pt x="340" y="216"/>
                </a:lnTo>
                <a:lnTo>
                  <a:pt x="328" y="226"/>
                </a:lnTo>
                <a:lnTo>
                  <a:pt x="320" y="230"/>
                </a:lnTo>
                <a:lnTo>
                  <a:pt x="312" y="232"/>
                </a:lnTo>
                <a:lnTo>
                  <a:pt x="302" y="230"/>
                </a:lnTo>
                <a:lnTo>
                  <a:pt x="294" y="226"/>
                </a:lnTo>
                <a:lnTo>
                  <a:pt x="288" y="218"/>
                </a:lnTo>
                <a:lnTo>
                  <a:pt x="286" y="208"/>
                </a:lnTo>
                <a:lnTo>
                  <a:pt x="288" y="198"/>
                </a:lnTo>
                <a:lnTo>
                  <a:pt x="294" y="190"/>
                </a:lnTo>
                <a:close/>
                <a:moveTo>
                  <a:pt x="226" y="398"/>
                </a:moveTo>
                <a:lnTo>
                  <a:pt x="226" y="398"/>
                </a:lnTo>
                <a:lnTo>
                  <a:pt x="232" y="406"/>
                </a:lnTo>
                <a:lnTo>
                  <a:pt x="234" y="416"/>
                </a:lnTo>
                <a:lnTo>
                  <a:pt x="232" y="424"/>
                </a:lnTo>
                <a:lnTo>
                  <a:pt x="226" y="432"/>
                </a:lnTo>
                <a:lnTo>
                  <a:pt x="218" y="438"/>
                </a:lnTo>
                <a:lnTo>
                  <a:pt x="210" y="440"/>
                </a:lnTo>
                <a:lnTo>
                  <a:pt x="200" y="438"/>
                </a:lnTo>
                <a:lnTo>
                  <a:pt x="192" y="432"/>
                </a:lnTo>
                <a:lnTo>
                  <a:pt x="140" y="380"/>
                </a:lnTo>
                <a:lnTo>
                  <a:pt x="138" y="378"/>
                </a:lnTo>
                <a:lnTo>
                  <a:pt x="136" y="376"/>
                </a:lnTo>
                <a:lnTo>
                  <a:pt x="132" y="370"/>
                </a:lnTo>
                <a:lnTo>
                  <a:pt x="132" y="362"/>
                </a:lnTo>
                <a:lnTo>
                  <a:pt x="132" y="356"/>
                </a:lnTo>
                <a:lnTo>
                  <a:pt x="136" y="350"/>
                </a:lnTo>
                <a:lnTo>
                  <a:pt x="138" y="348"/>
                </a:lnTo>
                <a:lnTo>
                  <a:pt x="140" y="346"/>
                </a:lnTo>
                <a:lnTo>
                  <a:pt x="192" y="292"/>
                </a:lnTo>
                <a:lnTo>
                  <a:pt x="200" y="288"/>
                </a:lnTo>
                <a:lnTo>
                  <a:pt x="210" y="286"/>
                </a:lnTo>
                <a:lnTo>
                  <a:pt x="218" y="288"/>
                </a:lnTo>
                <a:lnTo>
                  <a:pt x="226" y="292"/>
                </a:lnTo>
                <a:lnTo>
                  <a:pt x="232" y="302"/>
                </a:lnTo>
                <a:lnTo>
                  <a:pt x="234" y="310"/>
                </a:lnTo>
                <a:lnTo>
                  <a:pt x="232" y="320"/>
                </a:lnTo>
                <a:lnTo>
                  <a:pt x="226" y="328"/>
                </a:lnTo>
                <a:lnTo>
                  <a:pt x="216" y="338"/>
                </a:lnTo>
                <a:lnTo>
                  <a:pt x="274" y="338"/>
                </a:lnTo>
                <a:lnTo>
                  <a:pt x="284" y="340"/>
                </a:lnTo>
                <a:lnTo>
                  <a:pt x="292" y="346"/>
                </a:lnTo>
                <a:lnTo>
                  <a:pt x="298" y="354"/>
                </a:lnTo>
                <a:lnTo>
                  <a:pt x="300" y="362"/>
                </a:lnTo>
                <a:lnTo>
                  <a:pt x="298" y="372"/>
                </a:lnTo>
                <a:lnTo>
                  <a:pt x="292" y="380"/>
                </a:lnTo>
                <a:lnTo>
                  <a:pt x="284" y="386"/>
                </a:lnTo>
                <a:lnTo>
                  <a:pt x="274" y="388"/>
                </a:lnTo>
                <a:lnTo>
                  <a:pt x="216" y="388"/>
                </a:lnTo>
                <a:lnTo>
                  <a:pt x="226" y="398"/>
                </a:lnTo>
                <a:close/>
                <a:moveTo>
                  <a:pt x="434" y="534"/>
                </a:moveTo>
                <a:lnTo>
                  <a:pt x="382" y="588"/>
                </a:lnTo>
                <a:lnTo>
                  <a:pt x="374" y="592"/>
                </a:lnTo>
                <a:lnTo>
                  <a:pt x="364" y="594"/>
                </a:lnTo>
                <a:lnTo>
                  <a:pt x="358" y="594"/>
                </a:lnTo>
                <a:lnTo>
                  <a:pt x="356" y="594"/>
                </a:lnTo>
                <a:lnTo>
                  <a:pt x="354" y="594"/>
                </a:lnTo>
                <a:lnTo>
                  <a:pt x="354" y="592"/>
                </a:lnTo>
                <a:lnTo>
                  <a:pt x="350" y="590"/>
                </a:lnTo>
                <a:lnTo>
                  <a:pt x="346" y="588"/>
                </a:lnTo>
                <a:lnTo>
                  <a:pt x="294" y="534"/>
                </a:lnTo>
                <a:lnTo>
                  <a:pt x="288" y="526"/>
                </a:lnTo>
                <a:lnTo>
                  <a:pt x="286" y="518"/>
                </a:lnTo>
                <a:lnTo>
                  <a:pt x="288" y="508"/>
                </a:lnTo>
                <a:lnTo>
                  <a:pt x="294" y="500"/>
                </a:lnTo>
                <a:lnTo>
                  <a:pt x="302" y="494"/>
                </a:lnTo>
                <a:lnTo>
                  <a:pt x="312" y="492"/>
                </a:lnTo>
                <a:lnTo>
                  <a:pt x="320" y="494"/>
                </a:lnTo>
                <a:lnTo>
                  <a:pt x="328" y="500"/>
                </a:lnTo>
                <a:lnTo>
                  <a:pt x="340" y="510"/>
                </a:lnTo>
                <a:lnTo>
                  <a:pt x="340" y="452"/>
                </a:lnTo>
                <a:lnTo>
                  <a:pt x="342" y="442"/>
                </a:lnTo>
                <a:lnTo>
                  <a:pt x="346" y="434"/>
                </a:lnTo>
                <a:lnTo>
                  <a:pt x="354" y="430"/>
                </a:lnTo>
                <a:lnTo>
                  <a:pt x="364" y="428"/>
                </a:lnTo>
                <a:lnTo>
                  <a:pt x="374" y="430"/>
                </a:lnTo>
                <a:lnTo>
                  <a:pt x="382" y="434"/>
                </a:lnTo>
                <a:lnTo>
                  <a:pt x="386" y="442"/>
                </a:lnTo>
                <a:lnTo>
                  <a:pt x="388" y="452"/>
                </a:lnTo>
                <a:lnTo>
                  <a:pt x="388" y="510"/>
                </a:lnTo>
                <a:lnTo>
                  <a:pt x="398" y="500"/>
                </a:lnTo>
                <a:lnTo>
                  <a:pt x="408" y="494"/>
                </a:lnTo>
                <a:lnTo>
                  <a:pt x="416" y="492"/>
                </a:lnTo>
                <a:lnTo>
                  <a:pt x="426" y="494"/>
                </a:lnTo>
                <a:lnTo>
                  <a:pt x="434" y="500"/>
                </a:lnTo>
                <a:lnTo>
                  <a:pt x="440" y="508"/>
                </a:lnTo>
                <a:lnTo>
                  <a:pt x="440" y="518"/>
                </a:lnTo>
                <a:lnTo>
                  <a:pt x="440" y="526"/>
                </a:lnTo>
                <a:lnTo>
                  <a:pt x="434" y="534"/>
                </a:lnTo>
                <a:close/>
                <a:moveTo>
                  <a:pt x="588" y="380"/>
                </a:moveTo>
                <a:lnTo>
                  <a:pt x="588" y="380"/>
                </a:lnTo>
                <a:lnTo>
                  <a:pt x="536" y="432"/>
                </a:lnTo>
                <a:lnTo>
                  <a:pt x="528" y="438"/>
                </a:lnTo>
                <a:lnTo>
                  <a:pt x="518" y="440"/>
                </a:lnTo>
                <a:lnTo>
                  <a:pt x="510" y="438"/>
                </a:lnTo>
                <a:lnTo>
                  <a:pt x="502" y="432"/>
                </a:lnTo>
                <a:lnTo>
                  <a:pt x="496" y="424"/>
                </a:lnTo>
                <a:lnTo>
                  <a:pt x="494" y="416"/>
                </a:lnTo>
                <a:lnTo>
                  <a:pt x="496" y="406"/>
                </a:lnTo>
                <a:lnTo>
                  <a:pt x="502" y="398"/>
                </a:lnTo>
                <a:lnTo>
                  <a:pt x="512" y="388"/>
                </a:lnTo>
                <a:lnTo>
                  <a:pt x="452" y="388"/>
                </a:lnTo>
                <a:lnTo>
                  <a:pt x="444" y="386"/>
                </a:lnTo>
                <a:lnTo>
                  <a:pt x="436" y="380"/>
                </a:lnTo>
                <a:lnTo>
                  <a:pt x="430" y="372"/>
                </a:lnTo>
                <a:lnTo>
                  <a:pt x="428" y="362"/>
                </a:lnTo>
                <a:lnTo>
                  <a:pt x="430" y="354"/>
                </a:lnTo>
                <a:lnTo>
                  <a:pt x="436" y="346"/>
                </a:lnTo>
                <a:lnTo>
                  <a:pt x="444" y="340"/>
                </a:lnTo>
                <a:lnTo>
                  <a:pt x="452" y="338"/>
                </a:lnTo>
                <a:lnTo>
                  <a:pt x="512" y="338"/>
                </a:lnTo>
                <a:lnTo>
                  <a:pt x="502" y="328"/>
                </a:lnTo>
                <a:lnTo>
                  <a:pt x="496" y="320"/>
                </a:lnTo>
                <a:lnTo>
                  <a:pt x="494" y="310"/>
                </a:lnTo>
                <a:lnTo>
                  <a:pt x="496" y="302"/>
                </a:lnTo>
                <a:lnTo>
                  <a:pt x="502" y="292"/>
                </a:lnTo>
                <a:lnTo>
                  <a:pt x="510" y="288"/>
                </a:lnTo>
                <a:lnTo>
                  <a:pt x="518" y="286"/>
                </a:lnTo>
                <a:lnTo>
                  <a:pt x="528" y="288"/>
                </a:lnTo>
                <a:lnTo>
                  <a:pt x="536" y="292"/>
                </a:lnTo>
                <a:lnTo>
                  <a:pt x="588" y="346"/>
                </a:lnTo>
                <a:lnTo>
                  <a:pt x="594" y="354"/>
                </a:lnTo>
                <a:lnTo>
                  <a:pt x="596" y="362"/>
                </a:lnTo>
                <a:lnTo>
                  <a:pt x="594" y="372"/>
                </a:lnTo>
                <a:lnTo>
                  <a:pt x="588" y="3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5" name="Freeform 432"/>
          <p:cNvSpPr>
            <a:spLocks noEditPoints="1"/>
          </p:cNvSpPr>
          <p:nvPr userDrawn="1"/>
        </p:nvSpPr>
        <p:spPr bwMode="auto">
          <a:xfrm>
            <a:off x="2901371" y="3967485"/>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76 w 726"/>
              <a:gd name="T35" fmla="*/ 514 h 726"/>
              <a:gd name="T36" fmla="*/ 276 w 726"/>
              <a:gd name="T37" fmla="*/ 424 h 726"/>
              <a:gd name="T38" fmla="*/ 172 w 726"/>
              <a:gd name="T39" fmla="*/ 422 h 726"/>
              <a:gd name="T40" fmla="*/ 168 w 726"/>
              <a:gd name="T41" fmla="*/ 312 h 726"/>
              <a:gd name="T42" fmla="*/ 178 w 726"/>
              <a:gd name="T43" fmla="*/ 302 h 726"/>
              <a:gd name="T44" fmla="*/ 370 w 726"/>
              <a:gd name="T45" fmla="*/ 208 h 726"/>
              <a:gd name="T46" fmla="*/ 376 w 726"/>
              <a:gd name="T47" fmla="*/ 508 h 726"/>
              <a:gd name="T48" fmla="*/ 422 w 726"/>
              <a:gd name="T49" fmla="*/ 438 h 726"/>
              <a:gd name="T50" fmla="*/ 412 w 726"/>
              <a:gd name="T51" fmla="*/ 434 h 726"/>
              <a:gd name="T52" fmla="*/ 412 w 726"/>
              <a:gd name="T53" fmla="*/ 420 h 726"/>
              <a:gd name="T54" fmla="*/ 426 w 726"/>
              <a:gd name="T55" fmla="*/ 362 h 726"/>
              <a:gd name="T56" fmla="*/ 418 w 726"/>
              <a:gd name="T57" fmla="*/ 318 h 726"/>
              <a:gd name="T58" fmla="*/ 410 w 726"/>
              <a:gd name="T59" fmla="*/ 300 h 726"/>
              <a:gd name="T60" fmla="*/ 416 w 726"/>
              <a:gd name="T61" fmla="*/ 288 h 726"/>
              <a:gd name="T62" fmla="*/ 434 w 726"/>
              <a:gd name="T63" fmla="*/ 294 h 726"/>
              <a:gd name="T64" fmla="*/ 448 w 726"/>
              <a:gd name="T65" fmla="*/ 344 h 726"/>
              <a:gd name="T66" fmla="*/ 446 w 726"/>
              <a:gd name="T67" fmla="*/ 398 h 726"/>
              <a:gd name="T68" fmla="*/ 484 w 726"/>
              <a:gd name="T69" fmla="*/ 460 h 726"/>
              <a:gd name="T70" fmla="*/ 474 w 726"/>
              <a:gd name="T71" fmla="*/ 466 h 726"/>
              <a:gd name="T72" fmla="*/ 462 w 726"/>
              <a:gd name="T73" fmla="*/ 456 h 726"/>
              <a:gd name="T74" fmla="*/ 472 w 726"/>
              <a:gd name="T75" fmla="*/ 428 h 726"/>
              <a:gd name="T76" fmla="*/ 484 w 726"/>
              <a:gd name="T77" fmla="*/ 362 h 726"/>
              <a:gd name="T78" fmla="*/ 462 w 726"/>
              <a:gd name="T79" fmla="*/ 278 h 726"/>
              <a:gd name="T80" fmla="*/ 464 w 726"/>
              <a:gd name="T81" fmla="*/ 264 h 726"/>
              <a:gd name="T82" fmla="*/ 478 w 726"/>
              <a:gd name="T83" fmla="*/ 260 h 726"/>
              <a:gd name="T84" fmla="*/ 496 w 726"/>
              <a:gd name="T85" fmla="*/ 290 h 726"/>
              <a:gd name="T86" fmla="*/ 510 w 726"/>
              <a:gd name="T87" fmla="*/ 362 h 726"/>
              <a:gd name="T88" fmla="*/ 484 w 726"/>
              <a:gd name="T89" fmla="*/ 460 h 726"/>
              <a:gd name="T90" fmla="*/ 532 w 726"/>
              <a:gd name="T91" fmla="*/ 490 h 726"/>
              <a:gd name="T92" fmla="*/ 518 w 726"/>
              <a:gd name="T93" fmla="*/ 490 h 726"/>
              <a:gd name="T94" fmla="*/ 514 w 726"/>
              <a:gd name="T95" fmla="*/ 474 h 726"/>
              <a:gd name="T96" fmla="*/ 542 w 726"/>
              <a:gd name="T97" fmla="*/ 392 h 726"/>
              <a:gd name="T98" fmla="*/ 536 w 726"/>
              <a:gd name="T99" fmla="*/ 306 h 726"/>
              <a:gd name="T100" fmla="*/ 512 w 726"/>
              <a:gd name="T101" fmla="*/ 246 h 726"/>
              <a:gd name="T102" fmla="*/ 518 w 726"/>
              <a:gd name="T103" fmla="*/ 234 h 726"/>
              <a:gd name="T104" fmla="*/ 536 w 726"/>
              <a:gd name="T105" fmla="*/ 240 h 726"/>
              <a:gd name="T106" fmla="*/ 566 w 726"/>
              <a:gd name="T107" fmla="*/ 330 h 726"/>
              <a:gd name="T108" fmla="*/ 560 w 726"/>
              <a:gd name="T109" fmla="*/ 4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76" y="508"/>
                </a:moveTo>
                <a:lnTo>
                  <a:pt x="376" y="508"/>
                </a:lnTo>
                <a:lnTo>
                  <a:pt x="376" y="514"/>
                </a:lnTo>
                <a:lnTo>
                  <a:pt x="374" y="516"/>
                </a:lnTo>
                <a:lnTo>
                  <a:pt x="370" y="516"/>
                </a:lnTo>
                <a:lnTo>
                  <a:pt x="364" y="514"/>
                </a:lnTo>
                <a:lnTo>
                  <a:pt x="276" y="424"/>
                </a:lnTo>
                <a:lnTo>
                  <a:pt x="178" y="424"/>
                </a:lnTo>
                <a:lnTo>
                  <a:pt x="174" y="424"/>
                </a:lnTo>
                <a:lnTo>
                  <a:pt x="172" y="422"/>
                </a:lnTo>
                <a:lnTo>
                  <a:pt x="170" y="418"/>
                </a:lnTo>
                <a:lnTo>
                  <a:pt x="168" y="414"/>
                </a:lnTo>
                <a:lnTo>
                  <a:pt x="168" y="312"/>
                </a:lnTo>
                <a:lnTo>
                  <a:pt x="170" y="308"/>
                </a:lnTo>
                <a:lnTo>
                  <a:pt x="172" y="304"/>
                </a:lnTo>
                <a:lnTo>
                  <a:pt x="174" y="302"/>
                </a:lnTo>
                <a:lnTo>
                  <a:pt x="178" y="302"/>
                </a:lnTo>
                <a:lnTo>
                  <a:pt x="276" y="302"/>
                </a:lnTo>
                <a:lnTo>
                  <a:pt x="364" y="212"/>
                </a:lnTo>
                <a:lnTo>
                  <a:pt x="370" y="208"/>
                </a:lnTo>
                <a:lnTo>
                  <a:pt x="374" y="208"/>
                </a:lnTo>
                <a:lnTo>
                  <a:pt x="376" y="212"/>
                </a:lnTo>
                <a:lnTo>
                  <a:pt x="376" y="218"/>
                </a:lnTo>
                <a:lnTo>
                  <a:pt x="376" y="508"/>
                </a:lnTo>
                <a:close/>
                <a:moveTo>
                  <a:pt x="434" y="432"/>
                </a:moveTo>
                <a:lnTo>
                  <a:pt x="434" y="432"/>
                </a:lnTo>
                <a:lnTo>
                  <a:pt x="428" y="436"/>
                </a:lnTo>
                <a:lnTo>
                  <a:pt x="422" y="438"/>
                </a:lnTo>
                <a:lnTo>
                  <a:pt x="416" y="436"/>
                </a:lnTo>
                <a:lnTo>
                  <a:pt x="412" y="434"/>
                </a:lnTo>
                <a:lnTo>
                  <a:pt x="410" y="430"/>
                </a:lnTo>
                <a:lnTo>
                  <a:pt x="410" y="426"/>
                </a:lnTo>
                <a:lnTo>
                  <a:pt x="412" y="420"/>
                </a:lnTo>
                <a:lnTo>
                  <a:pt x="418" y="406"/>
                </a:lnTo>
                <a:lnTo>
                  <a:pt x="422" y="392"/>
                </a:lnTo>
                <a:lnTo>
                  <a:pt x="424" y="378"/>
                </a:lnTo>
                <a:lnTo>
                  <a:pt x="426" y="362"/>
                </a:lnTo>
                <a:lnTo>
                  <a:pt x="424" y="348"/>
                </a:lnTo>
                <a:lnTo>
                  <a:pt x="422" y="334"/>
                </a:lnTo>
                <a:lnTo>
                  <a:pt x="418" y="318"/>
                </a:lnTo>
                <a:lnTo>
                  <a:pt x="412" y="306"/>
                </a:lnTo>
                <a:lnTo>
                  <a:pt x="410" y="300"/>
                </a:lnTo>
                <a:lnTo>
                  <a:pt x="410" y="296"/>
                </a:lnTo>
                <a:lnTo>
                  <a:pt x="412" y="292"/>
                </a:lnTo>
                <a:lnTo>
                  <a:pt x="416" y="288"/>
                </a:lnTo>
                <a:lnTo>
                  <a:pt x="422" y="288"/>
                </a:lnTo>
                <a:lnTo>
                  <a:pt x="426" y="288"/>
                </a:lnTo>
                <a:lnTo>
                  <a:pt x="430" y="290"/>
                </a:lnTo>
                <a:lnTo>
                  <a:pt x="434" y="294"/>
                </a:lnTo>
                <a:lnTo>
                  <a:pt x="440" y="310"/>
                </a:lnTo>
                <a:lnTo>
                  <a:pt x="446" y="328"/>
                </a:lnTo>
                <a:lnTo>
                  <a:pt x="448" y="344"/>
                </a:lnTo>
                <a:lnTo>
                  <a:pt x="450" y="362"/>
                </a:lnTo>
                <a:lnTo>
                  <a:pt x="448" y="380"/>
                </a:lnTo>
                <a:lnTo>
                  <a:pt x="446" y="398"/>
                </a:lnTo>
                <a:lnTo>
                  <a:pt x="440" y="416"/>
                </a:lnTo>
                <a:lnTo>
                  <a:pt x="434" y="432"/>
                </a:lnTo>
                <a:close/>
                <a:moveTo>
                  <a:pt x="484" y="460"/>
                </a:moveTo>
                <a:lnTo>
                  <a:pt x="484" y="460"/>
                </a:lnTo>
                <a:lnTo>
                  <a:pt x="480" y="464"/>
                </a:lnTo>
                <a:lnTo>
                  <a:pt x="474" y="466"/>
                </a:lnTo>
                <a:lnTo>
                  <a:pt x="468" y="464"/>
                </a:lnTo>
                <a:lnTo>
                  <a:pt x="464" y="460"/>
                </a:lnTo>
                <a:lnTo>
                  <a:pt x="462" y="456"/>
                </a:lnTo>
                <a:lnTo>
                  <a:pt x="462" y="452"/>
                </a:lnTo>
                <a:lnTo>
                  <a:pt x="462" y="448"/>
                </a:lnTo>
                <a:lnTo>
                  <a:pt x="472" y="428"/>
                </a:lnTo>
                <a:lnTo>
                  <a:pt x="480" y="406"/>
                </a:lnTo>
                <a:lnTo>
                  <a:pt x="484" y="384"/>
                </a:lnTo>
                <a:lnTo>
                  <a:pt x="484" y="362"/>
                </a:lnTo>
                <a:lnTo>
                  <a:pt x="484" y="340"/>
                </a:lnTo>
                <a:lnTo>
                  <a:pt x="480" y="320"/>
                </a:lnTo>
                <a:lnTo>
                  <a:pt x="472" y="298"/>
                </a:lnTo>
                <a:lnTo>
                  <a:pt x="462" y="278"/>
                </a:lnTo>
                <a:lnTo>
                  <a:pt x="462" y="274"/>
                </a:lnTo>
                <a:lnTo>
                  <a:pt x="462" y="270"/>
                </a:lnTo>
                <a:lnTo>
                  <a:pt x="464" y="264"/>
                </a:lnTo>
                <a:lnTo>
                  <a:pt x="468" y="262"/>
                </a:lnTo>
                <a:lnTo>
                  <a:pt x="472" y="260"/>
                </a:lnTo>
                <a:lnTo>
                  <a:pt x="478" y="260"/>
                </a:lnTo>
                <a:lnTo>
                  <a:pt x="482" y="262"/>
                </a:lnTo>
                <a:lnTo>
                  <a:pt x="484" y="266"/>
                </a:lnTo>
                <a:lnTo>
                  <a:pt x="496" y="290"/>
                </a:lnTo>
                <a:lnTo>
                  <a:pt x="502" y="314"/>
                </a:lnTo>
                <a:lnTo>
                  <a:pt x="508" y="338"/>
                </a:lnTo>
                <a:lnTo>
                  <a:pt x="510" y="362"/>
                </a:lnTo>
                <a:lnTo>
                  <a:pt x="508" y="388"/>
                </a:lnTo>
                <a:lnTo>
                  <a:pt x="502" y="412"/>
                </a:lnTo>
                <a:lnTo>
                  <a:pt x="496" y="436"/>
                </a:lnTo>
                <a:lnTo>
                  <a:pt x="484" y="460"/>
                </a:lnTo>
                <a:close/>
                <a:moveTo>
                  <a:pt x="536" y="486"/>
                </a:moveTo>
                <a:lnTo>
                  <a:pt x="536" y="486"/>
                </a:lnTo>
                <a:lnTo>
                  <a:pt x="532" y="490"/>
                </a:lnTo>
                <a:lnTo>
                  <a:pt x="526" y="492"/>
                </a:lnTo>
                <a:lnTo>
                  <a:pt x="518" y="490"/>
                </a:lnTo>
                <a:lnTo>
                  <a:pt x="516" y="488"/>
                </a:lnTo>
                <a:lnTo>
                  <a:pt x="514" y="484"/>
                </a:lnTo>
                <a:lnTo>
                  <a:pt x="512" y="478"/>
                </a:lnTo>
                <a:lnTo>
                  <a:pt x="514" y="474"/>
                </a:lnTo>
                <a:lnTo>
                  <a:pt x="528" y="448"/>
                </a:lnTo>
                <a:lnTo>
                  <a:pt x="536" y="420"/>
                </a:lnTo>
                <a:lnTo>
                  <a:pt x="542" y="392"/>
                </a:lnTo>
                <a:lnTo>
                  <a:pt x="544" y="362"/>
                </a:lnTo>
                <a:lnTo>
                  <a:pt x="542" y="334"/>
                </a:lnTo>
                <a:lnTo>
                  <a:pt x="536" y="306"/>
                </a:lnTo>
                <a:lnTo>
                  <a:pt x="528" y="278"/>
                </a:lnTo>
                <a:lnTo>
                  <a:pt x="514" y="252"/>
                </a:lnTo>
                <a:lnTo>
                  <a:pt x="512" y="246"/>
                </a:lnTo>
                <a:lnTo>
                  <a:pt x="514" y="242"/>
                </a:lnTo>
                <a:lnTo>
                  <a:pt x="516" y="238"/>
                </a:lnTo>
                <a:lnTo>
                  <a:pt x="518" y="234"/>
                </a:lnTo>
                <a:lnTo>
                  <a:pt x="524" y="234"/>
                </a:lnTo>
                <a:lnTo>
                  <a:pt x="528" y="234"/>
                </a:lnTo>
                <a:lnTo>
                  <a:pt x="532" y="236"/>
                </a:lnTo>
                <a:lnTo>
                  <a:pt x="536" y="240"/>
                </a:lnTo>
                <a:lnTo>
                  <a:pt x="550" y="268"/>
                </a:lnTo>
                <a:lnTo>
                  <a:pt x="560" y="298"/>
                </a:lnTo>
                <a:lnTo>
                  <a:pt x="566" y="330"/>
                </a:lnTo>
                <a:lnTo>
                  <a:pt x="568" y="362"/>
                </a:lnTo>
                <a:lnTo>
                  <a:pt x="566" y="396"/>
                </a:lnTo>
                <a:lnTo>
                  <a:pt x="560" y="426"/>
                </a:lnTo>
                <a:lnTo>
                  <a:pt x="550" y="458"/>
                </a:lnTo>
                <a:lnTo>
                  <a:pt x="536" y="48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6" name="Freeform 6"/>
          <p:cNvSpPr>
            <a:spLocks noEditPoints="1"/>
          </p:cNvSpPr>
          <p:nvPr userDrawn="1"/>
        </p:nvSpPr>
        <p:spPr bwMode="auto">
          <a:xfrm>
            <a:off x="8157475" y="3967485"/>
            <a:ext cx="1080000" cy="1080000"/>
          </a:xfrm>
          <a:custGeom>
            <a:avLst/>
            <a:gdLst>
              <a:gd name="T0" fmla="*/ 545 w 1450"/>
              <a:gd name="T1" fmla="*/ 23 h 1450"/>
              <a:gd name="T2" fmla="*/ 320 w 1450"/>
              <a:gd name="T3" fmla="*/ 123 h 1450"/>
              <a:gd name="T4" fmla="*/ 144 w 1450"/>
              <a:gd name="T5" fmla="*/ 290 h 1450"/>
              <a:gd name="T6" fmla="*/ 33 w 1450"/>
              <a:gd name="T7" fmla="*/ 510 h 1450"/>
              <a:gd name="T8" fmla="*/ 0 w 1450"/>
              <a:gd name="T9" fmla="*/ 725 h 1450"/>
              <a:gd name="T10" fmla="*/ 44 w 1450"/>
              <a:gd name="T11" fmla="*/ 974 h 1450"/>
              <a:gd name="T12" fmla="*/ 166 w 1450"/>
              <a:gd name="T13" fmla="*/ 1186 h 1450"/>
              <a:gd name="T14" fmla="*/ 349 w 1450"/>
              <a:gd name="T15" fmla="*/ 1345 h 1450"/>
              <a:gd name="T16" fmla="*/ 579 w 1450"/>
              <a:gd name="T17" fmla="*/ 1435 h 1450"/>
              <a:gd name="T18" fmla="*/ 799 w 1450"/>
              <a:gd name="T19" fmla="*/ 1447 h 1450"/>
              <a:gd name="T20" fmla="*/ 1040 w 1450"/>
              <a:gd name="T21" fmla="*/ 1378 h 1450"/>
              <a:gd name="T22" fmla="*/ 1238 w 1450"/>
              <a:gd name="T23" fmla="*/ 1238 h 1450"/>
              <a:gd name="T24" fmla="*/ 1379 w 1450"/>
              <a:gd name="T25" fmla="*/ 1040 h 1450"/>
              <a:gd name="T26" fmla="*/ 1447 w 1450"/>
              <a:gd name="T27" fmla="*/ 799 h 1450"/>
              <a:gd name="T28" fmla="*/ 1435 w 1450"/>
              <a:gd name="T29" fmla="*/ 579 h 1450"/>
              <a:gd name="T30" fmla="*/ 1345 w 1450"/>
              <a:gd name="T31" fmla="*/ 349 h 1450"/>
              <a:gd name="T32" fmla="*/ 1186 w 1450"/>
              <a:gd name="T33" fmla="*/ 166 h 1450"/>
              <a:gd name="T34" fmla="*/ 974 w 1450"/>
              <a:gd name="T35" fmla="*/ 44 h 1450"/>
              <a:gd name="T36" fmla="*/ 725 w 1450"/>
              <a:gd name="T37" fmla="*/ 0 h 1450"/>
              <a:gd name="T38" fmla="*/ 810 w 1450"/>
              <a:gd name="T39" fmla="*/ 308 h 1450"/>
              <a:gd name="T40" fmla="*/ 945 w 1450"/>
              <a:gd name="T41" fmla="*/ 363 h 1450"/>
              <a:gd name="T42" fmla="*/ 487 w 1450"/>
              <a:gd name="T43" fmla="*/ 372 h 1450"/>
              <a:gd name="T44" fmla="*/ 618 w 1450"/>
              <a:gd name="T45" fmla="*/ 313 h 1450"/>
              <a:gd name="T46" fmla="*/ 1005 w 1450"/>
              <a:gd name="T47" fmla="*/ 530 h 1450"/>
              <a:gd name="T48" fmla="*/ 984 w 1450"/>
              <a:gd name="T49" fmla="*/ 589 h 1450"/>
              <a:gd name="T50" fmla="*/ 832 w 1450"/>
              <a:gd name="T51" fmla="*/ 594 h 1450"/>
              <a:gd name="T52" fmla="*/ 802 w 1450"/>
              <a:gd name="T53" fmla="*/ 530 h 1450"/>
              <a:gd name="T54" fmla="*/ 832 w 1450"/>
              <a:gd name="T55" fmla="*/ 479 h 1450"/>
              <a:gd name="T56" fmla="*/ 984 w 1450"/>
              <a:gd name="T57" fmla="*/ 484 h 1450"/>
              <a:gd name="T58" fmla="*/ 648 w 1450"/>
              <a:gd name="T59" fmla="*/ 530 h 1450"/>
              <a:gd name="T60" fmla="*/ 627 w 1450"/>
              <a:gd name="T61" fmla="*/ 589 h 1450"/>
              <a:gd name="T62" fmla="*/ 474 w 1450"/>
              <a:gd name="T63" fmla="*/ 594 h 1450"/>
              <a:gd name="T64" fmla="*/ 445 w 1450"/>
              <a:gd name="T65" fmla="*/ 530 h 1450"/>
              <a:gd name="T66" fmla="*/ 474 w 1450"/>
              <a:gd name="T67" fmla="*/ 479 h 1450"/>
              <a:gd name="T68" fmla="*/ 627 w 1450"/>
              <a:gd name="T69" fmla="*/ 484 h 1450"/>
              <a:gd name="T70" fmla="*/ 725 w 1450"/>
              <a:gd name="T71" fmla="*/ 1150 h 1450"/>
              <a:gd name="T72" fmla="*/ 599 w 1450"/>
              <a:gd name="T73" fmla="*/ 1130 h 1450"/>
              <a:gd name="T74" fmla="*/ 454 w 1450"/>
              <a:gd name="T75" fmla="*/ 1053 h 1450"/>
              <a:gd name="T76" fmla="*/ 333 w 1450"/>
              <a:gd name="T77" fmla="*/ 891 h 1450"/>
              <a:gd name="T78" fmla="*/ 300 w 1450"/>
              <a:gd name="T79" fmla="*/ 746 h 1450"/>
              <a:gd name="T80" fmla="*/ 323 w 1450"/>
              <a:gd name="T81" fmla="*/ 589 h 1450"/>
              <a:gd name="T82" fmla="*/ 794 w 1450"/>
              <a:gd name="T83" fmla="*/ 648 h 1450"/>
              <a:gd name="T84" fmla="*/ 1135 w 1450"/>
              <a:gd name="T85" fmla="*/ 615 h 1450"/>
              <a:gd name="T86" fmla="*/ 1148 w 1450"/>
              <a:gd name="T87" fmla="*/ 768 h 1450"/>
              <a:gd name="T88" fmla="*/ 1107 w 1450"/>
              <a:gd name="T89" fmla="*/ 909 h 1450"/>
              <a:gd name="T90" fmla="*/ 963 w 1450"/>
              <a:gd name="T91" fmla="*/ 1078 h 1450"/>
              <a:gd name="T92" fmla="*/ 832 w 1450"/>
              <a:gd name="T93" fmla="*/ 1137 h 1450"/>
              <a:gd name="T94" fmla="*/ 1030 w 1450"/>
              <a:gd name="T95" fmla="*/ 700 h 1450"/>
              <a:gd name="T96" fmla="*/ 395 w 1450"/>
              <a:gd name="T97" fmla="*/ 725 h 1450"/>
              <a:gd name="T98" fmla="*/ 451 w 1450"/>
              <a:gd name="T99" fmla="*/ 909 h 1450"/>
              <a:gd name="T100" fmla="*/ 627 w 1450"/>
              <a:gd name="T101" fmla="*/ 1040 h 1450"/>
              <a:gd name="T102" fmla="*/ 823 w 1450"/>
              <a:gd name="T103" fmla="*/ 1040 h 1450"/>
              <a:gd name="T104" fmla="*/ 999 w 1450"/>
              <a:gd name="T105" fmla="*/ 909 h 1450"/>
              <a:gd name="T106" fmla="*/ 1055 w 1450"/>
              <a:gd name="T107" fmla="*/ 725 h 1450"/>
              <a:gd name="T108" fmla="*/ 923 w 1450"/>
              <a:gd name="T109" fmla="*/ 923 h 1450"/>
              <a:gd name="T110" fmla="*/ 782 w 1450"/>
              <a:gd name="T111" fmla="*/ 1001 h 1450"/>
              <a:gd name="T112" fmla="*/ 615 w 1450"/>
              <a:gd name="T113" fmla="*/ 984 h 1450"/>
              <a:gd name="T114" fmla="*/ 495 w 1450"/>
              <a:gd name="T115" fmla="*/ 886 h 1450"/>
              <a:gd name="T116" fmla="*/ 1004 w 1450"/>
              <a:gd name="T117" fmla="*/ 750 h 1450"/>
              <a:gd name="T118" fmla="*/ 955 w 1450"/>
              <a:gd name="T119" fmla="*/ 886 h 14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50" h="1450">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10"/>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7"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9" y="1040"/>
                </a:lnTo>
                <a:lnTo>
                  <a:pt x="1393" y="1007"/>
                </a:lnTo>
                <a:lnTo>
                  <a:pt x="1406" y="974"/>
                </a:lnTo>
                <a:lnTo>
                  <a:pt x="1417" y="940"/>
                </a:lnTo>
                <a:lnTo>
                  <a:pt x="1427" y="905"/>
                </a:lnTo>
                <a:lnTo>
                  <a:pt x="1435" y="871"/>
                </a:lnTo>
                <a:lnTo>
                  <a:pt x="1442" y="835"/>
                </a:lnTo>
                <a:lnTo>
                  <a:pt x="1447" y="799"/>
                </a:lnTo>
                <a:lnTo>
                  <a:pt x="1450" y="763"/>
                </a:lnTo>
                <a:lnTo>
                  <a:pt x="1450" y="725"/>
                </a:lnTo>
                <a:lnTo>
                  <a:pt x="1450" y="687"/>
                </a:lnTo>
                <a:lnTo>
                  <a:pt x="1447" y="651"/>
                </a:lnTo>
                <a:lnTo>
                  <a:pt x="1442" y="615"/>
                </a:lnTo>
                <a:lnTo>
                  <a:pt x="1435" y="579"/>
                </a:lnTo>
                <a:lnTo>
                  <a:pt x="1427" y="543"/>
                </a:lnTo>
                <a:lnTo>
                  <a:pt x="1417" y="510"/>
                </a:lnTo>
                <a:lnTo>
                  <a:pt x="1406" y="476"/>
                </a:lnTo>
                <a:lnTo>
                  <a:pt x="1393" y="443"/>
                </a:lnTo>
                <a:lnTo>
                  <a:pt x="1379"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7" y="23"/>
                </a:lnTo>
                <a:lnTo>
                  <a:pt x="871" y="15"/>
                </a:lnTo>
                <a:lnTo>
                  <a:pt x="835" y="8"/>
                </a:lnTo>
                <a:lnTo>
                  <a:pt x="799" y="3"/>
                </a:lnTo>
                <a:lnTo>
                  <a:pt x="763" y="0"/>
                </a:lnTo>
                <a:lnTo>
                  <a:pt x="725" y="0"/>
                </a:lnTo>
                <a:close/>
                <a:moveTo>
                  <a:pt x="725" y="300"/>
                </a:moveTo>
                <a:lnTo>
                  <a:pt x="725" y="300"/>
                </a:lnTo>
                <a:lnTo>
                  <a:pt x="746" y="300"/>
                </a:lnTo>
                <a:lnTo>
                  <a:pt x="769" y="302"/>
                </a:lnTo>
                <a:lnTo>
                  <a:pt x="791" y="305"/>
                </a:lnTo>
                <a:lnTo>
                  <a:pt x="810" y="308"/>
                </a:lnTo>
                <a:lnTo>
                  <a:pt x="832" y="313"/>
                </a:lnTo>
                <a:lnTo>
                  <a:pt x="851" y="320"/>
                </a:lnTo>
                <a:lnTo>
                  <a:pt x="871" y="326"/>
                </a:lnTo>
                <a:lnTo>
                  <a:pt x="891" y="333"/>
                </a:lnTo>
                <a:lnTo>
                  <a:pt x="909" y="343"/>
                </a:lnTo>
                <a:lnTo>
                  <a:pt x="928" y="351"/>
                </a:lnTo>
                <a:lnTo>
                  <a:pt x="945" y="363"/>
                </a:lnTo>
                <a:lnTo>
                  <a:pt x="963" y="372"/>
                </a:lnTo>
                <a:lnTo>
                  <a:pt x="996" y="397"/>
                </a:lnTo>
                <a:lnTo>
                  <a:pt x="1025" y="425"/>
                </a:lnTo>
                <a:lnTo>
                  <a:pt x="425" y="425"/>
                </a:lnTo>
                <a:lnTo>
                  <a:pt x="454" y="397"/>
                </a:lnTo>
                <a:lnTo>
                  <a:pt x="487" y="372"/>
                </a:lnTo>
                <a:lnTo>
                  <a:pt x="505" y="363"/>
                </a:lnTo>
                <a:lnTo>
                  <a:pt x="523" y="351"/>
                </a:lnTo>
                <a:lnTo>
                  <a:pt x="541" y="343"/>
                </a:lnTo>
                <a:lnTo>
                  <a:pt x="559" y="333"/>
                </a:lnTo>
                <a:lnTo>
                  <a:pt x="579" y="326"/>
                </a:lnTo>
                <a:lnTo>
                  <a:pt x="599" y="320"/>
                </a:lnTo>
                <a:lnTo>
                  <a:pt x="618" y="313"/>
                </a:lnTo>
                <a:lnTo>
                  <a:pt x="640" y="308"/>
                </a:lnTo>
                <a:lnTo>
                  <a:pt x="661" y="305"/>
                </a:lnTo>
                <a:lnTo>
                  <a:pt x="682" y="302"/>
                </a:lnTo>
                <a:lnTo>
                  <a:pt x="704" y="300"/>
                </a:lnTo>
                <a:lnTo>
                  <a:pt x="725" y="300"/>
                </a:lnTo>
                <a:close/>
                <a:moveTo>
                  <a:pt x="1005" y="530"/>
                </a:moveTo>
                <a:lnTo>
                  <a:pt x="1005" y="543"/>
                </a:lnTo>
                <a:lnTo>
                  <a:pt x="1005" y="554"/>
                </a:lnTo>
                <a:lnTo>
                  <a:pt x="1002" y="564"/>
                </a:lnTo>
                <a:lnTo>
                  <a:pt x="997" y="574"/>
                </a:lnTo>
                <a:lnTo>
                  <a:pt x="992" y="582"/>
                </a:lnTo>
                <a:lnTo>
                  <a:pt x="984" y="589"/>
                </a:lnTo>
                <a:lnTo>
                  <a:pt x="976" y="594"/>
                </a:lnTo>
                <a:lnTo>
                  <a:pt x="966" y="597"/>
                </a:lnTo>
                <a:lnTo>
                  <a:pt x="956" y="599"/>
                </a:lnTo>
                <a:lnTo>
                  <a:pt x="851" y="599"/>
                </a:lnTo>
                <a:lnTo>
                  <a:pt x="841" y="597"/>
                </a:lnTo>
                <a:lnTo>
                  <a:pt x="832" y="594"/>
                </a:lnTo>
                <a:lnTo>
                  <a:pt x="823" y="589"/>
                </a:lnTo>
                <a:lnTo>
                  <a:pt x="817" y="582"/>
                </a:lnTo>
                <a:lnTo>
                  <a:pt x="810" y="574"/>
                </a:lnTo>
                <a:lnTo>
                  <a:pt x="805" y="564"/>
                </a:lnTo>
                <a:lnTo>
                  <a:pt x="802" y="554"/>
                </a:lnTo>
                <a:lnTo>
                  <a:pt x="802" y="543"/>
                </a:lnTo>
                <a:lnTo>
                  <a:pt x="802" y="530"/>
                </a:lnTo>
                <a:lnTo>
                  <a:pt x="802" y="518"/>
                </a:lnTo>
                <a:lnTo>
                  <a:pt x="805" y="508"/>
                </a:lnTo>
                <a:lnTo>
                  <a:pt x="810" y="499"/>
                </a:lnTo>
                <a:lnTo>
                  <a:pt x="817" y="490"/>
                </a:lnTo>
                <a:lnTo>
                  <a:pt x="823" y="484"/>
                </a:lnTo>
                <a:lnTo>
                  <a:pt x="832" y="479"/>
                </a:lnTo>
                <a:lnTo>
                  <a:pt x="841" y="476"/>
                </a:lnTo>
                <a:lnTo>
                  <a:pt x="851" y="474"/>
                </a:lnTo>
                <a:lnTo>
                  <a:pt x="956" y="474"/>
                </a:lnTo>
                <a:lnTo>
                  <a:pt x="966" y="476"/>
                </a:lnTo>
                <a:lnTo>
                  <a:pt x="976" y="479"/>
                </a:lnTo>
                <a:lnTo>
                  <a:pt x="984" y="484"/>
                </a:lnTo>
                <a:lnTo>
                  <a:pt x="992" y="490"/>
                </a:lnTo>
                <a:lnTo>
                  <a:pt x="997" y="499"/>
                </a:lnTo>
                <a:lnTo>
                  <a:pt x="1002" y="508"/>
                </a:lnTo>
                <a:lnTo>
                  <a:pt x="1005" y="518"/>
                </a:lnTo>
                <a:lnTo>
                  <a:pt x="1005" y="530"/>
                </a:lnTo>
                <a:close/>
                <a:moveTo>
                  <a:pt x="648" y="530"/>
                </a:moveTo>
                <a:lnTo>
                  <a:pt x="648" y="543"/>
                </a:lnTo>
                <a:lnTo>
                  <a:pt x="648" y="554"/>
                </a:lnTo>
                <a:lnTo>
                  <a:pt x="645" y="564"/>
                </a:lnTo>
                <a:lnTo>
                  <a:pt x="640" y="574"/>
                </a:lnTo>
                <a:lnTo>
                  <a:pt x="633" y="582"/>
                </a:lnTo>
                <a:lnTo>
                  <a:pt x="627" y="589"/>
                </a:lnTo>
                <a:lnTo>
                  <a:pt x="618" y="594"/>
                </a:lnTo>
                <a:lnTo>
                  <a:pt x="609" y="597"/>
                </a:lnTo>
                <a:lnTo>
                  <a:pt x="599" y="599"/>
                </a:lnTo>
                <a:lnTo>
                  <a:pt x="494" y="599"/>
                </a:lnTo>
                <a:lnTo>
                  <a:pt x="484" y="597"/>
                </a:lnTo>
                <a:lnTo>
                  <a:pt x="474" y="594"/>
                </a:lnTo>
                <a:lnTo>
                  <a:pt x="466" y="589"/>
                </a:lnTo>
                <a:lnTo>
                  <a:pt x="459" y="582"/>
                </a:lnTo>
                <a:lnTo>
                  <a:pt x="453" y="574"/>
                </a:lnTo>
                <a:lnTo>
                  <a:pt x="448" y="564"/>
                </a:lnTo>
                <a:lnTo>
                  <a:pt x="445" y="554"/>
                </a:lnTo>
                <a:lnTo>
                  <a:pt x="445" y="543"/>
                </a:lnTo>
                <a:lnTo>
                  <a:pt x="445" y="530"/>
                </a:lnTo>
                <a:lnTo>
                  <a:pt x="445" y="518"/>
                </a:lnTo>
                <a:lnTo>
                  <a:pt x="448" y="508"/>
                </a:lnTo>
                <a:lnTo>
                  <a:pt x="453" y="499"/>
                </a:lnTo>
                <a:lnTo>
                  <a:pt x="459" y="490"/>
                </a:lnTo>
                <a:lnTo>
                  <a:pt x="466" y="484"/>
                </a:lnTo>
                <a:lnTo>
                  <a:pt x="474" y="479"/>
                </a:lnTo>
                <a:lnTo>
                  <a:pt x="484" y="476"/>
                </a:lnTo>
                <a:lnTo>
                  <a:pt x="494" y="474"/>
                </a:lnTo>
                <a:lnTo>
                  <a:pt x="599" y="474"/>
                </a:lnTo>
                <a:lnTo>
                  <a:pt x="609" y="476"/>
                </a:lnTo>
                <a:lnTo>
                  <a:pt x="618" y="479"/>
                </a:lnTo>
                <a:lnTo>
                  <a:pt x="627" y="484"/>
                </a:lnTo>
                <a:lnTo>
                  <a:pt x="633" y="490"/>
                </a:lnTo>
                <a:lnTo>
                  <a:pt x="640" y="499"/>
                </a:lnTo>
                <a:lnTo>
                  <a:pt x="645" y="508"/>
                </a:lnTo>
                <a:lnTo>
                  <a:pt x="648" y="518"/>
                </a:lnTo>
                <a:lnTo>
                  <a:pt x="648" y="530"/>
                </a:lnTo>
                <a:close/>
                <a:moveTo>
                  <a:pt x="725" y="1150"/>
                </a:moveTo>
                <a:lnTo>
                  <a:pt x="725" y="1150"/>
                </a:lnTo>
                <a:lnTo>
                  <a:pt x="704" y="1150"/>
                </a:lnTo>
                <a:lnTo>
                  <a:pt x="682" y="1148"/>
                </a:lnTo>
                <a:lnTo>
                  <a:pt x="661" y="1145"/>
                </a:lnTo>
                <a:lnTo>
                  <a:pt x="640" y="1142"/>
                </a:lnTo>
                <a:lnTo>
                  <a:pt x="618" y="1137"/>
                </a:lnTo>
                <a:lnTo>
                  <a:pt x="599" y="1130"/>
                </a:lnTo>
                <a:lnTo>
                  <a:pt x="579" y="1124"/>
                </a:lnTo>
                <a:lnTo>
                  <a:pt x="559" y="1117"/>
                </a:lnTo>
                <a:lnTo>
                  <a:pt x="541" y="1107"/>
                </a:lnTo>
                <a:lnTo>
                  <a:pt x="523" y="1099"/>
                </a:lnTo>
                <a:lnTo>
                  <a:pt x="505" y="1088"/>
                </a:lnTo>
                <a:lnTo>
                  <a:pt x="487" y="1078"/>
                </a:lnTo>
                <a:lnTo>
                  <a:pt x="454" y="1053"/>
                </a:lnTo>
                <a:lnTo>
                  <a:pt x="425" y="1025"/>
                </a:lnTo>
                <a:lnTo>
                  <a:pt x="397" y="996"/>
                </a:lnTo>
                <a:lnTo>
                  <a:pt x="372" y="963"/>
                </a:lnTo>
                <a:lnTo>
                  <a:pt x="363" y="945"/>
                </a:lnTo>
                <a:lnTo>
                  <a:pt x="351" y="927"/>
                </a:lnTo>
                <a:lnTo>
                  <a:pt x="343" y="909"/>
                </a:lnTo>
                <a:lnTo>
                  <a:pt x="333" y="891"/>
                </a:lnTo>
                <a:lnTo>
                  <a:pt x="326" y="871"/>
                </a:lnTo>
                <a:lnTo>
                  <a:pt x="320" y="851"/>
                </a:lnTo>
                <a:lnTo>
                  <a:pt x="313" y="832"/>
                </a:lnTo>
                <a:lnTo>
                  <a:pt x="308" y="810"/>
                </a:lnTo>
                <a:lnTo>
                  <a:pt x="305" y="789"/>
                </a:lnTo>
                <a:lnTo>
                  <a:pt x="302" y="768"/>
                </a:lnTo>
                <a:lnTo>
                  <a:pt x="300" y="746"/>
                </a:lnTo>
                <a:lnTo>
                  <a:pt x="300" y="725"/>
                </a:lnTo>
                <a:lnTo>
                  <a:pt x="302" y="697"/>
                </a:lnTo>
                <a:lnTo>
                  <a:pt x="303" y="669"/>
                </a:lnTo>
                <a:lnTo>
                  <a:pt x="308" y="641"/>
                </a:lnTo>
                <a:lnTo>
                  <a:pt x="315" y="615"/>
                </a:lnTo>
                <a:lnTo>
                  <a:pt x="323" y="589"/>
                </a:lnTo>
                <a:lnTo>
                  <a:pt x="331" y="564"/>
                </a:lnTo>
                <a:lnTo>
                  <a:pt x="343" y="540"/>
                </a:lnTo>
                <a:lnTo>
                  <a:pt x="356" y="517"/>
                </a:lnTo>
                <a:lnTo>
                  <a:pt x="356" y="648"/>
                </a:lnTo>
                <a:lnTo>
                  <a:pt x="658" y="648"/>
                </a:lnTo>
                <a:lnTo>
                  <a:pt x="725" y="579"/>
                </a:lnTo>
                <a:lnTo>
                  <a:pt x="794" y="648"/>
                </a:lnTo>
                <a:lnTo>
                  <a:pt x="1094" y="648"/>
                </a:lnTo>
                <a:lnTo>
                  <a:pt x="1094" y="517"/>
                </a:lnTo>
                <a:lnTo>
                  <a:pt x="1107" y="540"/>
                </a:lnTo>
                <a:lnTo>
                  <a:pt x="1119" y="564"/>
                </a:lnTo>
                <a:lnTo>
                  <a:pt x="1127" y="589"/>
                </a:lnTo>
                <a:lnTo>
                  <a:pt x="1135" y="615"/>
                </a:lnTo>
                <a:lnTo>
                  <a:pt x="1142" y="641"/>
                </a:lnTo>
                <a:lnTo>
                  <a:pt x="1147" y="669"/>
                </a:lnTo>
                <a:lnTo>
                  <a:pt x="1148" y="697"/>
                </a:lnTo>
                <a:lnTo>
                  <a:pt x="1150" y="725"/>
                </a:lnTo>
                <a:lnTo>
                  <a:pt x="1150" y="746"/>
                </a:lnTo>
                <a:lnTo>
                  <a:pt x="1148" y="768"/>
                </a:lnTo>
                <a:lnTo>
                  <a:pt x="1145" y="789"/>
                </a:lnTo>
                <a:lnTo>
                  <a:pt x="1142" y="810"/>
                </a:lnTo>
                <a:lnTo>
                  <a:pt x="1137" y="832"/>
                </a:lnTo>
                <a:lnTo>
                  <a:pt x="1130" y="851"/>
                </a:lnTo>
                <a:lnTo>
                  <a:pt x="1124" y="871"/>
                </a:lnTo>
                <a:lnTo>
                  <a:pt x="1117" y="891"/>
                </a:lnTo>
                <a:lnTo>
                  <a:pt x="1107" y="909"/>
                </a:lnTo>
                <a:lnTo>
                  <a:pt x="1099" y="927"/>
                </a:lnTo>
                <a:lnTo>
                  <a:pt x="1088" y="945"/>
                </a:lnTo>
                <a:lnTo>
                  <a:pt x="1078" y="963"/>
                </a:lnTo>
                <a:lnTo>
                  <a:pt x="1053" y="996"/>
                </a:lnTo>
                <a:lnTo>
                  <a:pt x="1025" y="1025"/>
                </a:lnTo>
                <a:lnTo>
                  <a:pt x="996" y="1053"/>
                </a:lnTo>
                <a:lnTo>
                  <a:pt x="963" y="1078"/>
                </a:lnTo>
                <a:lnTo>
                  <a:pt x="945" y="1088"/>
                </a:lnTo>
                <a:lnTo>
                  <a:pt x="927" y="1099"/>
                </a:lnTo>
                <a:lnTo>
                  <a:pt x="909" y="1107"/>
                </a:lnTo>
                <a:lnTo>
                  <a:pt x="891" y="1117"/>
                </a:lnTo>
                <a:lnTo>
                  <a:pt x="871" y="1124"/>
                </a:lnTo>
                <a:lnTo>
                  <a:pt x="851" y="1130"/>
                </a:lnTo>
                <a:lnTo>
                  <a:pt x="832" y="1137"/>
                </a:lnTo>
                <a:lnTo>
                  <a:pt x="810" y="1142"/>
                </a:lnTo>
                <a:lnTo>
                  <a:pt x="789" y="1145"/>
                </a:lnTo>
                <a:lnTo>
                  <a:pt x="769" y="1148"/>
                </a:lnTo>
                <a:lnTo>
                  <a:pt x="746" y="1150"/>
                </a:lnTo>
                <a:lnTo>
                  <a:pt x="725" y="1150"/>
                </a:lnTo>
                <a:close/>
                <a:moveTo>
                  <a:pt x="1030" y="700"/>
                </a:moveTo>
                <a:lnTo>
                  <a:pt x="420" y="700"/>
                </a:lnTo>
                <a:lnTo>
                  <a:pt x="410" y="702"/>
                </a:lnTo>
                <a:lnTo>
                  <a:pt x="402" y="707"/>
                </a:lnTo>
                <a:lnTo>
                  <a:pt x="397" y="715"/>
                </a:lnTo>
                <a:lnTo>
                  <a:pt x="395" y="725"/>
                </a:lnTo>
                <a:lnTo>
                  <a:pt x="397" y="759"/>
                </a:lnTo>
                <a:lnTo>
                  <a:pt x="402" y="791"/>
                </a:lnTo>
                <a:lnTo>
                  <a:pt x="410" y="823"/>
                </a:lnTo>
                <a:lnTo>
                  <a:pt x="422" y="853"/>
                </a:lnTo>
                <a:lnTo>
                  <a:pt x="435" y="882"/>
                </a:lnTo>
                <a:lnTo>
                  <a:pt x="451" y="909"/>
                </a:lnTo>
                <a:lnTo>
                  <a:pt x="471" y="935"/>
                </a:lnTo>
                <a:lnTo>
                  <a:pt x="492" y="958"/>
                </a:lnTo>
                <a:lnTo>
                  <a:pt x="515" y="979"/>
                </a:lnTo>
                <a:lnTo>
                  <a:pt x="541" y="999"/>
                </a:lnTo>
                <a:lnTo>
                  <a:pt x="568" y="1015"/>
                </a:lnTo>
                <a:lnTo>
                  <a:pt x="597" y="1028"/>
                </a:lnTo>
                <a:lnTo>
                  <a:pt x="627" y="1040"/>
                </a:lnTo>
                <a:lnTo>
                  <a:pt x="659" y="1048"/>
                </a:lnTo>
                <a:lnTo>
                  <a:pt x="691" y="1053"/>
                </a:lnTo>
                <a:lnTo>
                  <a:pt x="725" y="1055"/>
                </a:lnTo>
                <a:lnTo>
                  <a:pt x="759" y="1053"/>
                </a:lnTo>
                <a:lnTo>
                  <a:pt x="792" y="1048"/>
                </a:lnTo>
                <a:lnTo>
                  <a:pt x="823" y="1040"/>
                </a:lnTo>
                <a:lnTo>
                  <a:pt x="853" y="1028"/>
                </a:lnTo>
                <a:lnTo>
                  <a:pt x="882" y="1015"/>
                </a:lnTo>
                <a:lnTo>
                  <a:pt x="909" y="999"/>
                </a:lnTo>
                <a:lnTo>
                  <a:pt x="935" y="979"/>
                </a:lnTo>
                <a:lnTo>
                  <a:pt x="958" y="958"/>
                </a:lnTo>
                <a:lnTo>
                  <a:pt x="979" y="935"/>
                </a:lnTo>
                <a:lnTo>
                  <a:pt x="999" y="909"/>
                </a:lnTo>
                <a:lnTo>
                  <a:pt x="1015" y="882"/>
                </a:lnTo>
                <a:lnTo>
                  <a:pt x="1028" y="853"/>
                </a:lnTo>
                <a:lnTo>
                  <a:pt x="1040" y="823"/>
                </a:lnTo>
                <a:lnTo>
                  <a:pt x="1048" y="791"/>
                </a:lnTo>
                <a:lnTo>
                  <a:pt x="1053" y="759"/>
                </a:lnTo>
                <a:lnTo>
                  <a:pt x="1055" y="725"/>
                </a:lnTo>
                <a:lnTo>
                  <a:pt x="1053" y="715"/>
                </a:lnTo>
                <a:lnTo>
                  <a:pt x="1048" y="707"/>
                </a:lnTo>
                <a:lnTo>
                  <a:pt x="1040" y="702"/>
                </a:lnTo>
                <a:lnTo>
                  <a:pt x="1030" y="700"/>
                </a:lnTo>
                <a:close/>
                <a:moveTo>
                  <a:pt x="923" y="923"/>
                </a:moveTo>
                <a:lnTo>
                  <a:pt x="923" y="923"/>
                </a:lnTo>
                <a:lnTo>
                  <a:pt x="904" y="942"/>
                </a:lnTo>
                <a:lnTo>
                  <a:pt x="882" y="958"/>
                </a:lnTo>
                <a:lnTo>
                  <a:pt x="860" y="971"/>
                </a:lnTo>
                <a:lnTo>
                  <a:pt x="835" y="984"/>
                </a:lnTo>
                <a:lnTo>
                  <a:pt x="809" y="992"/>
                </a:lnTo>
                <a:lnTo>
                  <a:pt x="782" y="1001"/>
                </a:lnTo>
                <a:lnTo>
                  <a:pt x="755" y="1004"/>
                </a:lnTo>
                <a:lnTo>
                  <a:pt x="725" y="1005"/>
                </a:lnTo>
                <a:lnTo>
                  <a:pt x="697" y="1004"/>
                </a:lnTo>
                <a:lnTo>
                  <a:pt x="669" y="1001"/>
                </a:lnTo>
                <a:lnTo>
                  <a:pt x="641" y="992"/>
                </a:lnTo>
                <a:lnTo>
                  <a:pt x="615" y="984"/>
                </a:lnTo>
                <a:lnTo>
                  <a:pt x="592" y="971"/>
                </a:lnTo>
                <a:lnTo>
                  <a:pt x="568" y="958"/>
                </a:lnTo>
                <a:lnTo>
                  <a:pt x="546" y="942"/>
                </a:lnTo>
                <a:lnTo>
                  <a:pt x="527" y="923"/>
                </a:lnTo>
                <a:lnTo>
                  <a:pt x="510" y="905"/>
                </a:lnTo>
                <a:lnTo>
                  <a:pt x="495" y="886"/>
                </a:lnTo>
                <a:lnTo>
                  <a:pt x="482" y="866"/>
                </a:lnTo>
                <a:lnTo>
                  <a:pt x="471" y="845"/>
                </a:lnTo>
                <a:lnTo>
                  <a:pt x="463" y="822"/>
                </a:lnTo>
                <a:lnTo>
                  <a:pt x="454" y="799"/>
                </a:lnTo>
                <a:lnTo>
                  <a:pt x="449" y="774"/>
                </a:lnTo>
                <a:lnTo>
                  <a:pt x="446" y="750"/>
                </a:lnTo>
                <a:lnTo>
                  <a:pt x="1004" y="750"/>
                </a:lnTo>
                <a:lnTo>
                  <a:pt x="1001" y="774"/>
                </a:lnTo>
                <a:lnTo>
                  <a:pt x="996" y="799"/>
                </a:lnTo>
                <a:lnTo>
                  <a:pt x="989" y="822"/>
                </a:lnTo>
                <a:lnTo>
                  <a:pt x="979" y="845"/>
                </a:lnTo>
                <a:lnTo>
                  <a:pt x="968" y="866"/>
                </a:lnTo>
                <a:lnTo>
                  <a:pt x="955" y="886"/>
                </a:lnTo>
                <a:lnTo>
                  <a:pt x="940" y="905"/>
                </a:lnTo>
                <a:lnTo>
                  <a:pt x="923" y="92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grpSp>
        <p:nvGrpSpPr>
          <p:cNvPr id="37" name="Group 36"/>
          <p:cNvGrpSpPr/>
          <p:nvPr userDrawn="1"/>
        </p:nvGrpSpPr>
        <p:grpSpPr>
          <a:xfrm>
            <a:off x="4215397" y="3967485"/>
            <a:ext cx="1080000" cy="1080000"/>
            <a:chOff x="5934075" y="2346325"/>
            <a:chExt cx="1865313" cy="1866900"/>
          </a:xfrm>
          <a:solidFill>
            <a:srgbClr val="000000"/>
          </a:solidFill>
        </p:grpSpPr>
        <p:sp>
          <p:nvSpPr>
            <p:cNvPr id="38" name="Freeform 75">
              <a:extLst>
                <a:ext uri="{FF2B5EF4-FFF2-40B4-BE49-F238E27FC236}">
                  <a16:creationId xmlns:a16="http://schemas.microsoft.com/office/drawing/2014/main" id="{9A89185D-3F66-438E-B46D-6C0047B983AA}"/>
                </a:ext>
              </a:extLst>
            </p:cNvPr>
            <p:cNvSpPr>
              <a:spLocks noEditPoints="1"/>
            </p:cNvSpPr>
            <p:nvPr/>
          </p:nvSpPr>
          <p:spPr bwMode="auto">
            <a:xfrm>
              <a:off x="6610350" y="3011488"/>
              <a:ext cx="512763" cy="488950"/>
            </a:xfrm>
            <a:custGeom>
              <a:avLst/>
              <a:gdLst>
                <a:gd name="T0" fmla="*/ 2081 w 2585"/>
                <a:gd name="T1" fmla="*/ 2316 h 2460"/>
                <a:gd name="T2" fmla="*/ 2270 w 2585"/>
                <a:gd name="T3" fmla="*/ 2138 h 2460"/>
                <a:gd name="T4" fmla="*/ 2398 w 2585"/>
                <a:gd name="T5" fmla="*/ 1962 h 2460"/>
                <a:gd name="T6" fmla="*/ 2483 w 2585"/>
                <a:gd name="T7" fmla="*/ 1795 h 2460"/>
                <a:gd name="T8" fmla="*/ 2552 w 2585"/>
                <a:gd name="T9" fmla="*/ 1581 h 2460"/>
                <a:gd name="T10" fmla="*/ 2582 w 2585"/>
                <a:gd name="T11" fmla="*/ 1358 h 2460"/>
                <a:gd name="T12" fmla="*/ 2578 w 2585"/>
                <a:gd name="T13" fmla="*/ 1162 h 2460"/>
                <a:gd name="T14" fmla="*/ 2536 w 2585"/>
                <a:gd name="T15" fmla="*/ 941 h 2460"/>
                <a:gd name="T16" fmla="*/ 2471 w 2585"/>
                <a:gd name="T17" fmla="*/ 761 h 2460"/>
                <a:gd name="T18" fmla="*/ 2365 w 2585"/>
                <a:gd name="T19" fmla="*/ 571 h 2460"/>
                <a:gd name="T20" fmla="*/ 2228 w 2585"/>
                <a:gd name="T21" fmla="*/ 400 h 2460"/>
                <a:gd name="T22" fmla="*/ 2089 w 2585"/>
                <a:gd name="T23" fmla="*/ 274 h 2460"/>
                <a:gd name="T24" fmla="*/ 1907 w 2585"/>
                <a:gd name="T25" fmla="*/ 155 h 2460"/>
                <a:gd name="T26" fmla="*/ 1734 w 2585"/>
                <a:gd name="T27" fmla="*/ 77 h 2460"/>
                <a:gd name="T28" fmla="*/ 1518 w 2585"/>
                <a:gd name="T29" fmla="*/ 19 h 2460"/>
                <a:gd name="T30" fmla="*/ 1292 w 2585"/>
                <a:gd name="T31" fmla="*/ 0 h 2460"/>
                <a:gd name="T32" fmla="*/ 1099 w 2585"/>
                <a:gd name="T33" fmla="*/ 14 h 2460"/>
                <a:gd name="T34" fmla="*/ 880 w 2585"/>
                <a:gd name="T35" fmla="*/ 66 h 2460"/>
                <a:gd name="T36" fmla="*/ 704 w 2585"/>
                <a:gd name="T37" fmla="*/ 141 h 2460"/>
                <a:gd name="T38" fmla="*/ 521 w 2585"/>
                <a:gd name="T39" fmla="*/ 255 h 2460"/>
                <a:gd name="T40" fmla="*/ 379 w 2585"/>
                <a:gd name="T41" fmla="*/ 377 h 2460"/>
                <a:gd name="T42" fmla="*/ 238 w 2585"/>
                <a:gd name="T43" fmla="*/ 545 h 2460"/>
                <a:gd name="T44" fmla="*/ 127 w 2585"/>
                <a:gd name="T45" fmla="*/ 732 h 2460"/>
                <a:gd name="T46" fmla="*/ 58 w 2585"/>
                <a:gd name="T47" fmla="*/ 910 h 2460"/>
                <a:gd name="T48" fmla="*/ 10 w 2585"/>
                <a:gd name="T49" fmla="*/ 1130 h 2460"/>
                <a:gd name="T50" fmla="*/ 0 w 2585"/>
                <a:gd name="T51" fmla="*/ 1325 h 2460"/>
                <a:gd name="T52" fmla="*/ 26 w 2585"/>
                <a:gd name="T53" fmla="*/ 1550 h 2460"/>
                <a:gd name="T54" fmla="*/ 89 w 2585"/>
                <a:gd name="T55" fmla="*/ 1766 h 2460"/>
                <a:gd name="T56" fmla="*/ 171 w 2585"/>
                <a:gd name="T57" fmla="*/ 1935 h 2460"/>
                <a:gd name="T58" fmla="*/ 294 w 2585"/>
                <a:gd name="T59" fmla="*/ 2114 h 2460"/>
                <a:gd name="T60" fmla="*/ 457 w 2585"/>
                <a:gd name="T61" fmla="*/ 2279 h 2460"/>
                <a:gd name="T62" fmla="*/ 720 w 2585"/>
                <a:gd name="T63" fmla="*/ 2365 h 2460"/>
                <a:gd name="T64" fmla="*/ 737 w 2585"/>
                <a:gd name="T65" fmla="*/ 2259 h 2460"/>
                <a:gd name="T66" fmla="*/ 792 w 2585"/>
                <a:gd name="T67" fmla="*/ 2152 h 2460"/>
                <a:gd name="T68" fmla="*/ 879 w 2585"/>
                <a:gd name="T69" fmla="*/ 2070 h 2460"/>
                <a:gd name="T70" fmla="*/ 988 w 2585"/>
                <a:gd name="T71" fmla="*/ 2020 h 2460"/>
                <a:gd name="T72" fmla="*/ 1490 w 2585"/>
                <a:gd name="T73" fmla="*/ 2008 h 2460"/>
                <a:gd name="T74" fmla="*/ 1613 w 2585"/>
                <a:gd name="T75" fmla="*/ 2029 h 2460"/>
                <a:gd name="T76" fmla="*/ 1717 w 2585"/>
                <a:gd name="T77" fmla="*/ 2090 h 2460"/>
                <a:gd name="T78" fmla="*/ 1795 w 2585"/>
                <a:gd name="T79" fmla="*/ 2180 h 2460"/>
                <a:gd name="T80" fmla="*/ 1840 w 2585"/>
                <a:gd name="T81" fmla="*/ 2293 h 2460"/>
                <a:gd name="T82" fmla="*/ 1292 w 2585"/>
                <a:gd name="T83" fmla="*/ 1910 h 2460"/>
                <a:gd name="T84" fmla="*/ 1079 w 2585"/>
                <a:gd name="T85" fmla="*/ 1873 h 2460"/>
                <a:gd name="T86" fmla="*/ 899 w 2585"/>
                <a:gd name="T87" fmla="*/ 1769 h 2460"/>
                <a:gd name="T88" fmla="*/ 764 w 2585"/>
                <a:gd name="T89" fmla="*/ 1613 h 2460"/>
                <a:gd name="T90" fmla="*/ 687 w 2585"/>
                <a:gd name="T91" fmla="*/ 1417 h 2460"/>
                <a:gd name="T92" fmla="*/ 678 w 2585"/>
                <a:gd name="T93" fmla="*/ 1229 h 2460"/>
                <a:gd name="T94" fmla="*/ 736 w 2585"/>
                <a:gd name="T95" fmla="*/ 1024 h 2460"/>
                <a:gd name="T96" fmla="*/ 856 w 2585"/>
                <a:gd name="T97" fmla="*/ 855 h 2460"/>
                <a:gd name="T98" fmla="*/ 1024 w 2585"/>
                <a:gd name="T99" fmla="*/ 735 h 2460"/>
                <a:gd name="T100" fmla="*/ 1229 w 2585"/>
                <a:gd name="T101" fmla="*/ 677 h 2460"/>
                <a:gd name="T102" fmla="*/ 1417 w 2585"/>
                <a:gd name="T103" fmla="*/ 687 h 2460"/>
                <a:gd name="T104" fmla="*/ 1613 w 2585"/>
                <a:gd name="T105" fmla="*/ 764 h 2460"/>
                <a:gd name="T106" fmla="*/ 1769 w 2585"/>
                <a:gd name="T107" fmla="*/ 898 h 2460"/>
                <a:gd name="T108" fmla="*/ 1872 w 2585"/>
                <a:gd name="T109" fmla="*/ 1080 h 2460"/>
                <a:gd name="T110" fmla="*/ 1910 w 2585"/>
                <a:gd name="T111" fmla="*/ 1292 h 2460"/>
                <a:gd name="T112" fmla="*/ 1882 w 2585"/>
                <a:gd name="T113" fmla="*/ 1476 h 2460"/>
                <a:gd name="T114" fmla="*/ 1788 w 2585"/>
                <a:gd name="T115" fmla="*/ 1663 h 2460"/>
                <a:gd name="T116" fmla="*/ 1638 w 2585"/>
                <a:gd name="T117" fmla="*/ 1805 h 2460"/>
                <a:gd name="T118" fmla="*/ 1447 w 2585"/>
                <a:gd name="T119" fmla="*/ 1890 h 2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85" h="2460">
                  <a:moveTo>
                    <a:pt x="1847" y="2460"/>
                  </a:moveTo>
                  <a:lnTo>
                    <a:pt x="1847" y="2460"/>
                  </a:lnTo>
                  <a:lnTo>
                    <a:pt x="1896" y="2435"/>
                  </a:lnTo>
                  <a:lnTo>
                    <a:pt x="1945" y="2409"/>
                  </a:lnTo>
                  <a:lnTo>
                    <a:pt x="1991" y="2380"/>
                  </a:lnTo>
                  <a:lnTo>
                    <a:pt x="2037" y="2350"/>
                  </a:lnTo>
                  <a:lnTo>
                    <a:pt x="2081" y="2316"/>
                  </a:lnTo>
                  <a:lnTo>
                    <a:pt x="2124" y="2281"/>
                  </a:lnTo>
                  <a:lnTo>
                    <a:pt x="2166" y="2245"/>
                  </a:lnTo>
                  <a:lnTo>
                    <a:pt x="2206" y="2206"/>
                  </a:lnTo>
                  <a:lnTo>
                    <a:pt x="2206" y="2206"/>
                  </a:lnTo>
                  <a:lnTo>
                    <a:pt x="2228" y="2183"/>
                  </a:lnTo>
                  <a:lnTo>
                    <a:pt x="2250" y="2161"/>
                  </a:lnTo>
                  <a:lnTo>
                    <a:pt x="2270" y="2138"/>
                  </a:lnTo>
                  <a:lnTo>
                    <a:pt x="2290" y="2114"/>
                  </a:lnTo>
                  <a:lnTo>
                    <a:pt x="2309" y="2089"/>
                  </a:lnTo>
                  <a:lnTo>
                    <a:pt x="2329" y="2065"/>
                  </a:lnTo>
                  <a:lnTo>
                    <a:pt x="2347" y="2039"/>
                  </a:lnTo>
                  <a:lnTo>
                    <a:pt x="2365" y="2014"/>
                  </a:lnTo>
                  <a:lnTo>
                    <a:pt x="2382" y="1988"/>
                  </a:lnTo>
                  <a:lnTo>
                    <a:pt x="2398" y="1962"/>
                  </a:lnTo>
                  <a:lnTo>
                    <a:pt x="2413" y="1935"/>
                  </a:lnTo>
                  <a:lnTo>
                    <a:pt x="2429" y="1908"/>
                  </a:lnTo>
                  <a:lnTo>
                    <a:pt x="2444" y="1881"/>
                  </a:lnTo>
                  <a:lnTo>
                    <a:pt x="2457" y="1852"/>
                  </a:lnTo>
                  <a:lnTo>
                    <a:pt x="2471" y="1824"/>
                  </a:lnTo>
                  <a:lnTo>
                    <a:pt x="2483" y="1795"/>
                  </a:lnTo>
                  <a:lnTo>
                    <a:pt x="2483" y="1795"/>
                  </a:lnTo>
                  <a:lnTo>
                    <a:pt x="2495" y="1766"/>
                  </a:lnTo>
                  <a:lnTo>
                    <a:pt x="2507" y="1735"/>
                  </a:lnTo>
                  <a:lnTo>
                    <a:pt x="2517" y="1705"/>
                  </a:lnTo>
                  <a:lnTo>
                    <a:pt x="2527" y="1674"/>
                  </a:lnTo>
                  <a:lnTo>
                    <a:pt x="2536" y="1643"/>
                  </a:lnTo>
                  <a:lnTo>
                    <a:pt x="2545" y="1613"/>
                  </a:lnTo>
                  <a:lnTo>
                    <a:pt x="2552" y="1581"/>
                  </a:lnTo>
                  <a:lnTo>
                    <a:pt x="2559" y="1550"/>
                  </a:lnTo>
                  <a:lnTo>
                    <a:pt x="2565" y="1518"/>
                  </a:lnTo>
                  <a:lnTo>
                    <a:pt x="2569" y="1487"/>
                  </a:lnTo>
                  <a:lnTo>
                    <a:pt x="2574" y="1454"/>
                  </a:lnTo>
                  <a:lnTo>
                    <a:pt x="2578" y="1423"/>
                  </a:lnTo>
                  <a:lnTo>
                    <a:pt x="2580" y="1390"/>
                  </a:lnTo>
                  <a:lnTo>
                    <a:pt x="2582" y="1358"/>
                  </a:lnTo>
                  <a:lnTo>
                    <a:pt x="2584" y="1325"/>
                  </a:lnTo>
                  <a:lnTo>
                    <a:pt x="2585" y="1292"/>
                  </a:lnTo>
                  <a:lnTo>
                    <a:pt x="2585" y="1292"/>
                  </a:lnTo>
                  <a:lnTo>
                    <a:pt x="2584" y="1260"/>
                  </a:lnTo>
                  <a:lnTo>
                    <a:pt x="2582" y="1227"/>
                  </a:lnTo>
                  <a:lnTo>
                    <a:pt x="2580" y="1195"/>
                  </a:lnTo>
                  <a:lnTo>
                    <a:pt x="2578" y="1162"/>
                  </a:lnTo>
                  <a:lnTo>
                    <a:pt x="2574" y="1130"/>
                  </a:lnTo>
                  <a:lnTo>
                    <a:pt x="2569" y="1098"/>
                  </a:lnTo>
                  <a:lnTo>
                    <a:pt x="2565" y="1067"/>
                  </a:lnTo>
                  <a:lnTo>
                    <a:pt x="2559" y="1035"/>
                  </a:lnTo>
                  <a:lnTo>
                    <a:pt x="2552" y="1004"/>
                  </a:lnTo>
                  <a:lnTo>
                    <a:pt x="2545" y="972"/>
                  </a:lnTo>
                  <a:lnTo>
                    <a:pt x="2536" y="941"/>
                  </a:lnTo>
                  <a:lnTo>
                    <a:pt x="2527" y="910"/>
                  </a:lnTo>
                  <a:lnTo>
                    <a:pt x="2517" y="880"/>
                  </a:lnTo>
                  <a:lnTo>
                    <a:pt x="2507" y="850"/>
                  </a:lnTo>
                  <a:lnTo>
                    <a:pt x="2495" y="819"/>
                  </a:lnTo>
                  <a:lnTo>
                    <a:pt x="2483" y="789"/>
                  </a:lnTo>
                  <a:lnTo>
                    <a:pt x="2483" y="789"/>
                  </a:lnTo>
                  <a:lnTo>
                    <a:pt x="2471" y="761"/>
                  </a:lnTo>
                  <a:lnTo>
                    <a:pt x="2457" y="732"/>
                  </a:lnTo>
                  <a:lnTo>
                    <a:pt x="2444" y="704"/>
                  </a:lnTo>
                  <a:lnTo>
                    <a:pt x="2429" y="677"/>
                  </a:lnTo>
                  <a:lnTo>
                    <a:pt x="2413" y="650"/>
                  </a:lnTo>
                  <a:lnTo>
                    <a:pt x="2398" y="623"/>
                  </a:lnTo>
                  <a:lnTo>
                    <a:pt x="2382" y="597"/>
                  </a:lnTo>
                  <a:lnTo>
                    <a:pt x="2365" y="571"/>
                  </a:lnTo>
                  <a:lnTo>
                    <a:pt x="2347" y="545"/>
                  </a:lnTo>
                  <a:lnTo>
                    <a:pt x="2329" y="520"/>
                  </a:lnTo>
                  <a:lnTo>
                    <a:pt x="2309" y="495"/>
                  </a:lnTo>
                  <a:lnTo>
                    <a:pt x="2290" y="471"/>
                  </a:lnTo>
                  <a:lnTo>
                    <a:pt x="2270" y="447"/>
                  </a:lnTo>
                  <a:lnTo>
                    <a:pt x="2250" y="423"/>
                  </a:lnTo>
                  <a:lnTo>
                    <a:pt x="2228" y="400"/>
                  </a:lnTo>
                  <a:lnTo>
                    <a:pt x="2206" y="377"/>
                  </a:lnTo>
                  <a:lnTo>
                    <a:pt x="2206" y="377"/>
                  </a:lnTo>
                  <a:lnTo>
                    <a:pt x="2183" y="356"/>
                  </a:lnTo>
                  <a:lnTo>
                    <a:pt x="2161" y="335"/>
                  </a:lnTo>
                  <a:lnTo>
                    <a:pt x="2137" y="313"/>
                  </a:lnTo>
                  <a:lnTo>
                    <a:pt x="2113" y="294"/>
                  </a:lnTo>
                  <a:lnTo>
                    <a:pt x="2089" y="274"/>
                  </a:lnTo>
                  <a:lnTo>
                    <a:pt x="2064" y="255"/>
                  </a:lnTo>
                  <a:lnTo>
                    <a:pt x="2039" y="236"/>
                  </a:lnTo>
                  <a:lnTo>
                    <a:pt x="2013" y="219"/>
                  </a:lnTo>
                  <a:lnTo>
                    <a:pt x="1987" y="202"/>
                  </a:lnTo>
                  <a:lnTo>
                    <a:pt x="1961" y="185"/>
                  </a:lnTo>
                  <a:lnTo>
                    <a:pt x="1935" y="170"/>
                  </a:lnTo>
                  <a:lnTo>
                    <a:pt x="1907" y="155"/>
                  </a:lnTo>
                  <a:lnTo>
                    <a:pt x="1880" y="141"/>
                  </a:lnTo>
                  <a:lnTo>
                    <a:pt x="1852" y="127"/>
                  </a:lnTo>
                  <a:lnTo>
                    <a:pt x="1823" y="114"/>
                  </a:lnTo>
                  <a:lnTo>
                    <a:pt x="1795" y="101"/>
                  </a:lnTo>
                  <a:lnTo>
                    <a:pt x="1795" y="101"/>
                  </a:lnTo>
                  <a:lnTo>
                    <a:pt x="1765" y="89"/>
                  </a:lnTo>
                  <a:lnTo>
                    <a:pt x="1734" y="77"/>
                  </a:lnTo>
                  <a:lnTo>
                    <a:pt x="1704" y="66"/>
                  </a:lnTo>
                  <a:lnTo>
                    <a:pt x="1674" y="56"/>
                  </a:lnTo>
                  <a:lnTo>
                    <a:pt x="1643" y="47"/>
                  </a:lnTo>
                  <a:lnTo>
                    <a:pt x="1612" y="39"/>
                  </a:lnTo>
                  <a:lnTo>
                    <a:pt x="1580" y="31"/>
                  </a:lnTo>
                  <a:lnTo>
                    <a:pt x="1549" y="25"/>
                  </a:lnTo>
                  <a:lnTo>
                    <a:pt x="1518" y="19"/>
                  </a:lnTo>
                  <a:lnTo>
                    <a:pt x="1486" y="14"/>
                  </a:lnTo>
                  <a:lnTo>
                    <a:pt x="1455" y="9"/>
                  </a:lnTo>
                  <a:lnTo>
                    <a:pt x="1422" y="5"/>
                  </a:lnTo>
                  <a:lnTo>
                    <a:pt x="1390" y="3"/>
                  </a:lnTo>
                  <a:lnTo>
                    <a:pt x="1357" y="1"/>
                  </a:lnTo>
                  <a:lnTo>
                    <a:pt x="1325" y="0"/>
                  </a:lnTo>
                  <a:lnTo>
                    <a:pt x="1292" y="0"/>
                  </a:lnTo>
                  <a:lnTo>
                    <a:pt x="1292" y="0"/>
                  </a:lnTo>
                  <a:lnTo>
                    <a:pt x="1259" y="0"/>
                  </a:lnTo>
                  <a:lnTo>
                    <a:pt x="1227" y="1"/>
                  </a:lnTo>
                  <a:lnTo>
                    <a:pt x="1194" y="3"/>
                  </a:lnTo>
                  <a:lnTo>
                    <a:pt x="1163" y="5"/>
                  </a:lnTo>
                  <a:lnTo>
                    <a:pt x="1130" y="9"/>
                  </a:lnTo>
                  <a:lnTo>
                    <a:pt x="1099" y="14"/>
                  </a:lnTo>
                  <a:lnTo>
                    <a:pt x="1066" y="19"/>
                  </a:lnTo>
                  <a:lnTo>
                    <a:pt x="1035" y="25"/>
                  </a:lnTo>
                  <a:lnTo>
                    <a:pt x="1004" y="31"/>
                  </a:lnTo>
                  <a:lnTo>
                    <a:pt x="972" y="39"/>
                  </a:lnTo>
                  <a:lnTo>
                    <a:pt x="942" y="47"/>
                  </a:lnTo>
                  <a:lnTo>
                    <a:pt x="910" y="56"/>
                  </a:lnTo>
                  <a:lnTo>
                    <a:pt x="880" y="66"/>
                  </a:lnTo>
                  <a:lnTo>
                    <a:pt x="850" y="77"/>
                  </a:lnTo>
                  <a:lnTo>
                    <a:pt x="819" y="89"/>
                  </a:lnTo>
                  <a:lnTo>
                    <a:pt x="790" y="101"/>
                  </a:lnTo>
                  <a:lnTo>
                    <a:pt x="790" y="101"/>
                  </a:lnTo>
                  <a:lnTo>
                    <a:pt x="761" y="114"/>
                  </a:lnTo>
                  <a:lnTo>
                    <a:pt x="732" y="127"/>
                  </a:lnTo>
                  <a:lnTo>
                    <a:pt x="704" y="141"/>
                  </a:lnTo>
                  <a:lnTo>
                    <a:pt x="677" y="155"/>
                  </a:lnTo>
                  <a:lnTo>
                    <a:pt x="650" y="170"/>
                  </a:lnTo>
                  <a:lnTo>
                    <a:pt x="623" y="185"/>
                  </a:lnTo>
                  <a:lnTo>
                    <a:pt x="597" y="202"/>
                  </a:lnTo>
                  <a:lnTo>
                    <a:pt x="571" y="219"/>
                  </a:lnTo>
                  <a:lnTo>
                    <a:pt x="546" y="236"/>
                  </a:lnTo>
                  <a:lnTo>
                    <a:pt x="521" y="255"/>
                  </a:lnTo>
                  <a:lnTo>
                    <a:pt x="496" y="274"/>
                  </a:lnTo>
                  <a:lnTo>
                    <a:pt x="471" y="294"/>
                  </a:lnTo>
                  <a:lnTo>
                    <a:pt x="447" y="313"/>
                  </a:lnTo>
                  <a:lnTo>
                    <a:pt x="424" y="335"/>
                  </a:lnTo>
                  <a:lnTo>
                    <a:pt x="402" y="356"/>
                  </a:lnTo>
                  <a:lnTo>
                    <a:pt x="379" y="377"/>
                  </a:lnTo>
                  <a:lnTo>
                    <a:pt x="379" y="377"/>
                  </a:lnTo>
                  <a:lnTo>
                    <a:pt x="357" y="400"/>
                  </a:lnTo>
                  <a:lnTo>
                    <a:pt x="336" y="423"/>
                  </a:lnTo>
                  <a:lnTo>
                    <a:pt x="315" y="447"/>
                  </a:lnTo>
                  <a:lnTo>
                    <a:pt x="294" y="471"/>
                  </a:lnTo>
                  <a:lnTo>
                    <a:pt x="275" y="495"/>
                  </a:lnTo>
                  <a:lnTo>
                    <a:pt x="256" y="520"/>
                  </a:lnTo>
                  <a:lnTo>
                    <a:pt x="238" y="545"/>
                  </a:lnTo>
                  <a:lnTo>
                    <a:pt x="221" y="571"/>
                  </a:lnTo>
                  <a:lnTo>
                    <a:pt x="203" y="597"/>
                  </a:lnTo>
                  <a:lnTo>
                    <a:pt x="187" y="623"/>
                  </a:lnTo>
                  <a:lnTo>
                    <a:pt x="171" y="650"/>
                  </a:lnTo>
                  <a:lnTo>
                    <a:pt x="155" y="677"/>
                  </a:lnTo>
                  <a:lnTo>
                    <a:pt x="141" y="704"/>
                  </a:lnTo>
                  <a:lnTo>
                    <a:pt x="127" y="732"/>
                  </a:lnTo>
                  <a:lnTo>
                    <a:pt x="114" y="761"/>
                  </a:lnTo>
                  <a:lnTo>
                    <a:pt x="102" y="789"/>
                  </a:lnTo>
                  <a:lnTo>
                    <a:pt x="102" y="789"/>
                  </a:lnTo>
                  <a:lnTo>
                    <a:pt x="89" y="819"/>
                  </a:lnTo>
                  <a:lnTo>
                    <a:pt x="79" y="850"/>
                  </a:lnTo>
                  <a:lnTo>
                    <a:pt x="68" y="880"/>
                  </a:lnTo>
                  <a:lnTo>
                    <a:pt x="58" y="910"/>
                  </a:lnTo>
                  <a:lnTo>
                    <a:pt x="48" y="941"/>
                  </a:lnTo>
                  <a:lnTo>
                    <a:pt x="41" y="972"/>
                  </a:lnTo>
                  <a:lnTo>
                    <a:pt x="33" y="1004"/>
                  </a:lnTo>
                  <a:lnTo>
                    <a:pt x="26" y="1035"/>
                  </a:lnTo>
                  <a:lnTo>
                    <a:pt x="20" y="1067"/>
                  </a:lnTo>
                  <a:lnTo>
                    <a:pt x="15" y="1098"/>
                  </a:lnTo>
                  <a:lnTo>
                    <a:pt x="10" y="1130"/>
                  </a:lnTo>
                  <a:lnTo>
                    <a:pt x="7" y="1162"/>
                  </a:lnTo>
                  <a:lnTo>
                    <a:pt x="4" y="1195"/>
                  </a:lnTo>
                  <a:lnTo>
                    <a:pt x="3" y="1227"/>
                  </a:lnTo>
                  <a:lnTo>
                    <a:pt x="0" y="1260"/>
                  </a:lnTo>
                  <a:lnTo>
                    <a:pt x="0" y="1292"/>
                  </a:lnTo>
                  <a:lnTo>
                    <a:pt x="0" y="1292"/>
                  </a:lnTo>
                  <a:lnTo>
                    <a:pt x="0" y="1325"/>
                  </a:lnTo>
                  <a:lnTo>
                    <a:pt x="3" y="1358"/>
                  </a:lnTo>
                  <a:lnTo>
                    <a:pt x="4" y="1390"/>
                  </a:lnTo>
                  <a:lnTo>
                    <a:pt x="7" y="1423"/>
                  </a:lnTo>
                  <a:lnTo>
                    <a:pt x="10" y="1454"/>
                  </a:lnTo>
                  <a:lnTo>
                    <a:pt x="15" y="1487"/>
                  </a:lnTo>
                  <a:lnTo>
                    <a:pt x="20" y="1518"/>
                  </a:lnTo>
                  <a:lnTo>
                    <a:pt x="26" y="1550"/>
                  </a:lnTo>
                  <a:lnTo>
                    <a:pt x="33" y="1581"/>
                  </a:lnTo>
                  <a:lnTo>
                    <a:pt x="41" y="1613"/>
                  </a:lnTo>
                  <a:lnTo>
                    <a:pt x="48" y="1643"/>
                  </a:lnTo>
                  <a:lnTo>
                    <a:pt x="58" y="1674"/>
                  </a:lnTo>
                  <a:lnTo>
                    <a:pt x="68" y="1705"/>
                  </a:lnTo>
                  <a:lnTo>
                    <a:pt x="79" y="1735"/>
                  </a:lnTo>
                  <a:lnTo>
                    <a:pt x="89" y="1766"/>
                  </a:lnTo>
                  <a:lnTo>
                    <a:pt x="102" y="1795"/>
                  </a:lnTo>
                  <a:lnTo>
                    <a:pt x="102" y="1795"/>
                  </a:lnTo>
                  <a:lnTo>
                    <a:pt x="114" y="1824"/>
                  </a:lnTo>
                  <a:lnTo>
                    <a:pt x="127" y="1852"/>
                  </a:lnTo>
                  <a:lnTo>
                    <a:pt x="141" y="1881"/>
                  </a:lnTo>
                  <a:lnTo>
                    <a:pt x="155" y="1908"/>
                  </a:lnTo>
                  <a:lnTo>
                    <a:pt x="171" y="1935"/>
                  </a:lnTo>
                  <a:lnTo>
                    <a:pt x="187" y="1962"/>
                  </a:lnTo>
                  <a:lnTo>
                    <a:pt x="203" y="1988"/>
                  </a:lnTo>
                  <a:lnTo>
                    <a:pt x="221" y="2014"/>
                  </a:lnTo>
                  <a:lnTo>
                    <a:pt x="238" y="2039"/>
                  </a:lnTo>
                  <a:lnTo>
                    <a:pt x="256" y="2065"/>
                  </a:lnTo>
                  <a:lnTo>
                    <a:pt x="275" y="2089"/>
                  </a:lnTo>
                  <a:lnTo>
                    <a:pt x="294" y="2114"/>
                  </a:lnTo>
                  <a:lnTo>
                    <a:pt x="315" y="2138"/>
                  </a:lnTo>
                  <a:lnTo>
                    <a:pt x="336" y="2161"/>
                  </a:lnTo>
                  <a:lnTo>
                    <a:pt x="357" y="2183"/>
                  </a:lnTo>
                  <a:lnTo>
                    <a:pt x="379" y="2206"/>
                  </a:lnTo>
                  <a:lnTo>
                    <a:pt x="379" y="2206"/>
                  </a:lnTo>
                  <a:lnTo>
                    <a:pt x="417" y="2243"/>
                  </a:lnTo>
                  <a:lnTo>
                    <a:pt x="457" y="2279"/>
                  </a:lnTo>
                  <a:lnTo>
                    <a:pt x="498" y="2312"/>
                  </a:lnTo>
                  <a:lnTo>
                    <a:pt x="540" y="2344"/>
                  </a:lnTo>
                  <a:lnTo>
                    <a:pt x="584" y="2373"/>
                  </a:lnTo>
                  <a:lnTo>
                    <a:pt x="628" y="2402"/>
                  </a:lnTo>
                  <a:lnTo>
                    <a:pt x="674" y="2428"/>
                  </a:lnTo>
                  <a:lnTo>
                    <a:pt x="720" y="2452"/>
                  </a:lnTo>
                  <a:lnTo>
                    <a:pt x="720" y="2365"/>
                  </a:lnTo>
                  <a:lnTo>
                    <a:pt x="720" y="2365"/>
                  </a:lnTo>
                  <a:lnTo>
                    <a:pt x="722" y="2346"/>
                  </a:lnTo>
                  <a:lnTo>
                    <a:pt x="723" y="2329"/>
                  </a:lnTo>
                  <a:lnTo>
                    <a:pt x="725" y="2310"/>
                  </a:lnTo>
                  <a:lnTo>
                    <a:pt x="728" y="2293"/>
                  </a:lnTo>
                  <a:lnTo>
                    <a:pt x="732" y="2276"/>
                  </a:lnTo>
                  <a:lnTo>
                    <a:pt x="737" y="2259"/>
                  </a:lnTo>
                  <a:lnTo>
                    <a:pt x="742" y="2242"/>
                  </a:lnTo>
                  <a:lnTo>
                    <a:pt x="749" y="2227"/>
                  </a:lnTo>
                  <a:lnTo>
                    <a:pt x="756" y="2211"/>
                  </a:lnTo>
                  <a:lnTo>
                    <a:pt x="764" y="2195"/>
                  </a:lnTo>
                  <a:lnTo>
                    <a:pt x="773" y="2180"/>
                  </a:lnTo>
                  <a:lnTo>
                    <a:pt x="782" y="2166"/>
                  </a:lnTo>
                  <a:lnTo>
                    <a:pt x="792" y="2152"/>
                  </a:lnTo>
                  <a:lnTo>
                    <a:pt x="803" y="2138"/>
                  </a:lnTo>
                  <a:lnTo>
                    <a:pt x="814" y="2125"/>
                  </a:lnTo>
                  <a:lnTo>
                    <a:pt x="826" y="2113"/>
                  </a:lnTo>
                  <a:lnTo>
                    <a:pt x="838" y="2101"/>
                  </a:lnTo>
                  <a:lnTo>
                    <a:pt x="851" y="2090"/>
                  </a:lnTo>
                  <a:lnTo>
                    <a:pt x="865" y="2079"/>
                  </a:lnTo>
                  <a:lnTo>
                    <a:pt x="879" y="2070"/>
                  </a:lnTo>
                  <a:lnTo>
                    <a:pt x="893" y="2060"/>
                  </a:lnTo>
                  <a:lnTo>
                    <a:pt x="908" y="2051"/>
                  </a:lnTo>
                  <a:lnTo>
                    <a:pt x="923" y="2043"/>
                  </a:lnTo>
                  <a:lnTo>
                    <a:pt x="940" y="2036"/>
                  </a:lnTo>
                  <a:lnTo>
                    <a:pt x="955" y="2029"/>
                  </a:lnTo>
                  <a:lnTo>
                    <a:pt x="972" y="2024"/>
                  </a:lnTo>
                  <a:lnTo>
                    <a:pt x="988" y="2020"/>
                  </a:lnTo>
                  <a:lnTo>
                    <a:pt x="1006" y="2015"/>
                  </a:lnTo>
                  <a:lnTo>
                    <a:pt x="1023" y="2012"/>
                  </a:lnTo>
                  <a:lnTo>
                    <a:pt x="1041" y="2010"/>
                  </a:lnTo>
                  <a:lnTo>
                    <a:pt x="1059" y="2009"/>
                  </a:lnTo>
                  <a:lnTo>
                    <a:pt x="1077" y="2008"/>
                  </a:lnTo>
                  <a:lnTo>
                    <a:pt x="1490" y="2008"/>
                  </a:lnTo>
                  <a:lnTo>
                    <a:pt x="1490" y="2008"/>
                  </a:lnTo>
                  <a:lnTo>
                    <a:pt x="1509" y="2009"/>
                  </a:lnTo>
                  <a:lnTo>
                    <a:pt x="1526" y="2010"/>
                  </a:lnTo>
                  <a:lnTo>
                    <a:pt x="1545" y="2012"/>
                  </a:lnTo>
                  <a:lnTo>
                    <a:pt x="1562" y="2015"/>
                  </a:lnTo>
                  <a:lnTo>
                    <a:pt x="1579" y="2020"/>
                  </a:lnTo>
                  <a:lnTo>
                    <a:pt x="1596" y="2024"/>
                  </a:lnTo>
                  <a:lnTo>
                    <a:pt x="1613" y="2029"/>
                  </a:lnTo>
                  <a:lnTo>
                    <a:pt x="1629" y="2036"/>
                  </a:lnTo>
                  <a:lnTo>
                    <a:pt x="1644" y="2043"/>
                  </a:lnTo>
                  <a:lnTo>
                    <a:pt x="1660" y="2051"/>
                  </a:lnTo>
                  <a:lnTo>
                    <a:pt x="1675" y="2060"/>
                  </a:lnTo>
                  <a:lnTo>
                    <a:pt x="1689" y="2070"/>
                  </a:lnTo>
                  <a:lnTo>
                    <a:pt x="1703" y="2079"/>
                  </a:lnTo>
                  <a:lnTo>
                    <a:pt x="1717" y="2090"/>
                  </a:lnTo>
                  <a:lnTo>
                    <a:pt x="1730" y="2101"/>
                  </a:lnTo>
                  <a:lnTo>
                    <a:pt x="1742" y="2113"/>
                  </a:lnTo>
                  <a:lnTo>
                    <a:pt x="1754" y="2125"/>
                  </a:lnTo>
                  <a:lnTo>
                    <a:pt x="1765" y="2138"/>
                  </a:lnTo>
                  <a:lnTo>
                    <a:pt x="1776" y="2152"/>
                  </a:lnTo>
                  <a:lnTo>
                    <a:pt x="1785" y="2166"/>
                  </a:lnTo>
                  <a:lnTo>
                    <a:pt x="1795" y="2180"/>
                  </a:lnTo>
                  <a:lnTo>
                    <a:pt x="1804" y="2195"/>
                  </a:lnTo>
                  <a:lnTo>
                    <a:pt x="1811" y="2211"/>
                  </a:lnTo>
                  <a:lnTo>
                    <a:pt x="1819" y="2227"/>
                  </a:lnTo>
                  <a:lnTo>
                    <a:pt x="1826" y="2242"/>
                  </a:lnTo>
                  <a:lnTo>
                    <a:pt x="1831" y="2259"/>
                  </a:lnTo>
                  <a:lnTo>
                    <a:pt x="1835" y="2276"/>
                  </a:lnTo>
                  <a:lnTo>
                    <a:pt x="1840" y="2293"/>
                  </a:lnTo>
                  <a:lnTo>
                    <a:pt x="1843" y="2310"/>
                  </a:lnTo>
                  <a:lnTo>
                    <a:pt x="1845" y="2329"/>
                  </a:lnTo>
                  <a:lnTo>
                    <a:pt x="1846" y="2346"/>
                  </a:lnTo>
                  <a:lnTo>
                    <a:pt x="1847" y="2365"/>
                  </a:lnTo>
                  <a:lnTo>
                    <a:pt x="1847" y="2460"/>
                  </a:lnTo>
                  <a:close/>
                  <a:moveTo>
                    <a:pt x="1292" y="1910"/>
                  </a:moveTo>
                  <a:lnTo>
                    <a:pt x="1292" y="1910"/>
                  </a:lnTo>
                  <a:lnTo>
                    <a:pt x="1261" y="1910"/>
                  </a:lnTo>
                  <a:lnTo>
                    <a:pt x="1229" y="1907"/>
                  </a:lnTo>
                  <a:lnTo>
                    <a:pt x="1199" y="1903"/>
                  </a:lnTo>
                  <a:lnTo>
                    <a:pt x="1168" y="1898"/>
                  </a:lnTo>
                  <a:lnTo>
                    <a:pt x="1138" y="1890"/>
                  </a:lnTo>
                  <a:lnTo>
                    <a:pt x="1109" y="1883"/>
                  </a:lnTo>
                  <a:lnTo>
                    <a:pt x="1079" y="1873"/>
                  </a:lnTo>
                  <a:lnTo>
                    <a:pt x="1052" y="1862"/>
                  </a:lnTo>
                  <a:lnTo>
                    <a:pt x="1024" y="1849"/>
                  </a:lnTo>
                  <a:lnTo>
                    <a:pt x="998" y="1836"/>
                  </a:lnTo>
                  <a:lnTo>
                    <a:pt x="972" y="1821"/>
                  </a:lnTo>
                  <a:lnTo>
                    <a:pt x="947" y="1805"/>
                  </a:lnTo>
                  <a:lnTo>
                    <a:pt x="923" y="1787"/>
                  </a:lnTo>
                  <a:lnTo>
                    <a:pt x="899" y="1769"/>
                  </a:lnTo>
                  <a:lnTo>
                    <a:pt x="877" y="1749"/>
                  </a:lnTo>
                  <a:lnTo>
                    <a:pt x="856" y="1730"/>
                  </a:lnTo>
                  <a:lnTo>
                    <a:pt x="835" y="1708"/>
                  </a:lnTo>
                  <a:lnTo>
                    <a:pt x="816" y="1685"/>
                  </a:lnTo>
                  <a:lnTo>
                    <a:pt x="797" y="1663"/>
                  </a:lnTo>
                  <a:lnTo>
                    <a:pt x="780" y="1638"/>
                  </a:lnTo>
                  <a:lnTo>
                    <a:pt x="764" y="1613"/>
                  </a:lnTo>
                  <a:lnTo>
                    <a:pt x="749" y="1587"/>
                  </a:lnTo>
                  <a:lnTo>
                    <a:pt x="736" y="1560"/>
                  </a:lnTo>
                  <a:lnTo>
                    <a:pt x="723" y="1533"/>
                  </a:lnTo>
                  <a:lnTo>
                    <a:pt x="712" y="1505"/>
                  </a:lnTo>
                  <a:lnTo>
                    <a:pt x="702" y="1476"/>
                  </a:lnTo>
                  <a:lnTo>
                    <a:pt x="694" y="1447"/>
                  </a:lnTo>
                  <a:lnTo>
                    <a:pt x="687" y="1417"/>
                  </a:lnTo>
                  <a:lnTo>
                    <a:pt x="681" y="1387"/>
                  </a:lnTo>
                  <a:lnTo>
                    <a:pt x="678" y="1355"/>
                  </a:lnTo>
                  <a:lnTo>
                    <a:pt x="675" y="1324"/>
                  </a:lnTo>
                  <a:lnTo>
                    <a:pt x="675" y="1292"/>
                  </a:lnTo>
                  <a:lnTo>
                    <a:pt x="675" y="1292"/>
                  </a:lnTo>
                  <a:lnTo>
                    <a:pt x="675" y="1260"/>
                  </a:lnTo>
                  <a:lnTo>
                    <a:pt x="678" y="1229"/>
                  </a:lnTo>
                  <a:lnTo>
                    <a:pt x="681" y="1198"/>
                  </a:lnTo>
                  <a:lnTo>
                    <a:pt x="687" y="1168"/>
                  </a:lnTo>
                  <a:lnTo>
                    <a:pt x="694" y="1137"/>
                  </a:lnTo>
                  <a:lnTo>
                    <a:pt x="702" y="1108"/>
                  </a:lnTo>
                  <a:lnTo>
                    <a:pt x="712" y="1080"/>
                  </a:lnTo>
                  <a:lnTo>
                    <a:pt x="723" y="1051"/>
                  </a:lnTo>
                  <a:lnTo>
                    <a:pt x="736" y="1024"/>
                  </a:lnTo>
                  <a:lnTo>
                    <a:pt x="749" y="997"/>
                  </a:lnTo>
                  <a:lnTo>
                    <a:pt x="764" y="971"/>
                  </a:lnTo>
                  <a:lnTo>
                    <a:pt x="780" y="946"/>
                  </a:lnTo>
                  <a:lnTo>
                    <a:pt x="797" y="922"/>
                  </a:lnTo>
                  <a:lnTo>
                    <a:pt x="816" y="898"/>
                  </a:lnTo>
                  <a:lnTo>
                    <a:pt x="835" y="877"/>
                  </a:lnTo>
                  <a:lnTo>
                    <a:pt x="856" y="855"/>
                  </a:lnTo>
                  <a:lnTo>
                    <a:pt x="877" y="834"/>
                  </a:lnTo>
                  <a:lnTo>
                    <a:pt x="899" y="815"/>
                  </a:lnTo>
                  <a:lnTo>
                    <a:pt x="923" y="796"/>
                  </a:lnTo>
                  <a:lnTo>
                    <a:pt x="947" y="779"/>
                  </a:lnTo>
                  <a:lnTo>
                    <a:pt x="972" y="764"/>
                  </a:lnTo>
                  <a:lnTo>
                    <a:pt x="998" y="749"/>
                  </a:lnTo>
                  <a:lnTo>
                    <a:pt x="1024" y="735"/>
                  </a:lnTo>
                  <a:lnTo>
                    <a:pt x="1052" y="723"/>
                  </a:lnTo>
                  <a:lnTo>
                    <a:pt x="1079" y="712"/>
                  </a:lnTo>
                  <a:lnTo>
                    <a:pt x="1109" y="702"/>
                  </a:lnTo>
                  <a:lnTo>
                    <a:pt x="1138" y="693"/>
                  </a:lnTo>
                  <a:lnTo>
                    <a:pt x="1168" y="687"/>
                  </a:lnTo>
                  <a:lnTo>
                    <a:pt x="1199" y="681"/>
                  </a:lnTo>
                  <a:lnTo>
                    <a:pt x="1229" y="677"/>
                  </a:lnTo>
                  <a:lnTo>
                    <a:pt x="1261" y="675"/>
                  </a:lnTo>
                  <a:lnTo>
                    <a:pt x="1292" y="674"/>
                  </a:lnTo>
                  <a:lnTo>
                    <a:pt x="1292" y="674"/>
                  </a:lnTo>
                  <a:lnTo>
                    <a:pt x="1325" y="675"/>
                  </a:lnTo>
                  <a:lnTo>
                    <a:pt x="1356" y="677"/>
                  </a:lnTo>
                  <a:lnTo>
                    <a:pt x="1386" y="681"/>
                  </a:lnTo>
                  <a:lnTo>
                    <a:pt x="1417" y="687"/>
                  </a:lnTo>
                  <a:lnTo>
                    <a:pt x="1447" y="693"/>
                  </a:lnTo>
                  <a:lnTo>
                    <a:pt x="1476" y="702"/>
                  </a:lnTo>
                  <a:lnTo>
                    <a:pt x="1505" y="712"/>
                  </a:lnTo>
                  <a:lnTo>
                    <a:pt x="1533" y="723"/>
                  </a:lnTo>
                  <a:lnTo>
                    <a:pt x="1560" y="735"/>
                  </a:lnTo>
                  <a:lnTo>
                    <a:pt x="1587" y="749"/>
                  </a:lnTo>
                  <a:lnTo>
                    <a:pt x="1613" y="764"/>
                  </a:lnTo>
                  <a:lnTo>
                    <a:pt x="1638" y="779"/>
                  </a:lnTo>
                  <a:lnTo>
                    <a:pt x="1662" y="796"/>
                  </a:lnTo>
                  <a:lnTo>
                    <a:pt x="1686" y="815"/>
                  </a:lnTo>
                  <a:lnTo>
                    <a:pt x="1707" y="834"/>
                  </a:lnTo>
                  <a:lnTo>
                    <a:pt x="1729" y="855"/>
                  </a:lnTo>
                  <a:lnTo>
                    <a:pt x="1750" y="877"/>
                  </a:lnTo>
                  <a:lnTo>
                    <a:pt x="1769" y="898"/>
                  </a:lnTo>
                  <a:lnTo>
                    <a:pt x="1788" y="922"/>
                  </a:lnTo>
                  <a:lnTo>
                    <a:pt x="1805" y="946"/>
                  </a:lnTo>
                  <a:lnTo>
                    <a:pt x="1820" y="971"/>
                  </a:lnTo>
                  <a:lnTo>
                    <a:pt x="1835" y="997"/>
                  </a:lnTo>
                  <a:lnTo>
                    <a:pt x="1849" y="1024"/>
                  </a:lnTo>
                  <a:lnTo>
                    <a:pt x="1861" y="1051"/>
                  </a:lnTo>
                  <a:lnTo>
                    <a:pt x="1872" y="1080"/>
                  </a:lnTo>
                  <a:lnTo>
                    <a:pt x="1882" y="1108"/>
                  </a:lnTo>
                  <a:lnTo>
                    <a:pt x="1891" y="1137"/>
                  </a:lnTo>
                  <a:lnTo>
                    <a:pt x="1897" y="1168"/>
                  </a:lnTo>
                  <a:lnTo>
                    <a:pt x="1903" y="1198"/>
                  </a:lnTo>
                  <a:lnTo>
                    <a:pt x="1907" y="1229"/>
                  </a:lnTo>
                  <a:lnTo>
                    <a:pt x="1909" y="1260"/>
                  </a:lnTo>
                  <a:lnTo>
                    <a:pt x="1910" y="1292"/>
                  </a:lnTo>
                  <a:lnTo>
                    <a:pt x="1910" y="1292"/>
                  </a:lnTo>
                  <a:lnTo>
                    <a:pt x="1909" y="1324"/>
                  </a:lnTo>
                  <a:lnTo>
                    <a:pt x="1907" y="1355"/>
                  </a:lnTo>
                  <a:lnTo>
                    <a:pt x="1903" y="1387"/>
                  </a:lnTo>
                  <a:lnTo>
                    <a:pt x="1897" y="1417"/>
                  </a:lnTo>
                  <a:lnTo>
                    <a:pt x="1891" y="1447"/>
                  </a:lnTo>
                  <a:lnTo>
                    <a:pt x="1882" y="1476"/>
                  </a:lnTo>
                  <a:lnTo>
                    <a:pt x="1872" y="1505"/>
                  </a:lnTo>
                  <a:lnTo>
                    <a:pt x="1861" y="1533"/>
                  </a:lnTo>
                  <a:lnTo>
                    <a:pt x="1849" y="1560"/>
                  </a:lnTo>
                  <a:lnTo>
                    <a:pt x="1835" y="1587"/>
                  </a:lnTo>
                  <a:lnTo>
                    <a:pt x="1820" y="1613"/>
                  </a:lnTo>
                  <a:lnTo>
                    <a:pt x="1805" y="1638"/>
                  </a:lnTo>
                  <a:lnTo>
                    <a:pt x="1788" y="1663"/>
                  </a:lnTo>
                  <a:lnTo>
                    <a:pt x="1769" y="1685"/>
                  </a:lnTo>
                  <a:lnTo>
                    <a:pt x="1750" y="1708"/>
                  </a:lnTo>
                  <a:lnTo>
                    <a:pt x="1729" y="1730"/>
                  </a:lnTo>
                  <a:lnTo>
                    <a:pt x="1707" y="1749"/>
                  </a:lnTo>
                  <a:lnTo>
                    <a:pt x="1686" y="1769"/>
                  </a:lnTo>
                  <a:lnTo>
                    <a:pt x="1662" y="1787"/>
                  </a:lnTo>
                  <a:lnTo>
                    <a:pt x="1638" y="1805"/>
                  </a:lnTo>
                  <a:lnTo>
                    <a:pt x="1613" y="1821"/>
                  </a:lnTo>
                  <a:lnTo>
                    <a:pt x="1587" y="1836"/>
                  </a:lnTo>
                  <a:lnTo>
                    <a:pt x="1560" y="1849"/>
                  </a:lnTo>
                  <a:lnTo>
                    <a:pt x="1533" y="1862"/>
                  </a:lnTo>
                  <a:lnTo>
                    <a:pt x="1505" y="1873"/>
                  </a:lnTo>
                  <a:lnTo>
                    <a:pt x="1476" y="1883"/>
                  </a:lnTo>
                  <a:lnTo>
                    <a:pt x="1447" y="1890"/>
                  </a:lnTo>
                  <a:lnTo>
                    <a:pt x="1417" y="1898"/>
                  </a:lnTo>
                  <a:lnTo>
                    <a:pt x="1386" y="1903"/>
                  </a:lnTo>
                  <a:lnTo>
                    <a:pt x="1356" y="1907"/>
                  </a:lnTo>
                  <a:lnTo>
                    <a:pt x="1325" y="1910"/>
                  </a:lnTo>
                  <a:lnTo>
                    <a:pt x="1292" y="1910"/>
                  </a:lnTo>
                  <a:lnTo>
                    <a:pt x="1292" y="19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76">
              <a:extLst>
                <a:ext uri="{FF2B5EF4-FFF2-40B4-BE49-F238E27FC236}">
                  <a16:creationId xmlns:a16="http://schemas.microsoft.com/office/drawing/2014/main" id="{69E1EA97-113A-433D-BB70-FB450CDE7003}"/>
                </a:ext>
              </a:extLst>
            </p:cNvPr>
            <p:cNvSpPr>
              <a:spLocks/>
            </p:cNvSpPr>
            <p:nvPr/>
          </p:nvSpPr>
          <p:spPr bwMode="auto">
            <a:xfrm>
              <a:off x="6407150" y="2808288"/>
              <a:ext cx="919163" cy="906463"/>
            </a:xfrm>
            <a:custGeom>
              <a:avLst/>
              <a:gdLst>
                <a:gd name="T0" fmla="*/ 3318 w 4630"/>
                <a:gd name="T1" fmla="*/ 228 h 4567"/>
                <a:gd name="T2" fmla="*/ 2944 w 4630"/>
                <a:gd name="T3" fmla="*/ 86 h 4567"/>
                <a:gd name="T4" fmla="*/ 2491 w 4630"/>
                <a:gd name="T5" fmla="*/ 7 h 4567"/>
                <a:gd name="T6" fmla="*/ 2083 w 4630"/>
                <a:gd name="T7" fmla="*/ 11 h 4567"/>
                <a:gd name="T8" fmla="*/ 1632 w 4630"/>
                <a:gd name="T9" fmla="*/ 102 h 4567"/>
                <a:gd name="T10" fmla="*/ 1262 w 4630"/>
                <a:gd name="T11" fmla="*/ 253 h 4567"/>
                <a:gd name="T12" fmla="*/ 930 w 4630"/>
                <a:gd name="T13" fmla="*/ 460 h 4567"/>
                <a:gd name="T14" fmla="*/ 640 w 4630"/>
                <a:gd name="T15" fmla="*/ 719 h 4567"/>
                <a:gd name="T16" fmla="*/ 396 w 4630"/>
                <a:gd name="T17" fmla="*/ 1021 h 4567"/>
                <a:gd name="T18" fmla="*/ 182 w 4630"/>
                <a:gd name="T19" fmla="*/ 1415 h 4567"/>
                <a:gd name="T20" fmla="*/ 58 w 4630"/>
                <a:gd name="T21" fmla="*/ 1800 h 4567"/>
                <a:gd name="T22" fmla="*/ 1 w 4630"/>
                <a:gd name="T23" fmla="*/ 2259 h 4567"/>
                <a:gd name="T24" fmla="*/ 26 w 4630"/>
                <a:gd name="T25" fmla="*/ 2665 h 4567"/>
                <a:gd name="T26" fmla="*/ 140 w 4630"/>
                <a:gd name="T27" fmla="*/ 3111 h 4567"/>
                <a:gd name="T28" fmla="*/ 307 w 4630"/>
                <a:gd name="T29" fmla="*/ 3470 h 4567"/>
                <a:gd name="T30" fmla="*/ 529 w 4630"/>
                <a:gd name="T31" fmla="*/ 3791 h 4567"/>
                <a:gd name="T32" fmla="*/ 800 w 4630"/>
                <a:gd name="T33" fmla="*/ 4069 h 4567"/>
                <a:gd name="T34" fmla="*/ 1116 w 4630"/>
                <a:gd name="T35" fmla="*/ 4299 h 4567"/>
                <a:gd name="T36" fmla="*/ 1455 w 4630"/>
                <a:gd name="T37" fmla="*/ 4469 h 4567"/>
                <a:gd name="T38" fmla="*/ 1743 w 4630"/>
                <a:gd name="T39" fmla="*/ 3855 h 4567"/>
                <a:gd name="T40" fmla="*/ 1363 w 4630"/>
                <a:gd name="T41" fmla="*/ 3652 h 4567"/>
                <a:gd name="T42" fmla="*/ 1013 w 4630"/>
                <a:gd name="T43" fmla="*/ 3313 h 4567"/>
                <a:gd name="T44" fmla="*/ 776 w 4630"/>
                <a:gd name="T45" fmla="*/ 2882 h 4567"/>
                <a:gd name="T46" fmla="*/ 677 w 4630"/>
                <a:gd name="T47" fmla="*/ 2383 h 4567"/>
                <a:gd name="T48" fmla="*/ 695 w 4630"/>
                <a:gd name="T49" fmla="*/ 2068 h 4567"/>
                <a:gd name="T50" fmla="*/ 776 w 4630"/>
                <a:gd name="T51" fmla="*/ 1753 h 4567"/>
                <a:gd name="T52" fmla="*/ 914 w 4630"/>
                <a:gd name="T53" fmla="*/ 1466 h 4567"/>
                <a:gd name="T54" fmla="*/ 1103 w 4630"/>
                <a:gd name="T55" fmla="*/ 1215 h 4567"/>
                <a:gd name="T56" fmla="*/ 1335 w 4630"/>
                <a:gd name="T57" fmla="*/ 1003 h 4567"/>
                <a:gd name="T58" fmla="*/ 1605 w 4630"/>
                <a:gd name="T59" fmla="*/ 839 h 4567"/>
                <a:gd name="T60" fmla="*/ 1906 w 4630"/>
                <a:gd name="T61" fmla="*/ 728 h 4567"/>
                <a:gd name="T62" fmla="*/ 2231 w 4630"/>
                <a:gd name="T63" fmla="*/ 680 h 4567"/>
                <a:gd name="T64" fmla="*/ 2524 w 4630"/>
                <a:gd name="T65" fmla="*/ 690 h 4567"/>
                <a:gd name="T66" fmla="*/ 2841 w 4630"/>
                <a:gd name="T67" fmla="*/ 763 h 4567"/>
                <a:gd name="T68" fmla="*/ 3132 w 4630"/>
                <a:gd name="T69" fmla="*/ 894 h 4567"/>
                <a:gd name="T70" fmla="*/ 3388 w 4630"/>
                <a:gd name="T71" fmla="*/ 1077 h 4567"/>
                <a:gd name="T72" fmla="*/ 3604 w 4630"/>
                <a:gd name="T73" fmla="*/ 1305 h 4567"/>
                <a:gd name="T74" fmla="*/ 3775 w 4630"/>
                <a:gd name="T75" fmla="*/ 1571 h 4567"/>
                <a:gd name="T76" fmla="*/ 3892 w 4630"/>
                <a:gd name="T77" fmla="*/ 1868 h 4567"/>
                <a:gd name="T78" fmla="*/ 3949 w 4630"/>
                <a:gd name="T79" fmla="*/ 2191 h 4567"/>
                <a:gd name="T80" fmla="*/ 3949 w 4630"/>
                <a:gd name="T81" fmla="*/ 2449 h 4567"/>
                <a:gd name="T82" fmla="*/ 3830 w 4630"/>
                <a:gd name="T83" fmla="*/ 2945 h 4567"/>
                <a:gd name="T84" fmla="*/ 3573 w 4630"/>
                <a:gd name="T85" fmla="*/ 3368 h 4567"/>
                <a:gd name="T86" fmla="*/ 3204 w 4630"/>
                <a:gd name="T87" fmla="*/ 3695 h 4567"/>
                <a:gd name="T88" fmla="*/ 2870 w 4630"/>
                <a:gd name="T89" fmla="*/ 4567 h 4567"/>
                <a:gd name="T90" fmla="*/ 3216 w 4630"/>
                <a:gd name="T91" fmla="*/ 4452 h 4567"/>
                <a:gd name="T92" fmla="*/ 3563 w 4630"/>
                <a:gd name="T93" fmla="*/ 4270 h 4567"/>
                <a:gd name="T94" fmla="*/ 3872 w 4630"/>
                <a:gd name="T95" fmla="*/ 4032 h 4567"/>
                <a:gd name="T96" fmla="*/ 4137 w 4630"/>
                <a:gd name="T97" fmla="*/ 3748 h 4567"/>
                <a:gd name="T98" fmla="*/ 4352 w 4630"/>
                <a:gd name="T99" fmla="*/ 3421 h 4567"/>
                <a:gd name="T100" fmla="*/ 4510 w 4630"/>
                <a:gd name="T101" fmla="*/ 3057 h 4567"/>
                <a:gd name="T102" fmla="*/ 4613 w 4630"/>
                <a:gd name="T103" fmla="*/ 2607 h 4567"/>
                <a:gd name="T104" fmla="*/ 4628 w 4630"/>
                <a:gd name="T105" fmla="*/ 2200 h 4567"/>
                <a:gd name="T106" fmla="*/ 4560 w 4630"/>
                <a:gd name="T107" fmla="*/ 1743 h 4567"/>
                <a:gd name="T108" fmla="*/ 4426 w 4630"/>
                <a:gd name="T109" fmla="*/ 1364 h 4567"/>
                <a:gd name="T110" fmla="*/ 4236 w 4630"/>
                <a:gd name="T111" fmla="*/ 1021 h 4567"/>
                <a:gd name="T112" fmla="*/ 3953 w 4630"/>
                <a:gd name="T113" fmla="*/ 678 h 4567"/>
                <a:gd name="T114" fmla="*/ 3655 w 4630"/>
                <a:gd name="T115" fmla="*/ 427 h 4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30" h="4567">
                  <a:moveTo>
                    <a:pt x="3610" y="395"/>
                  </a:moveTo>
                  <a:lnTo>
                    <a:pt x="3610" y="395"/>
                  </a:lnTo>
                  <a:lnTo>
                    <a:pt x="3563" y="365"/>
                  </a:lnTo>
                  <a:lnTo>
                    <a:pt x="3515" y="336"/>
                  </a:lnTo>
                  <a:lnTo>
                    <a:pt x="3467" y="306"/>
                  </a:lnTo>
                  <a:lnTo>
                    <a:pt x="3418" y="279"/>
                  </a:lnTo>
                  <a:lnTo>
                    <a:pt x="3368" y="253"/>
                  </a:lnTo>
                  <a:lnTo>
                    <a:pt x="3318" y="228"/>
                  </a:lnTo>
                  <a:lnTo>
                    <a:pt x="3267" y="204"/>
                  </a:lnTo>
                  <a:lnTo>
                    <a:pt x="3216" y="181"/>
                  </a:lnTo>
                  <a:lnTo>
                    <a:pt x="3216" y="181"/>
                  </a:lnTo>
                  <a:lnTo>
                    <a:pt x="3163" y="160"/>
                  </a:lnTo>
                  <a:lnTo>
                    <a:pt x="3109" y="139"/>
                  </a:lnTo>
                  <a:lnTo>
                    <a:pt x="3055" y="121"/>
                  </a:lnTo>
                  <a:lnTo>
                    <a:pt x="2999" y="102"/>
                  </a:lnTo>
                  <a:lnTo>
                    <a:pt x="2944" y="86"/>
                  </a:lnTo>
                  <a:lnTo>
                    <a:pt x="2889" y="72"/>
                  </a:lnTo>
                  <a:lnTo>
                    <a:pt x="2832" y="58"/>
                  </a:lnTo>
                  <a:lnTo>
                    <a:pt x="2776" y="46"/>
                  </a:lnTo>
                  <a:lnTo>
                    <a:pt x="2719" y="35"/>
                  </a:lnTo>
                  <a:lnTo>
                    <a:pt x="2663" y="26"/>
                  </a:lnTo>
                  <a:lnTo>
                    <a:pt x="2606" y="17"/>
                  </a:lnTo>
                  <a:lnTo>
                    <a:pt x="2548" y="11"/>
                  </a:lnTo>
                  <a:lnTo>
                    <a:pt x="2491" y="7"/>
                  </a:lnTo>
                  <a:lnTo>
                    <a:pt x="2432" y="2"/>
                  </a:lnTo>
                  <a:lnTo>
                    <a:pt x="2374" y="0"/>
                  </a:lnTo>
                  <a:lnTo>
                    <a:pt x="2315" y="0"/>
                  </a:lnTo>
                  <a:lnTo>
                    <a:pt x="2315" y="0"/>
                  </a:lnTo>
                  <a:lnTo>
                    <a:pt x="2256" y="0"/>
                  </a:lnTo>
                  <a:lnTo>
                    <a:pt x="2199" y="2"/>
                  </a:lnTo>
                  <a:lnTo>
                    <a:pt x="2140" y="7"/>
                  </a:lnTo>
                  <a:lnTo>
                    <a:pt x="2083" y="11"/>
                  </a:lnTo>
                  <a:lnTo>
                    <a:pt x="2025" y="17"/>
                  </a:lnTo>
                  <a:lnTo>
                    <a:pt x="1968" y="26"/>
                  </a:lnTo>
                  <a:lnTo>
                    <a:pt x="1912" y="35"/>
                  </a:lnTo>
                  <a:lnTo>
                    <a:pt x="1854" y="46"/>
                  </a:lnTo>
                  <a:lnTo>
                    <a:pt x="1798" y="58"/>
                  </a:lnTo>
                  <a:lnTo>
                    <a:pt x="1742" y="72"/>
                  </a:lnTo>
                  <a:lnTo>
                    <a:pt x="1687" y="86"/>
                  </a:lnTo>
                  <a:lnTo>
                    <a:pt x="1632" y="102"/>
                  </a:lnTo>
                  <a:lnTo>
                    <a:pt x="1576" y="121"/>
                  </a:lnTo>
                  <a:lnTo>
                    <a:pt x="1522" y="139"/>
                  </a:lnTo>
                  <a:lnTo>
                    <a:pt x="1468" y="160"/>
                  </a:lnTo>
                  <a:lnTo>
                    <a:pt x="1414" y="181"/>
                  </a:lnTo>
                  <a:lnTo>
                    <a:pt x="1414" y="181"/>
                  </a:lnTo>
                  <a:lnTo>
                    <a:pt x="1363" y="204"/>
                  </a:lnTo>
                  <a:lnTo>
                    <a:pt x="1312" y="228"/>
                  </a:lnTo>
                  <a:lnTo>
                    <a:pt x="1262" y="253"/>
                  </a:lnTo>
                  <a:lnTo>
                    <a:pt x="1212" y="279"/>
                  </a:lnTo>
                  <a:lnTo>
                    <a:pt x="1163" y="306"/>
                  </a:lnTo>
                  <a:lnTo>
                    <a:pt x="1116" y="336"/>
                  </a:lnTo>
                  <a:lnTo>
                    <a:pt x="1068" y="365"/>
                  </a:lnTo>
                  <a:lnTo>
                    <a:pt x="1021" y="395"/>
                  </a:lnTo>
                  <a:lnTo>
                    <a:pt x="1021" y="395"/>
                  </a:lnTo>
                  <a:lnTo>
                    <a:pt x="976" y="427"/>
                  </a:lnTo>
                  <a:lnTo>
                    <a:pt x="930" y="460"/>
                  </a:lnTo>
                  <a:lnTo>
                    <a:pt x="887" y="494"/>
                  </a:lnTo>
                  <a:lnTo>
                    <a:pt x="843" y="529"/>
                  </a:lnTo>
                  <a:lnTo>
                    <a:pt x="800" y="565"/>
                  </a:lnTo>
                  <a:lnTo>
                    <a:pt x="759" y="601"/>
                  </a:lnTo>
                  <a:lnTo>
                    <a:pt x="718" y="639"/>
                  </a:lnTo>
                  <a:lnTo>
                    <a:pt x="679" y="678"/>
                  </a:lnTo>
                  <a:lnTo>
                    <a:pt x="679" y="678"/>
                  </a:lnTo>
                  <a:lnTo>
                    <a:pt x="640" y="719"/>
                  </a:lnTo>
                  <a:lnTo>
                    <a:pt x="602" y="759"/>
                  </a:lnTo>
                  <a:lnTo>
                    <a:pt x="565" y="801"/>
                  </a:lnTo>
                  <a:lnTo>
                    <a:pt x="529" y="843"/>
                  </a:lnTo>
                  <a:lnTo>
                    <a:pt x="493" y="887"/>
                  </a:lnTo>
                  <a:lnTo>
                    <a:pt x="460" y="931"/>
                  </a:lnTo>
                  <a:lnTo>
                    <a:pt x="427" y="976"/>
                  </a:lnTo>
                  <a:lnTo>
                    <a:pt x="396" y="1021"/>
                  </a:lnTo>
                  <a:lnTo>
                    <a:pt x="396" y="1021"/>
                  </a:lnTo>
                  <a:lnTo>
                    <a:pt x="364" y="1068"/>
                  </a:lnTo>
                  <a:lnTo>
                    <a:pt x="335" y="1116"/>
                  </a:lnTo>
                  <a:lnTo>
                    <a:pt x="307" y="1165"/>
                  </a:lnTo>
                  <a:lnTo>
                    <a:pt x="279" y="1214"/>
                  </a:lnTo>
                  <a:lnTo>
                    <a:pt x="252" y="1263"/>
                  </a:lnTo>
                  <a:lnTo>
                    <a:pt x="227" y="1313"/>
                  </a:lnTo>
                  <a:lnTo>
                    <a:pt x="205" y="1364"/>
                  </a:lnTo>
                  <a:lnTo>
                    <a:pt x="182" y="1415"/>
                  </a:lnTo>
                  <a:lnTo>
                    <a:pt x="182" y="1415"/>
                  </a:lnTo>
                  <a:lnTo>
                    <a:pt x="160" y="1469"/>
                  </a:lnTo>
                  <a:lnTo>
                    <a:pt x="140" y="1523"/>
                  </a:lnTo>
                  <a:lnTo>
                    <a:pt x="120" y="1578"/>
                  </a:lnTo>
                  <a:lnTo>
                    <a:pt x="103" y="1633"/>
                  </a:lnTo>
                  <a:lnTo>
                    <a:pt x="86" y="1688"/>
                  </a:lnTo>
                  <a:lnTo>
                    <a:pt x="71" y="1743"/>
                  </a:lnTo>
                  <a:lnTo>
                    <a:pt x="58" y="1800"/>
                  </a:lnTo>
                  <a:lnTo>
                    <a:pt x="45" y="1856"/>
                  </a:lnTo>
                  <a:lnTo>
                    <a:pt x="35" y="1913"/>
                  </a:lnTo>
                  <a:lnTo>
                    <a:pt x="26" y="1970"/>
                  </a:lnTo>
                  <a:lnTo>
                    <a:pt x="18" y="2027"/>
                  </a:lnTo>
                  <a:lnTo>
                    <a:pt x="12" y="2084"/>
                  </a:lnTo>
                  <a:lnTo>
                    <a:pt x="6" y="2143"/>
                  </a:lnTo>
                  <a:lnTo>
                    <a:pt x="3" y="2200"/>
                  </a:lnTo>
                  <a:lnTo>
                    <a:pt x="1" y="2259"/>
                  </a:lnTo>
                  <a:lnTo>
                    <a:pt x="0" y="2317"/>
                  </a:lnTo>
                  <a:lnTo>
                    <a:pt x="0" y="2317"/>
                  </a:lnTo>
                  <a:lnTo>
                    <a:pt x="1" y="2376"/>
                  </a:lnTo>
                  <a:lnTo>
                    <a:pt x="3" y="2435"/>
                  </a:lnTo>
                  <a:lnTo>
                    <a:pt x="6" y="2492"/>
                  </a:lnTo>
                  <a:lnTo>
                    <a:pt x="12" y="2550"/>
                  </a:lnTo>
                  <a:lnTo>
                    <a:pt x="18" y="2607"/>
                  </a:lnTo>
                  <a:lnTo>
                    <a:pt x="26" y="2665"/>
                  </a:lnTo>
                  <a:lnTo>
                    <a:pt x="35" y="2722"/>
                  </a:lnTo>
                  <a:lnTo>
                    <a:pt x="45" y="2779"/>
                  </a:lnTo>
                  <a:lnTo>
                    <a:pt x="58" y="2835"/>
                  </a:lnTo>
                  <a:lnTo>
                    <a:pt x="71" y="2890"/>
                  </a:lnTo>
                  <a:lnTo>
                    <a:pt x="86" y="2947"/>
                  </a:lnTo>
                  <a:lnTo>
                    <a:pt x="103" y="3001"/>
                  </a:lnTo>
                  <a:lnTo>
                    <a:pt x="120" y="3057"/>
                  </a:lnTo>
                  <a:lnTo>
                    <a:pt x="140" y="3111"/>
                  </a:lnTo>
                  <a:lnTo>
                    <a:pt x="160" y="3165"/>
                  </a:lnTo>
                  <a:lnTo>
                    <a:pt x="182" y="3219"/>
                  </a:lnTo>
                  <a:lnTo>
                    <a:pt x="182" y="3219"/>
                  </a:lnTo>
                  <a:lnTo>
                    <a:pt x="205" y="3270"/>
                  </a:lnTo>
                  <a:lnTo>
                    <a:pt x="227" y="3321"/>
                  </a:lnTo>
                  <a:lnTo>
                    <a:pt x="252" y="3371"/>
                  </a:lnTo>
                  <a:lnTo>
                    <a:pt x="279" y="3421"/>
                  </a:lnTo>
                  <a:lnTo>
                    <a:pt x="307" y="3470"/>
                  </a:lnTo>
                  <a:lnTo>
                    <a:pt x="335" y="3518"/>
                  </a:lnTo>
                  <a:lnTo>
                    <a:pt x="364" y="3566"/>
                  </a:lnTo>
                  <a:lnTo>
                    <a:pt x="396" y="3612"/>
                  </a:lnTo>
                  <a:lnTo>
                    <a:pt x="396" y="3612"/>
                  </a:lnTo>
                  <a:lnTo>
                    <a:pt x="427" y="3658"/>
                  </a:lnTo>
                  <a:lnTo>
                    <a:pt x="460" y="3703"/>
                  </a:lnTo>
                  <a:lnTo>
                    <a:pt x="493" y="3748"/>
                  </a:lnTo>
                  <a:lnTo>
                    <a:pt x="529" y="3791"/>
                  </a:lnTo>
                  <a:lnTo>
                    <a:pt x="565" y="3834"/>
                  </a:lnTo>
                  <a:lnTo>
                    <a:pt x="602" y="3875"/>
                  </a:lnTo>
                  <a:lnTo>
                    <a:pt x="640" y="3916"/>
                  </a:lnTo>
                  <a:lnTo>
                    <a:pt x="679" y="3955"/>
                  </a:lnTo>
                  <a:lnTo>
                    <a:pt x="679" y="3955"/>
                  </a:lnTo>
                  <a:lnTo>
                    <a:pt x="718" y="3994"/>
                  </a:lnTo>
                  <a:lnTo>
                    <a:pt x="759" y="4032"/>
                  </a:lnTo>
                  <a:lnTo>
                    <a:pt x="800" y="4069"/>
                  </a:lnTo>
                  <a:lnTo>
                    <a:pt x="843" y="4106"/>
                  </a:lnTo>
                  <a:lnTo>
                    <a:pt x="887" y="4141"/>
                  </a:lnTo>
                  <a:lnTo>
                    <a:pt x="930" y="4174"/>
                  </a:lnTo>
                  <a:lnTo>
                    <a:pt x="976" y="4207"/>
                  </a:lnTo>
                  <a:lnTo>
                    <a:pt x="1021" y="4238"/>
                  </a:lnTo>
                  <a:lnTo>
                    <a:pt x="1021" y="4238"/>
                  </a:lnTo>
                  <a:lnTo>
                    <a:pt x="1068" y="4270"/>
                  </a:lnTo>
                  <a:lnTo>
                    <a:pt x="1116" y="4299"/>
                  </a:lnTo>
                  <a:lnTo>
                    <a:pt x="1163" y="4327"/>
                  </a:lnTo>
                  <a:lnTo>
                    <a:pt x="1212" y="4356"/>
                  </a:lnTo>
                  <a:lnTo>
                    <a:pt x="1262" y="4382"/>
                  </a:lnTo>
                  <a:lnTo>
                    <a:pt x="1312" y="4407"/>
                  </a:lnTo>
                  <a:lnTo>
                    <a:pt x="1363" y="4430"/>
                  </a:lnTo>
                  <a:lnTo>
                    <a:pt x="1414" y="4452"/>
                  </a:lnTo>
                  <a:lnTo>
                    <a:pt x="1414" y="4452"/>
                  </a:lnTo>
                  <a:lnTo>
                    <a:pt x="1455" y="4469"/>
                  </a:lnTo>
                  <a:lnTo>
                    <a:pt x="1495" y="4485"/>
                  </a:lnTo>
                  <a:lnTo>
                    <a:pt x="1536" y="4500"/>
                  </a:lnTo>
                  <a:lnTo>
                    <a:pt x="1578" y="4514"/>
                  </a:lnTo>
                  <a:lnTo>
                    <a:pt x="1619" y="4528"/>
                  </a:lnTo>
                  <a:lnTo>
                    <a:pt x="1660" y="4540"/>
                  </a:lnTo>
                  <a:lnTo>
                    <a:pt x="1702" y="4552"/>
                  </a:lnTo>
                  <a:lnTo>
                    <a:pt x="1743" y="4563"/>
                  </a:lnTo>
                  <a:lnTo>
                    <a:pt x="1743" y="3855"/>
                  </a:lnTo>
                  <a:lnTo>
                    <a:pt x="1743" y="3855"/>
                  </a:lnTo>
                  <a:lnTo>
                    <a:pt x="1686" y="3833"/>
                  </a:lnTo>
                  <a:lnTo>
                    <a:pt x="1630" y="3808"/>
                  </a:lnTo>
                  <a:lnTo>
                    <a:pt x="1573" y="3780"/>
                  </a:lnTo>
                  <a:lnTo>
                    <a:pt x="1519" y="3751"/>
                  </a:lnTo>
                  <a:lnTo>
                    <a:pt x="1466" y="3720"/>
                  </a:lnTo>
                  <a:lnTo>
                    <a:pt x="1414" y="3687"/>
                  </a:lnTo>
                  <a:lnTo>
                    <a:pt x="1363" y="3652"/>
                  </a:lnTo>
                  <a:lnTo>
                    <a:pt x="1314" y="3615"/>
                  </a:lnTo>
                  <a:lnTo>
                    <a:pt x="1266" y="3578"/>
                  </a:lnTo>
                  <a:lnTo>
                    <a:pt x="1220" y="3537"/>
                  </a:lnTo>
                  <a:lnTo>
                    <a:pt x="1175" y="3496"/>
                  </a:lnTo>
                  <a:lnTo>
                    <a:pt x="1132" y="3453"/>
                  </a:lnTo>
                  <a:lnTo>
                    <a:pt x="1091" y="3407"/>
                  </a:lnTo>
                  <a:lnTo>
                    <a:pt x="1051" y="3360"/>
                  </a:lnTo>
                  <a:lnTo>
                    <a:pt x="1013" y="3313"/>
                  </a:lnTo>
                  <a:lnTo>
                    <a:pt x="977" y="3264"/>
                  </a:lnTo>
                  <a:lnTo>
                    <a:pt x="942" y="3213"/>
                  </a:lnTo>
                  <a:lnTo>
                    <a:pt x="910" y="3161"/>
                  </a:lnTo>
                  <a:lnTo>
                    <a:pt x="878" y="3106"/>
                  </a:lnTo>
                  <a:lnTo>
                    <a:pt x="850" y="3052"/>
                  </a:lnTo>
                  <a:lnTo>
                    <a:pt x="823" y="2997"/>
                  </a:lnTo>
                  <a:lnTo>
                    <a:pt x="799" y="2939"/>
                  </a:lnTo>
                  <a:lnTo>
                    <a:pt x="776" y="2882"/>
                  </a:lnTo>
                  <a:lnTo>
                    <a:pt x="756" y="2822"/>
                  </a:lnTo>
                  <a:lnTo>
                    <a:pt x="737" y="2762"/>
                  </a:lnTo>
                  <a:lnTo>
                    <a:pt x="722" y="2701"/>
                  </a:lnTo>
                  <a:lnTo>
                    <a:pt x="708" y="2639"/>
                  </a:lnTo>
                  <a:lnTo>
                    <a:pt x="697" y="2576"/>
                  </a:lnTo>
                  <a:lnTo>
                    <a:pt x="688" y="2513"/>
                  </a:lnTo>
                  <a:lnTo>
                    <a:pt x="682" y="2448"/>
                  </a:lnTo>
                  <a:lnTo>
                    <a:pt x="677" y="2383"/>
                  </a:lnTo>
                  <a:lnTo>
                    <a:pt x="676" y="2317"/>
                  </a:lnTo>
                  <a:lnTo>
                    <a:pt x="676" y="2317"/>
                  </a:lnTo>
                  <a:lnTo>
                    <a:pt x="677" y="2275"/>
                  </a:lnTo>
                  <a:lnTo>
                    <a:pt x="679" y="2233"/>
                  </a:lnTo>
                  <a:lnTo>
                    <a:pt x="681" y="2191"/>
                  </a:lnTo>
                  <a:lnTo>
                    <a:pt x="685" y="2149"/>
                  </a:lnTo>
                  <a:lnTo>
                    <a:pt x="689" y="2108"/>
                  </a:lnTo>
                  <a:lnTo>
                    <a:pt x="695" y="2068"/>
                  </a:lnTo>
                  <a:lnTo>
                    <a:pt x="702" y="2027"/>
                  </a:lnTo>
                  <a:lnTo>
                    <a:pt x="710" y="1986"/>
                  </a:lnTo>
                  <a:lnTo>
                    <a:pt x="719" y="1947"/>
                  </a:lnTo>
                  <a:lnTo>
                    <a:pt x="728" y="1907"/>
                  </a:lnTo>
                  <a:lnTo>
                    <a:pt x="738" y="1868"/>
                  </a:lnTo>
                  <a:lnTo>
                    <a:pt x="750" y="1829"/>
                  </a:lnTo>
                  <a:lnTo>
                    <a:pt x="762" y="1791"/>
                  </a:lnTo>
                  <a:lnTo>
                    <a:pt x="776" y="1753"/>
                  </a:lnTo>
                  <a:lnTo>
                    <a:pt x="790" y="1716"/>
                  </a:lnTo>
                  <a:lnTo>
                    <a:pt x="805" y="1679"/>
                  </a:lnTo>
                  <a:lnTo>
                    <a:pt x="822" y="1642"/>
                  </a:lnTo>
                  <a:lnTo>
                    <a:pt x="838" y="1606"/>
                  </a:lnTo>
                  <a:lnTo>
                    <a:pt x="855" y="1571"/>
                  </a:lnTo>
                  <a:lnTo>
                    <a:pt x="874" y="1535"/>
                  </a:lnTo>
                  <a:lnTo>
                    <a:pt x="893" y="1501"/>
                  </a:lnTo>
                  <a:lnTo>
                    <a:pt x="914" y="1466"/>
                  </a:lnTo>
                  <a:lnTo>
                    <a:pt x="934" y="1433"/>
                  </a:lnTo>
                  <a:lnTo>
                    <a:pt x="956" y="1400"/>
                  </a:lnTo>
                  <a:lnTo>
                    <a:pt x="979" y="1368"/>
                  </a:lnTo>
                  <a:lnTo>
                    <a:pt x="1002" y="1336"/>
                  </a:lnTo>
                  <a:lnTo>
                    <a:pt x="1026" y="1305"/>
                  </a:lnTo>
                  <a:lnTo>
                    <a:pt x="1051" y="1274"/>
                  </a:lnTo>
                  <a:lnTo>
                    <a:pt x="1077" y="1244"/>
                  </a:lnTo>
                  <a:lnTo>
                    <a:pt x="1103" y="1215"/>
                  </a:lnTo>
                  <a:lnTo>
                    <a:pt x="1129" y="1185"/>
                  </a:lnTo>
                  <a:lnTo>
                    <a:pt x="1157" y="1157"/>
                  </a:lnTo>
                  <a:lnTo>
                    <a:pt x="1185" y="1130"/>
                  </a:lnTo>
                  <a:lnTo>
                    <a:pt x="1213" y="1103"/>
                  </a:lnTo>
                  <a:lnTo>
                    <a:pt x="1242" y="1077"/>
                  </a:lnTo>
                  <a:lnTo>
                    <a:pt x="1273" y="1052"/>
                  </a:lnTo>
                  <a:lnTo>
                    <a:pt x="1303" y="1027"/>
                  </a:lnTo>
                  <a:lnTo>
                    <a:pt x="1335" y="1003"/>
                  </a:lnTo>
                  <a:lnTo>
                    <a:pt x="1366" y="979"/>
                  </a:lnTo>
                  <a:lnTo>
                    <a:pt x="1399" y="957"/>
                  </a:lnTo>
                  <a:lnTo>
                    <a:pt x="1432" y="936"/>
                  </a:lnTo>
                  <a:lnTo>
                    <a:pt x="1466" y="914"/>
                  </a:lnTo>
                  <a:lnTo>
                    <a:pt x="1499" y="894"/>
                  </a:lnTo>
                  <a:lnTo>
                    <a:pt x="1534" y="875"/>
                  </a:lnTo>
                  <a:lnTo>
                    <a:pt x="1569" y="856"/>
                  </a:lnTo>
                  <a:lnTo>
                    <a:pt x="1605" y="839"/>
                  </a:lnTo>
                  <a:lnTo>
                    <a:pt x="1640" y="822"/>
                  </a:lnTo>
                  <a:lnTo>
                    <a:pt x="1677" y="805"/>
                  </a:lnTo>
                  <a:lnTo>
                    <a:pt x="1714" y="790"/>
                  </a:lnTo>
                  <a:lnTo>
                    <a:pt x="1752" y="776"/>
                  </a:lnTo>
                  <a:lnTo>
                    <a:pt x="1790" y="763"/>
                  </a:lnTo>
                  <a:lnTo>
                    <a:pt x="1828" y="751"/>
                  </a:lnTo>
                  <a:lnTo>
                    <a:pt x="1867" y="739"/>
                  </a:lnTo>
                  <a:lnTo>
                    <a:pt x="1906" y="728"/>
                  </a:lnTo>
                  <a:lnTo>
                    <a:pt x="1945" y="719"/>
                  </a:lnTo>
                  <a:lnTo>
                    <a:pt x="1985" y="710"/>
                  </a:lnTo>
                  <a:lnTo>
                    <a:pt x="2025" y="702"/>
                  </a:lnTo>
                  <a:lnTo>
                    <a:pt x="2066" y="696"/>
                  </a:lnTo>
                  <a:lnTo>
                    <a:pt x="2107" y="690"/>
                  </a:lnTo>
                  <a:lnTo>
                    <a:pt x="2148" y="685"/>
                  </a:lnTo>
                  <a:lnTo>
                    <a:pt x="2189" y="682"/>
                  </a:lnTo>
                  <a:lnTo>
                    <a:pt x="2231" y="680"/>
                  </a:lnTo>
                  <a:lnTo>
                    <a:pt x="2273" y="677"/>
                  </a:lnTo>
                  <a:lnTo>
                    <a:pt x="2315" y="677"/>
                  </a:lnTo>
                  <a:lnTo>
                    <a:pt x="2315" y="677"/>
                  </a:lnTo>
                  <a:lnTo>
                    <a:pt x="2357" y="677"/>
                  </a:lnTo>
                  <a:lnTo>
                    <a:pt x="2400" y="680"/>
                  </a:lnTo>
                  <a:lnTo>
                    <a:pt x="2442" y="682"/>
                  </a:lnTo>
                  <a:lnTo>
                    <a:pt x="2483" y="685"/>
                  </a:lnTo>
                  <a:lnTo>
                    <a:pt x="2524" y="690"/>
                  </a:lnTo>
                  <a:lnTo>
                    <a:pt x="2564" y="696"/>
                  </a:lnTo>
                  <a:lnTo>
                    <a:pt x="2606" y="702"/>
                  </a:lnTo>
                  <a:lnTo>
                    <a:pt x="2646" y="710"/>
                  </a:lnTo>
                  <a:lnTo>
                    <a:pt x="2686" y="719"/>
                  </a:lnTo>
                  <a:lnTo>
                    <a:pt x="2725" y="728"/>
                  </a:lnTo>
                  <a:lnTo>
                    <a:pt x="2764" y="739"/>
                  </a:lnTo>
                  <a:lnTo>
                    <a:pt x="2803" y="751"/>
                  </a:lnTo>
                  <a:lnTo>
                    <a:pt x="2841" y="763"/>
                  </a:lnTo>
                  <a:lnTo>
                    <a:pt x="2879" y="776"/>
                  </a:lnTo>
                  <a:lnTo>
                    <a:pt x="2916" y="790"/>
                  </a:lnTo>
                  <a:lnTo>
                    <a:pt x="2954" y="805"/>
                  </a:lnTo>
                  <a:lnTo>
                    <a:pt x="2990" y="822"/>
                  </a:lnTo>
                  <a:lnTo>
                    <a:pt x="3025" y="839"/>
                  </a:lnTo>
                  <a:lnTo>
                    <a:pt x="3061" y="856"/>
                  </a:lnTo>
                  <a:lnTo>
                    <a:pt x="3097" y="875"/>
                  </a:lnTo>
                  <a:lnTo>
                    <a:pt x="3132" y="894"/>
                  </a:lnTo>
                  <a:lnTo>
                    <a:pt x="3165" y="914"/>
                  </a:lnTo>
                  <a:lnTo>
                    <a:pt x="3199" y="936"/>
                  </a:lnTo>
                  <a:lnTo>
                    <a:pt x="3231" y="957"/>
                  </a:lnTo>
                  <a:lnTo>
                    <a:pt x="3264" y="979"/>
                  </a:lnTo>
                  <a:lnTo>
                    <a:pt x="3296" y="1003"/>
                  </a:lnTo>
                  <a:lnTo>
                    <a:pt x="3327" y="1027"/>
                  </a:lnTo>
                  <a:lnTo>
                    <a:pt x="3358" y="1052"/>
                  </a:lnTo>
                  <a:lnTo>
                    <a:pt x="3388" y="1077"/>
                  </a:lnTo>
                  <a:lnTo>
                    <a:pt x="3417" y="1103"/>
                  </a:lnTo>
                  <a:lnTo>
                    <a:pt x="3446" y="1130"/>
                  </a:lnTo>
                  <a:lnTo>
                    <a:pt x="3474" y="1157"/>
                  </a:lnTo>
                  <a:lnTo>
                    <a:pt x="3501" y="1185"/>
                  </a:lnTo>
                  <a:lnTo>
                    <a:pt x="3528" y="1215"/>
                  </a:lnTo>
                  <a:lnTo>
                    <a:pt x="3555" y="1244"/>
                  </a:lnTo>
                  <a:lnTo>
                    <a:pt x="3579" y="1274"/>
                  </a:lnTo>
                  <a:lnTo>
                    <a:pt x="3604" y="1305"/>
                  </a:lnTo>
                  <a:lnTo>
                    <a:pt x="3628" y="1336"/>
                  </a:lnTo>
                  <a:lnTo>
                    <a:pt x="3652" y="1368"/>
                  </a:lnTo>
                  <a:lnTo>
                    <a:pt x="3674" y="1400"/>
                  </a:lnTo>
                  <a:lnTo>
                    <a:pt x="3696" y="1433"/>
                  </a:lnTo>
                  <a:lnTo>
                    <a:pt x="3717" y="1466"/>
                  </a:lnTo>
                  <a:lnTo>
                    <a:pt x="3737" y="1501"/>
                  </a:lnTo>
                  <a:lnTo>
                    <a:pt x="3756" y="1535"/>
                  </a:lnTo>
                  <a:lnTo>
                    <a:pt x="3775" y="1571"/>
                  </a:lnTo>
                  <a:lnTo>
                    <a:pt x="3793" y="1606"/>
                  </a:lnTo>
                  <a:lnTo>
                    <a:pt x="3809" y="1642"/>
                  </a:lnTo>
                  <a:lnTo>
                    <a:pt x="3826" y="1679"/>
                  </a:lnTo>
                  <a:lnTo>
                    <a:pt x="3841" y="1716"/>
                  </a:lnTo>
                  <a:lnTo>
                    <a:pt x="3855" y="1753"/>
                  </a:lnTo>
                  <a:lnTo>
                    <a:pt x="3868" y="1791"/>
                  </a:lnTo>
                  <a:lnTo>
                    <a:pt x="3881" y="1829"/>
                  </a:lnTo>
                  <a:lnTo>
                    <a:pt x="3892" y="1868"/>
                  </a:lnTo>
                  <a:lnTo>
                    <a:pt x="3903" y="1907"/>
                  </a:lnTo>
                  <a:lnTo>
                    <a:pt x="3912" y="1947"/>
                  </a:lnTo>
                  <a:lnTo>
                    <a:pt x="3921" y="1986"/>
                  </a:lnTo>
                  <a:lnTo>
                    <a:pt x="3929" y="2027"/>
                  </a:lnTo>
                  <a:lnTo>
                    <a:pt x="3935" y="2068"/>
                  </a:lnTo>
                  <a:lnTo>
                    <a:pt x="3941" y="2108"/>
                  </a:lnTo>
                  <a:lnTo>
                    <a:pt x="3946" y="2149"/>
                  </a:lnTo>
                  <a:lnTo>
                    <a:pt x="3949" y="2191"/>
                  </a:lnTo>
                  <a:lnTo>
                    <a:pt x="3953" y="2233"/>
                  </a:lnTo>
                  <a:lnTo>
                    <a:pt x="3954" y="2275"/>
                  </a:lnTo>
                  <a:lnTo>
                    <a:pt x="3955" y="2317"/>
                  </a:lnTo>
                  <a:lnTo>
                    <a:pt x="3955" y="2317"/>
                  </a:lnTo>
                  <a:lnTo>
                    <a:pt x="3954" y="2350"/>
                  </a:lnTo>
                  <a:lnTo>
                    <a:pt x="3953" y="2384"/>
                  </a:lnTo>
                  <a:lnTo>
                    <a:pt x="3951" y="2416"/>
                  </a:lnTo>
                  <a:lnTo>
                    <a:pt x="3949" y="2449"/>
                  </a:lnTo>
                  <a:lnTo>
                    <a:pt x="3943" y="2514"/>
                  </a:lnTo>
                  <a:lnTo>
                    <a:pt x="3933" y="2578"/>
                  </a:lnTo>
                  <a:lnTo>
                    <a:pt x="3922" y="2642"/>
                  </a:lnTo>
                  <a:lnTo>
                    <a:pt x="3908" y="2704"/>
                  </a:lnTo>
                  <a:lnTo>
                    <a:pt x="3892" y="2766"/>
                  </a:lnTo>
                  <a:lnTo>
                    <a:pt x="3873" y="2826"/>
                  </a:lnTo>
                  <a:lnTo>
                    <a:pt x="3853" y="2886"/>
                  </a:lnTo>
                  <a:lnTo>
                    <a:pt x="3830" y="2945"/>
                  </a:lnTo>
                  <a:lnTo>
                    <a:pt x="3805" y="3002"/>
                  </a:lnTo>
                  <a:lnTo>
                    <a:pt x="3778" y="3059"/>
                  </a:lnTo>
                  <a:lnTo>
                    <a:pt x="3749" y="3113"/>
                  </a:lnTo>
                  <a:lnTo>
                    <a:pt x="3717" y="3167"/>
                  </a:lnTo>
                  <a:lnTo>
                    <a:pt x="3685" y="3219"/>
                  </a:lnTo>
                  <a:lnTo>
                    <a:pt x="3649" y="3270"/>
                  </a:lnTo>
                  <a:lnTo>
                    <a:pt x="3612" y="3320"/>
                  </a:lnTo>
                  <a:lnTo>
                    <a:pt x="3573" y="3368"/>
                  </a:lnTo>
                  <a:lnTo>
                    <a:pt x="3533" y="3415"/>
                  </a:lnTo>
                  <a:lnTo>
                    <a:pt x="3491" y="3460"/>
                  </a:lnTo>
                  <a:lnTo>
                    <a:pt x="3447" y="3504"/>
                  </a:lnTo>
                  <a:lnTo>
                    <a:pt x="3402" y="3545"/>
                  </a:lnTo>
                  <a:lnTo>
                    <a:pt x="3355" y="3585"/>
                  </a:lnTo>
                  <a:lnTo>
                    <a:pt x="3306" y="3624"/>
                  </a:lnTo>
                  <a:lnTo>
                    <a:pt x="3256" y="3660"/>
                  </a:lnTo>
                  <a:lnTo>
                    <a:pt x="3204" y="3695"/>
                  </a:lnTo>
                  <a:lnTo>
                    <a:pt x="3152" y="3727"/>
                  </a:lnTo>
                  <a:lnTo>
                    <a:pt x="3098" y="3759"/>
                  </a:lnTo>
                  <a:lnTo>
                    <a:pt x="3043" y="3787"/>
                  </a:lnTo>
                  <a:lnTo>
                    <a:pt x="2986" y="3814"/>
                  </a:lnTo>
                  <a:lnTo>
                    <a:pt x="2929" y="3839"/>
                  </a:lnTo>
                  <a:lnTo>
                    <a:pt x="2870" y="3861"/>
                  </a:lnTo>
                  <a:lnTo>
                    <a:pt x="2870" y="4567"/>
                  </a:lnTo>
                  <a:lnTo>
                    <a:pt x="2870" y="4567"/>
                  </a:lnTo>
                  <a:lnTo>
                    <a:pt x="2914" y="4557"/>
                  </a:lnTo>
                  <a:lnTo>
                    <a:pt x="2958" y="4545"/>
                  </a:lnTo>
                  <a:lnTo>
                    <a:pt x="3001" y="4532"/>
                  </a:lnTo>
                  <a:lnTo>
                    <a:pt x="3045" y="4517"/>
                  </a:lnTo>
                  <a:lnTo>
                    <a:pt x="3088" y="4502"/>
                  </a:lnTo>
                  <a:lnTo>
                    <a:pt x="3132" y="4487"/>
                  </a:lnTo>
                  <a:lnTo>
                    <a:pt x="3174" y="4470"/>
                  </a:lnTo>
                  <a:lnTo>
                    <a:pt x="3216" y="4452"/>
                  </a:lnTo>
                  <a:lnTo>
                    <a:pt x="3216" y="4452"/>
                  </a:lnTo>
                  <a:lnTo>
                    <a:pt x="3267" y="4430"/>
                  </a:lnTo>
                  <a:lnTo>
                    <a:pt x="3318" y="4407"/>
                  </a:lnTo>
                  <a:lnTo>
                    <a:pt x="3368" y="4382"/>
                  </a:lnTo>
                  <a:lnTo>
                    <a:pt x="3418" y="4356"/>
                  </a:lnTo>
                  <a:lnTo>
                    <a:pt x="3467" y="4327"/>
                  </a:lnTo>
                  <a:lnTo>
                    <a:pt x="3515" y="4299"/>
                  </a:lnTo>
                  <a:lnTo>
                    <a:pt x="3563" y="4270"/>
                  </a:lnTo>
                  <a:lnTo>
                    <a:pt x="3610" y="4238"/>
                  </a:lnTo>
                  <a:lnTo>
                    <a:pt x="3610" y="4238"/>
                  </a:lnTo>
                  <a:lnTo>
                    <a:pt x="3655" y="4207"/>
                  </a:lnTo>
                  <a:lnTo>
                    <a:pt x="3700" y="4174"/>
                  </a:lnTo>
                  <a:lnTo>
                    <a:pt x="3744" y="4141"/>
                  </a:lnTo>
                  <a:lnTo>
                    <a:pt x="3788" y="4106"/>
                  </a:lnTo>
                  <a:lnTo>
                    <a:pt x="3830" y="4069"/>
                  </a:lnTo>
                  <a:lnTo>
                    <a:pt x="3872" y="4032"/>
                  </a:lnTo>
                  <a:lnTo>
                    <a:pt x="3912" y="3994"/>
                  </a:lnTo>
                  <a:lnTo>
                    <a:pt x="3953" y="3955"/>
                  </a:lnTo>
                  <a:lnTo>
                    <a:pt x="3953" y="3955"/>
                  </a:lnTo>
                  <a:lnTo>
                    <a:pt x="3992" y="3916"/>
                  </a:lnTo>
                  <a:lnTo>
                    <a:pt x="4030" y="3875"/>
                  </a:lnTo>
                  <a:lnTo>
                    <a:pt x="4066" y="3834"/>
                  </a:lnTo>
                  <a:lnTo>
                    <a:pt x="4102" y="3791"/>
                  </a:lnTo>
                  <a:lnTo>
                    <a:pt x="4137" y="3748"/>
                  </a:lnTo>
                  <a:lnTo>
                    <a:pt x="4170" y="3703"/>
                  </a:lnTo>
                  <a:lnTo>
                    <a:pt x="4204" y="3658"/>
                  </a:lnTo>
                  <a:lnTo>
                    <a:pt x="4236" y="3612"/>
                  </a:lnTo>
                  <a:lnTo>
                    <a:pt x="4236" y="3612"/>
                  </a:lnTo>
                  <a:lnTo>
                    <a:pt x="4266" y="3566"/>
                  </a:lnTo>
                  <a:lnTo>
                    <a:pt x="4296" y="3518"/>
                  </a:lnTo>
                  <a:lnTo>
                    <a:pt x="4324" y="3470"/>
                  </a:lnTo>
                  <a:lnTo>
                    <a:pt x="4352" y="3421"/>
                  </a:lnTo>
                  <a:lnTo>
                    <a:pt x="4378" y="3371"/>
                  </a:lnTo>
                  <a:lnTo>
                    <a:pt x="4403" y="3321"/>
                  </a:lnTo>
                  <a:lnTo>
                    <a:pt x="4426" y="3270"/>
                  </a:lnTo>
                  <a:lnTo>
                    <a:pt x="4449" y="3219"/>
                  </a:lnTo>
                  <a:lnTo>
                    <a:pt x="4449" y="3219"/>
                  </a:lnTo>
                  <a:lnTo>
                    <a:pt x="4471" y="3165"/>
                  </a:lnTo>
                  <a:lnTo>
                    <a:pt x="4491" y="3111"/>
                  </a:lnTo>
                  <a:lnTo>
                    <a:pt x="4510" y="3057"/>
                  </a:lnTo>
                  <a:lnTo>
                    <a:pt x="4528" y="3001"/>
                  </a:lnTo>
                  <a:lnTo>
                    <a:pt x="4545" y="2947"/>
                  </a:lnTo>
                  <a:lnTo>
                    <a:pt x="4560" y="2890"/>
                  </a:lnTo>
                  <a:lnTo>
                    <a:pt x="4573" y="2835"/>
                  </a:lnTo>
                  <a:lnTo>
                    <a:pt x="4585" y="2779"/>
                  </a:lnTo>
                  <a:lnTo>
                    <a:pt x="4596" y="2722"/>
                  </a:lnTo>
                  <a:lnTo>
                    <a:pt x="4605" y="2665"/>
                  </a:lnTo>
                  <a:lnTo>
                    <a:pt x="4613" y="2607"/>
                  </a:lnTo>
                  <a:lnTo>
                    <a:pt x="4619" y="2550"/>
                  </a:lnTo>
                  <a:lnTo>
                    <a:pt x="4624" y="2492"/>
                  </a:lnTo>
                  <a:lnTo>
                    <a:pt x="4628" y="2435"/>
                  </a:lnTo>
                  <a:lnTo>
                    <a:pt x="4630" y="2376"/>
                  </a:lnTo>
                  <a:lnTo>
                    <a:pt x="4630" y="2317"/>
                  </a:lnTo>
                  <a:lnTo>
                    <a:pt x="4630" y="2317"/>
                  </a:lnTo>
                  <a:lnTo>
                    <a:pt x="4630" y="2259"/>
                  </a:lnTo>
                  <a:lnTo>
                    <a:pt x="4628" y="2200"/>
                  </a:lnTo>
                  <a:lnTo>
                    <a:pt x="4624" y="2143"/>
                  </a:lnTo>
                  <a:lnTo>
                    <a:pt x="4619" y="2084"/>
                  </a:lnTo>
                  <a:lnTo>
                    <a:pt x="4613" y="2027"/>
                  </a:lnTo>
                  <a:lnTo>
                    <a:pt x="4605" y="1970"/>
                  </a:lnTo>
                  <a:lnTo>
                    <a:pt x="4596" y="1913"/>
                  </a:lnTo>
                  <a:lnTo>
                    <a:pt x="4585" y="1856"/>
                  </a:lnTo>
                  <a:lnTo>
                    <a:pt x="4573" y="1800"/>
                  </a:lnTo>
                  <a:lnTo>
                    <a:pt x="4560" y="1743"/>
                  </a:lnTo>
                  <a:lnTo>
                    <a:pt x="4545" y="1688"/>
                  </a:lnTo>
                  <a:lnTo>
                    <a:pt x="4528" y="1633"/>
                  </a:lnTo>
                  <a:lnTo>
                    <a:pt x="4510" y="1578"/>
                  </a:lnTo>
                  <a:lnTo>
                    <a:pt x="4491" y="1523"/>
                  </a:lnTo>
                  <a:lnTo>
                    <a:pt x="4471" y="1469"/>
                  </a:lnTo>
                  <a:lnTo>
                    <a:pt x="4449" y="1415"/>
                  </a:lnTo>
                  <a:lnTo>
                    <a:pt x="4449" y="1415"/>
                  </a:lnTo>
                  <a:lnTo>
                    <a:pt x="4426" y="1364"/>
                  </a:lnTo>
                  <a:lnTo>
                    <a:pt x="4403" y="1313"/>
                  </a:lnTo>
                  <a:lnTo>
                    <a:pt x="4378" y="1263"/>
                  </a:lnTo>
                  <a:lnTo>
                    <a:pt x="4352" y="1214"/>
                  </a:lnTo>
                  <a:lnTo>
                    <a:pt x="4324" y="1165"/>
                  </a:lnTo>
                  <a:lnTo>
                    <a:pt x="4296" y="1116"/>
                  </a:lnTo>
                  <a:lnTo>
                    <a:pt x="4266" y="1068"/>
                  </a:lnTo>
                  <a:lnTo>
                    <a:pt x="4236" y="1021"/>
                  </a:lnTo>
                  <a:lnTo>
                    <a:pt x="4236" y="1021"/>
                  </a:lnTo>
                  <a:lnTo>
                    <a:pt x="4204" y="976"/>
                  </a:lnTo>
                  <a:lnTo>
                    <a:pt x="4170" y="931"/>
                  </a:lnTo>
                  <a:lnTo>
                    <a:pt x="4137" y="887"/>
                  </a:lnTo>
                  <a:lnTo>
                    <a:pt x="4102" y="843"/>
                  </a:lnTo>
                  <a:lnTo>
                    <a:pt x="4066" y="801"/>
                  </a:lnTo>
                  <a:lnTo>
                    <a:pt x="4030" y="759"/>
                  </a:lnTo>
                  <a:lnTo>
                    <a:pt x="3992" y="719"/>
                  </a:lnTo>
                  <a:lnTo>
                    <a:pt x="3953" y="678"/>
                  </a:lnTo>
                  <a:lnTo>
                    <a:pt x="3953" y="678"/>
                  </a:lnTo>
                  <a:lnTo>
                    <a:pt x="3912" y="639"/>
                  </a:lnTo>
                  <a:lnTo>
                    <a:pt x="3872" y="601"/>
                  </a:lnTo>
                  <a:lnTo>
                    <a:pt x="3830" y="565"/>
                  </a:lnTo>
                  <a:lnTo>
                    <a:pt x="3788" y="529"/>
                  </a:lnTo>
                  <a:lnTo>
                    <a:pt x="3744" y="494"/>
                  </a:lnTo>
                  <a:lnTo>
                    <a:pt x="3700" y="460"/>
                  </a:lnTo>
                  <a:lnTo>
                    <a:pt x="3655" y="427"/>
                  </a:lnTo>
                  <a:lnTo>
                    <a:pt x="3610" y="395"/>
                  </a:lnTo>
                  <a:lnTo>
                    <a:pt x="3610" y="3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77">
              <a:extLst>
                <a:ext uri="{FF2B5EF4-FFF2-40B4-BE49-F238E27FC236}">
                  <a16:creationId xmlns:a16="http://schemas.microsoft.com/office/drawing/2014/main" id="{376B0F74-A374-4145-8741-2262BEE5630A}"/>
                </a:ext>
              </a:extLst>
            </p:cNvPr>
            <p:cNvSpPr>
              <a:spLocks noEditPoints="1"/>
            </p:cNvSpPr>
            <p:nvPr/>
          </p:nvSpPr>
          <p:spPr bwMode="auto">
            <a:xfrm>
              <a:off x="5934075" y="2346325"/>
              <a:ext cx="1865313" cy="1866900"/>
            </a:xfrm>
            <a:custGeom>
              <a:avLst/>
              <a:gdLst>
                <a:gd name="T0" fmla="*/ 3984 w 9400"/>
                <a:gd name="T1" fmla="*/ 54 h 9408"/>
                <a:gd name="T2" fmla="*/ 3193 w 9400"/>
                <a:gd name="T3" fmla="*/ 247 h 9408"/>
                <a:gd name="T4" fmla="*/ 2460 w 9400"/>
                <a:gd name="T5" fmla="*/ 568 h 9408"/>
                <a:gd name="T6" fmla="*/ 1799 w 9400"/>
                <a:gd name="T7" fmla="*/ 1004 h 9408"/>
                <a:gd name="T8" fmla="*/ 1221 w 9400"/>
                <a:gd name="T9" fmla="*/ 1541 h 9408"/>
                <a:gd name="T10" fmla="*/ 741 w 9400"/>
                <a:gd name="T11" fmla="*/ 2169 h 9408"/>
                <a:gd name="T12" fmla="*/ 370 w 9400"/>
                <a:gd name="T13" fmla="*/ 2873 h 9408"/>
                <a:gd name="T14" fmla="*/ 120 w 9400"/>
                <a:gd name="T15" fmla="*/ 3643 h 9408"/>
                <a:gd name="T16" fmla="*/ 7 w 9400"/>
                <a:gd name="T17" fmla="*/ 4462 h 9408"/>
                <a:gd name="T18" fmla="*/ 31 w 9400"/>
                <a:gd name="T19" fmla="*/ 5245 h 9408"/>
                <a:gd name="T20" fmla="*/ 195 w 9400"/>
                <a:gd name="T21" fmla="*/ 6048 h 9408"/>
                <a:gd name="T22" fmla="*/ 489 w 9400"/>
                <a:gd name="T23" fmla="*/ 6794 h 9408"/>
                <a:gd name="T24" fmla="*/ 900 w 9400"/>
                <a:gd name="T25" fmla="*/ 7473 h 9408"/>
                <a:gd name="T26" fmla="*/ 1417 w 9400"/>
                <a:gd name="T27" fmla="*/ 8070 h 9408"/>
                <a:gd name="T28" fmla="*/ 2026 w 9400"/>
                <a:gd name="T29" fmla="*/ 8573 h 9408"/>
                <a:gd name="T30" fmla="*/ 2714 w 9400"/>
                <a:gd name="T31" fmla="*/ 8968 h 9408"/>
                <a:gd name="T32" fmla="*/ 3469 w 9400"/>
                <a:gd name="T33" fmla="*/ 9245 h 9408"/>
                <a:gd name="T34" fmla="*/ 4279 w 9400"/>
                <a:gd name="T35" fmla="*/ 9390 h 9408"/>
                <a:gd name="T36" fmla="*/ 5062 w 9400"/>
                <a:gd name="T37" fmla="*/ 9395 h 9408"/>
                <a:gd name="T38" fmla="*/ 5874 w 9400"/>
                <a:gd name="T39" fmla="*/ 9260 h 9408"/>
                <a:gd name="T40" fmla="*/ 6635 w 9400"/>
                <a:gd name="T41" fmla="*/ 8992 h 9408"/>
                <a:gd name="T42" fmla="*/ 7328 w 9400"/>
                <a:gd name="T43" fmla="*/ 8605 h 9408"/>
                <a:gd name="T44" fmla="*/ 7943 w 9400"/>
                <a:gd name="T45" fmla="*/ 8110 h 9408"/>
                <a:gd name="T46" fmla="*/ 8466 w 9400"/>
                <a:gd name="T47" fmla="*/ 7518 h 9408"/>
                <a:gd name="T48" fmla="*/ 8886 w 9400"/>
                <a:gd name="T49" fmla="*/ 6845 h 9408"/>
                <a:gd name="T50" fmla="*/ 9189 w 9400"/>
                <a:gd name="T51" fmla="*/ 6103 h 9408"/>
                <a:gd name="T52" fmla="*/ 9362 w 9400"/>
                <a:gd name="T53" fmla="*/ 5303 h 9408"/>
                <a:gd name="T54" fmla="*/ 9397 w 9400"/>
                <a:gd name="T55" fmla="*/ 4523 h 9408"/>
                <a:gd name="T56" fmla="*/ 9293 w 9400"/>
                <a:gd name="T57" fmla="*/ 3699 h 9408"/>
                <a:gd name="T58" fmla="*/ 9053 w 9400"/>
                <a:gd name="T59" fmla="*/ 2926 h 9408"/>
                <a:gd name="T60" fmla="*/ 8690 w 9400"/>
                <a:gd name="T61" fmla="*/ 2216 h 9408"/>
                <a:gd name="T62" fmla="*/ 8217 w 9400"/>
                <a:gd name="T63" fmla="*/ 1584 h 9408"/>
                <a:gd name="T64" fmla="*/ 7646 w 9400"/>
                <a:gd name="T65" fmla="*/ 1039 h 9408"/>
                <a:gd name="T66" fmla="*/ 6990 w 9400"/>
                <a:gd name="T67" fmla="*/ 596 h 9408"/>
                <a:gd name="T68" fmla="*/ 6263 w 9400"/>
                <a:gd name="T69" fmla="*/ 266 h 9408"/>
                <a:gd name="T70" fmla="*/ 5474 w 9400"/>
                <a:gd name="T71" fmla="*/ 64 h 9408"/>
                <a:gd name="T72" fmla="*/ 4700 w 9400"/>
                <a:gd name="T73" fmla="*/ 0 h 9408"/>
                <a:gd name="T74" fmla="*/ 5203 w 9400"/>
                <a:gd name="T75" fmla="*/ 7803 h 9408"/>
                <a:gd name="T76" fmla="*/ 5021 w 9400"/>
                <a:gd name="T77" fmla="*/ 7954 h 9408"/>
                <a:gd name="T78" fmla="*/ 4396 w 9400"/>
                <a:gd name="T79" fmla="*/ 7963 h 9408"/>
                <a:gd name="T80" fmla="*/ 4200 w 9400"/>
                <a:gd name="T81" fmla="*/ 7831 h 9408"/>
                <a:gd name="T82" fmla="*/ 4128 w 9400"/>
                <a:gd name="T83" fmla="*/ 7248 h 9408"/>
                <a:gd name="T84" fmla="*/ 3442 w 9400"/>
                <a:gd name="T85" fmla="*/ 6994 h 9408"/>
                <a:gd name="T86" fmla="*/ 2821 w 9400"/>
                <a:gd name="T87" fmla="*/ 6532 h 9408"/>
                <a:gd name="T88" fmla="*/ 2358 w 9400"/>
                <a:gd name="T89" fmla="*/ 5911 h 9408"/>
                <a:gd name="T90" fmla="*/ 2090 w 9400"/>
                <a:gd name="T91" fmla="*/ 5170 h 9408"/>
                <a:gd name="T92" fmla="*/ 2052 w 9400"/>
                <a:gd name="T93" fmla="*/ 4373 h 9408"/>
                <a:gd name="T94" fmla="*/ 2300 w 9400"/>
                <a:gd name="T95" fmla="*/ 3489 h 9408"/>
                <a:gd name="T96" fmla="*/ 2817 w 9400"/>
                <a:gd name="T97" fmla="*/ 2761 h 9408"/>
                <a:gd name="T98" fmla="*/ 3546 w 9400"/>
                <a:gd name="T99" fmla="*/ 2243 h 9408"/>
                <a:gd name="T100" fmla="*/ 4428 w 9400"/>
                <a:gd name="T101" fmla="*/ 1994 h 9408"/>
                <a:gd name="T102" fmla="*/ 5302 w 9400"/>
                <a:gd name="T103" fmla="*/ 2049 h 9408"/>
                <a:gd name="T104" fmla="*/ 6136 w 9400"/>
                <a:gd name="T105" fmla="*/ 2401 h 9408"/>
                <a:gd name="T106" fmla="*/ 6795 w 9400"/>
                <a:gd name="T107" fmla="*/ 3000 h 9408"/>
                <a:gd name="T108" fmla="*/ 7222 w 9400"/>
                <a:gd name="T109" fmla="*/ 3790 h 9408"/>
                <a:gd name="T110" fmla="*/ 7362 w 9400"/>
                <a:gd name="T111" fmla="*/ 4645 h 9408"/>
                <a:gd name="T112" fmla="*/ 7239 w 9400"/>
                <a:gd name="T113" fmla="*/ 5450 h 9408"/>
                <a:gd name="T114" fmla="*/ 6894 w 9400"/>
                <a:gd name="T115" fmla="*/ 6155 h 9408"/>
                <a:gd name="T116" fmla="*/ 6366 w 9400"/>
                <a:gd name="T117" fmla="*/ 6724 h 9408"/>
                <a:gd name="T118" fmla="*/ 5691 w 9400"/>
                <a:gd name="T119" fmla="*/ 7119 h 9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00" h="9408">
                  <a:moveTo>
                    <a:pt x="4700" y="0"/>
                  </a:moveTo>
                  <a:lnTo>
                    <a:pt x="4700" y="0"/>
                  </a:lnTo>
                  <a:lnTo>
                    <a:pt x="4639" y="1"/>
                  </a:lnTo>
                  <a:lnTo>
                    <a:pt x="4579" y="2"/>
                  </a:lnTo>
                  <a:lnTo>
                    <a:pt x="4519" y="4"/>
                  </a:lnTo>
                  <a:lnTo>
                    <a:pt x="4458" y="7"/>
                  </a:lnTo>
                  <a:lnTo>
                    <a:pt x="4399" y="10"/>
                  </a:lnTo>
                  <a:lnTo>
                    <a:pt x="4339" y="14"/>
                  </a:lnTo>
                  <a:lnTo>
                    <a:pt x="4279" y="18"/>
                  </a:lnTo>
                  <a:lnTo>
                    <a:pt x="4220" y="25"/>
                  </a:lnTo>
                  <a:lnTo>
                    <a:pt x="4161" y="31"/>
                  </a:lnTo>
                  <a:lnTo>
                    <a:pt x="4101" y="38"/>
                  </a:lnTo>
                  <a:lnTo>
                    <a:pt x="4043" y="46"/>
                  </a:lnTo>
                  <a:lnTo>
                    <a:pt x="3984" y="54"/>
                  </a:lnTo>
                  <a:lnTo>
                    <a:pt x="3927" y="64"/>
                  </a:lnTo>
                  <a:lnTo>
                    <a:pt x="3868" y="74"/>
                  </a:lnTo>
                  <a:lnTo>
                    <a:pt x="3811" y="85"/>
                  </a:lnTo>
                  <a:lnTo>
                    <a:pt x="3753" y="96"/>
                  </a:lnTo>
                  <a:lnTo>
                    <a:pt x="3696" y="109"/>
                  </a:lnTo>
                  <a:lnTo>
                    <a:pt x="3639" y="120"/>
                  </a:lnTo>
                  <a:lnTo>
                    <a:pt x="3582" y="135"/>
                  </a:lnTo>
                  <a:lnTo>
                    <a:pt x="3526" y="149"/>
                  </a:lnTo>
                  <a:lnTo>
                    <a:pt x="3469" y="163"/>
                  </a:lnTo>
                  <a:lnTo>
                    <a:pt x="3414" y="179"/>
                  </a:lnTo>
                  <a:lnTo>
                    <a:pt x="3359" y="195"/>
                  </a:lnTo>
                  <a:lnTo>
                    <a:pt x="3303" y="212"/>
                  </a:lnTo>
                  <a:lnTo>
                    <a:pt x="3248" y="229"/>
                  </a:lnTo>
                  <a:lnTo>
                    <a:pt x="3193" y="247"/>
                  </a:lnTo>
                  <a:lnTo>
                    <a:pt x="3138" y="266"/>
                  </a:lnTo>
                  <a:lnTo>
                    <a:pt x="3084" y="285"/>
                  </a:lnTo>
                  <a:lnTo>
                    <a:pt x="3030" y="306"/>
                  </a:lnTo>
                  <a:lnTo>
                    <a:pt x="2977" y="327"/>
                  </a:lnTo>
                  <a:lnTo>
                    <a:pt x="2924" y="348"/>
                  </a:lnTo>
                  <a:lnTo>
                    <a:pt x="2871" y="370"/>
                  </a:lnTo>
                  <a:lnTo>
                    <a:pt x="2818" y="393"/>
                  </a:lnTo>
                  <a:lnTo>
                    <a:pt x="2766" y="416"/>
                  </a:lnTo>
                  <a:lnTo>
                    <a:pt x="2714" y="440"/>
                  </a:lnTo>
                  <a:lnTo>
                    <a:pt x="2662" y="465"/>
                  </a:lnTo>
                  <a:lnTo>
                    <a:pt x="2611" y="490"/>
                  </a:lnTo>
                  <a:lnTo>
                    <a:pt x="2560" y="514"/>
                  </a:lnTo>
                  <a:lnTo>
                    <a:pt x="2510" y="542"/>
                  </a:lnTo>
                  <a:lnTo>
                    <a:pt x="2460" y="568"/>
                  </a:lnTo>
                  <a:lnTo>
                    <a:pt x="2411" y="596"/>
                  </a:lnTo>
                  <a:lnTo>
                    <a:pt x="2361" y="624"/>
                  </a:lnTo>
                  <a:lnTo>
                    <a:pt x="2312" y="652"/>
                  </a:lnTo>
                  <a:lnTo>
                    <a:pt x="2263" y="682"/>
                  </a:lnTo>
                  <a:lnTo>
                    <a:pt x="2214" y="711"/>
                  </a:lnTo>
                  <a:lnTo>
                    <a:pt x="2167" y="741"/>
                  </a:lnTo>
                  <a:lnTo>
                    <a:pt x="2120" y="773"/>
                  </a:lnTo>
                  <a:lnTo>
                    <a:pt x="2072" y="804"/>
                  </a:lnTo>
                  <a:lnTo>
                    <a:pt x="2026" y="836"/>
                  </a:lnTo>
                  <a:lnTo>
                    <a:pt x="1979" y="868"/>
                  </a:lnTo>
                  <a:lnTo>
                    <a:pt x="1934" y="901"/>
                  </a:lnTo>
                  <a:lnTo>
                    <a:pt x="1888" y="935"/>
                  </a:lnTo>
                  <a:lnTo>
                    <a:pt x="1844" y="969"/>
                  </a:lnTo>
                  <a:lnTo>
                    <a:pt x="1799" y="1004"/>
                  </a:lnTo>
                  <a:lnTo>
                    <a:pt x="1755" y="1039"/>
                  </a:lnTo>
                  <a:lnTo>
                    <a:pt x="1710" y="1075"/>
                  </a:lnTo>
                  <a:lnTo>
                    <a:pt x="1668" y="1110"/>
                  </a:lnTo>
                  <a:lnTo>
                    <a:pt x="1625" y="1147"/>
                  </a:lnTo>
                  <a:lnTo>
                    <a:pt x="1582" y="1184"/>
                  </a:lnTo>
                  <a:lnTo>
                    <a:pt x="1540" y="1222"/>
                  </a:lnTo>
                  <a:lnTo>
                    <a:pt x="1499" y="1260"/>
                  </a:lnTo>
                  <a:lnTo>
                    <a:pt x="1457" y="1299"/>
                  </a:lnTo>
                  <a:lnTo>
                    <a:pt x="1417" y="1338"/>
                  </a:lnTo>
                  <a:lnTo>
                    <a:pt x="1377" y="1378"/>
                  </a:lnTo>
                  <a:lnTo>
                    <a:pt x="1337" y="1419"/>
                  </a:lnTo>
                  <a:lnTo>
                    <a:pt x="1298" y="1459"/>
                  </a:lnTo>
                  <a:lnTo>
                    <a:pt x="1259" y="1500"/>
                  </a:lnTo>
                  <a:lnTo>
                    <a:pt x="1221" y="1541"/>
                  </a:lnTo>
                  <a:lnTo>
                    <a:pt x="1183" y="1584"/>
                  </a:lnTo>
                  <a:lnTo>
                    <a:pt x="1146" y="1626"/>
                  </a:lnTo>
                  <a:lnTo>
                    <a:pt x="1109" y="1669"/>
                  </a:lnTo>
                  <a:lnTo>
                    <a:pt x="1074" y="1712"/>
                  </a:lnTo>
                  <a:lnTo>
                    <a:pt x="1038" y="1756"/>
                  </a:lnTo>
                  <a:lnTo>
                    <a:pt x="1003" y="1801"/>
                  </a:lnTo>
                  <a:lnTo>
                    <a:pt x="968" y="1845"/>
                  </a:lnTo>
                  <a:lnTo>
                    <a:pt x="934" y="1890"/>
                  </a:lnTo>
                  <a:lnTo>
                    <a:pt x="900" y="1935"/>
                  </a:lnTo>
                  <a:lnTo>
                    <a:pt x="868" y="1981"/>
                  </a:lnTo>
                  <a:lnTo>
                    <a:pt x="835" y="2027"/>
                  </a:lnTo>
                  <a:lnTo>
                    <a:pt x="804" y="2074"/>
                  </a:lnTo>
                  <a:lnTo>
                    <a:pt x="772" y="2122"/>
                  </a:lnTo>
                  <a:lnTo>
                    <a:pt x="741" y="2169"/>
                  </a:lnTo>
                  <a:lnTo>
                    <a:pt x="710" y="2216"/>
                  </a:lnTo>
                  <a:lnTo>
                    <a:pt x="681" y="2265"/>
                  </a:lnTo>
                  <a:lnTo>
                    <a:pt x="652" y="2314"/>
                  </a:lnTo>
                  <a:lnTo>
                    <a:pt x="624" y="2363"/>
                  </a:lnTo>
                  <a:lnTo>
                    <a:pt x="595" y="2413"/>
                  </a:lnTo>
                  <a:lnTo>
                    <a:pt x="567" y="2462"/>
                  </a:lnTo>
                  <a:lnTo>
                    <a:pt x="541" y="2513"/>
                  </a:lnTo>
                  <a:lnTo>
                    <a:pt x="514" y="2563"/>
                  </a:lnTo>
                  <a:lnTo>
                    <a:pt x="489" y="2614"/>
                  </a:lnTo>
                  <a:lnTo>
                    <a:pt x="464" y="2665"/>
                  </a:lnTo>
                  <a:lnTo>
                    <a:pt x="439" y="2717"/>
                  </a:lnTo>
                  <a:lnTo>
                    <a:pt x="415" y="2769"/>
                  </a:lnTo>
                  <a:lnTo>
                    <a:pt x="393" y="2821"/>
                  </a:lnTo>
                  <a:lnTo>
                    <a:pt x="370" y="2873"/>
                  </a:lnTo>
                  <a:lnTo>
                    <a:pt x="348" y="2926"/>
                  </a:lnTo>
                  <a:lnTo>
                    <a:pt x="326" y="2979"/>
                  </a:lnTo>
                  <a:lnTo>
                    <a:pt x="306" y="3033"/>
                  </a:lnTo>
                  <a:lnTo>
                    <a:pt x="285" y="3087"/>
                  </a:lnTo>
                  <a:lnTo>
                    <a:pt x="266" y="3141"/>
                  </a:lnTo>
                  <a:lnTo>
                    <a:pt x="247" y="3195"/>
                  </a:lnTo>
                  <a:lnTo>
                    <a:pt x="229" y="3251"/>
                  </a:lnTo>
                  <a:lnTo>
                    <a:pt x="211" y="3306"/>
                  </a:lnTo>
                  <a:lnTo>
                    <a:pt x="195" y="3361"/>
                  </a:lnTo>
                  <a:lnTo>
                    <a:pt x="179" y="3417"/>
                  </a:lnTo>
                  <a:lnTo>
                    <a:pt x="163" y="3472"/>
                  </a:lnTo>
                  <a:lnTo>
                    <a:pt x="149" y="3529"/>
                  </a:lnTo>
                  <a:lnTo>
                    <a:pt x="134" y="3585"/>
                  </a:lnTo>
                  <a:lnTo>
                    <a:pt x="120" y="3643"/>
                  </a:lnTo>
                  <a:lnTo>
                    <a:pt x="108" y="3699"/>
                  </a:lnTo>
                  <a:lnTo>
                    <a:pt x="95" y="3756"/>
                  </a:lnTo>
                  <a:lnTo>
                    <a:pt x="85" y="3814"/>
                  </a:lnTo>
                  <a:lnTo>
                    <a:pt x="74" y="3872"/>
                  </a:lnTo>
                  <a:lnTo>
                    <a:pt x="64" y="3930"/>
                  </a:lnTo>
                  <a:lnTo>
                    <a:pt x="54" y="3988"/>
                  </a:lnTo>
                  <a:lnTo>
                    <a:pt x="46" y="4046"/>
                  </a:lnTo>
                  <a:lnTo>
                    <a:pt x="38" y="4105"/>
                  </a:lnTo>
                  <a:lnTo>
                    <a:pt x="31" y="4165"/>
                  </a:lnTo>
                  <a:lnTo>
                    <a:pt x="25" y="4223"/>
                  </a:lnTo>
                  <a:lnTo>
                    <a:pt x="18" y="4283"/>
                  </a:lnTo>
                  <a:lnTo>
                    <a:pt x="14" y="4343"/>
                  </a:lnTo>
                  <a:lnTo>
                    <a:pt x="10" y="4402"/>
                  </a:lnTo>
                  <a:lnTo>
                    <a:pt x="7" y="4462"/>
                  </a:lnTo>
                  <a:lnTo>
                    <a:pt x="4" y="4523"/>
                  </a:lnTo>
                  <a:lnTo>
                    <a:pt x="2" y="4582"/>
                  </a:lnTo>
                  <a:lnTo>
                    <a:pt x="1" y="4643"/>
                  </a:lnTo>
                  <a:lnTo>
                    <a:pt x="0" y="4704"/>
                  </a:lnTo>
                  <a:lnTo>
                    <a:pt x="0" y="4704"/>
                  </a:lnTo>
                  <a:lnTo>
                    <a:pt x="1" y="4765"/>
                  </a:lnTo>
                  <a:lnTo>
                    <a:pt x="2" y="4826"/>
                  </a:lnTo>
                  <a:lnTo>
                    <a:pt x="4" y="4886"/>
                  </a:lnTo>
                  <a:lnTo>
                    <a:pt x="7" y="4946"/>
                  </a:lnTo>
                  <a:lnTo>
                    <a:pt x="10" y="5007"/>
                  </a:lnTo>
                  <a:lnTo>
                    <a:pt x="14" y="5067"/>
                  </a:lnTo>
                  <a:lnTo>
                    <a:pt x="18" y="5126"/>
                  </a:lnTo>
                  <a:lnTo>
                    <a:pt x="25" y="5185"/>
                  </a:lnTo>
                  <a:lnTo>
                    <a:pt x="31" y="5245"/>
                  </a:lnTo>
                  <a:lnTo>
                    <a:pt x="38" y="5303"/>
                  </a:lnTo>
                  <a:lnTo>
                    <a:pt x="46" y="5362"/>
                  </a:lnTo>
                  <a:lnTo>
                    <a:pt x="54" y="5420"/>
                  </a:lnTo>
                  <a:lnTo>
                    <a:pt x="64" y="5479"/>
                  </a:lnTo>
                  <a:lnTo>
                    <a:pt x="74" y="5536"/>
                  </a:lnTo>
                  <a:lnTo>
                    <a:pt x="85" y="5595"/>
                  </a:lnTo>
                  <a:lnTo>
                    <a:pt x="95" y="5653"/>
                  </a:lnTo>
                  <a:lnTo>
                    <a:pt x="108" y="5710"/>
                  </a:lnTo>
                  <a:lnTo>
                    <a:pt x="120" y="5767"/>
                  </a:lnTo>
                  <a:lnTo>
                    <a:pt x="134" y="5823"/>
                  </a:lnTo>
                  <a:lnTo>
                    <a:pt x="149" y="5879"/>
                  </a:lnTo>
                  <a:lnTo>
                    <a:pt x="163" y="5936"/>
                  </a:lnTo>
                  <a:lnTo>
                    <a:pt x="179" y="5992"/>
                  </a:lnTo>
                  <a:lnTo>
                    <a:pt x="195" y="6048"/>
                  </a:lnTo>
                  <a:lnTo>
                    <a:pt x="211" y="6103"/>
                  </a:lnTo>
                  <a:lnTo>
                    <a:pt x="229" y="6158"/>
                  </a:lnTo>
                  <a:lnTo>
                    <a:pt x="247" y="6213"/>
                  </a:lnTo>
                  <a:lnTo>
                    <a:pt x="266" y="6268"/>
                  </a:lnTo>
                  <a:lnTo>
                    <a:pt x="285" y="6321"/>
                  </a:lnTo>
                  <a:lnTo>
                    <a:pt x="306" y="6375"/>
                  </a:lnTo>
                  <a:lnTo>
                    <a:pt x="326" y="6429"/>
                  </a:lnTo>
                  <a:lnTo>
                    <a:pt x="348" y="6483"/>
                  </a:lnTo>
                  <a:lnTo>
                    <a:pt x="370" y="6535"/>
                  </a:lnTo>
                  <a:lnTo>
                    <a:pt x="393" y="6588"/>
                  </a:lnTo>
                  <a:lnTo>
                    <a:pt x="415" y="6640"/>
                  </a:lnTo>
                  <a:lnTo>
                    <a:pt x="439" y="6692"/>
                  </a:lnTo>
                  <a:lnTo>
                    <a:pt x="464" y="6743"/>
                  </a:lnTo>
                  <a:lnTo>
                    <a:pt x="489" y="6794"/>
                  </a:lnTo>
                  <a:lnTo>
                    <a:pt x="514" y="6845"/>
                  </a:lnTo>
                  <a:lnTo>
                    <a:pt x="541" y="6896"/>
                  </a:lnTo>
                  <a:lnTo>
                    <a:pt x="567" y="6946"/>
                  </a:lnTo>
                  <a:lnTo>
                    <a:pt x="595" y="6996"/>
                  </a:lnTo>
                  <a:lnTo>
                    <a:pt x="624" y="7046"/>
                  </a:lnTo>
                  <a:lnTo>
                    <a:pt x="652" y="7095"/>
                  </a:lnTo>
                  <a:lnTo>
                    <a:pt x="681" y="7144"/>
                  </a:lnTo>
                  <a:lnTo>
                    <a:pt x="710" y="7192"/>
                  </a:lnTo>
                  <a:lnTo>
                    <a:pt x="741" y="7239"/>
                  </a:lnTo>
                  <a:lnTo>
                    <a:pt x="772" y="7287"/>
                  </a:lnTo>
                  <a:lnTo>
                    <a:pt x="804" y="7334"/>
                  </a:lnTo>
                  <a:lnTo>
                    <a:pt x="835" y="7382"/>
                  </a:lnTo>
                  <a:lnTo>
                    <a:pt x="868" y="7427"/>
                  </a:lnTo>
                  <a:lnTo>
                    <a:pt x="900" y="7473"/>
                  </a:lnTo>
                  <a:lnTo>
                    <a:pt x="934" y="7518"/>
                  </a:lnTo>
                  <a:lnTo>
                    <a:pt x="968" y="7564"/>
                  </a:lnTo>
                  <a:lnTo>
                    <a:pt x="1003" y="7608"/>
                  </a:lnTo>
                  <a:lnTo>
                    <a:pt x="1038" y="7653"/>
                  </a:lnTo>
                  <a:lnTo>
                    <a:pt x="1074" y="7696"/>
                  </a:lnTo>
                  <a:lnTo>
                    <a:pt x="1109" y="7740"/>
                  </a:lnTo>
                  <a:lnTo>
                    <a:pt x="1146" y="7783"/>
                  </a:lnTo>
                  <a:lnTo>
                    <a:pt x="1183" y="7826"/>
                  </a:lnTo>
                  <a:lnTo>
                    <a:pt x="1221" y="7867"/>
                  </a:lnTo>
                  <a:lnTo>
                    <a:pt x="1259" y="7909"/>
                  </a:lnTo>
                  <a:lnTo>
                    <a:pt x="1298" y="7949"/>
                  </a:lnTo>
                  <a:lnTo>
                    <a:pt x="1337" y="7991"/>
                  </a:lnTo>
                  <a:lnTo>
                    <a:pt x="1377" y="8031"/>
                  </a:lnTo>
                  <a:lnTo>
                    <a:pt x="1417" y="8070"/>
                  </a:lnTo>
                  <a:lnTo>
                    <a:pt x="1457" y="8110"/>
                  </a:lnTo>
                  <a:lnTo>
                    <a:pt x="1499" y="8148"/>
                  </a:lnTo>
                  <a:lnTo>
                    <a:pt x="1540" y="8186"/>
                  </a:lnTo>
                  <a:lnTo>
                    <a:pt x="1582" y="8224"/>
                  </a:lnTo>
                  <a:lnTo>
                    <a:pt x="1625" y="8261"/>
                  </a:lnTo>
                  <a:lnTo>
                    <a:pt x="1668" y="8298"/>
                  </a:lnTo>
                  <a:lnTo>
                    <a:pt x="1710" y="8335"/>
                  </a:lnTo>
                  <a:lnTo>
                    <a:pt x="1755" y="8369"/>
                  </a:lnTo>
                  <a:lnTo>
                    <a:pt x="1799" y="8405"/>
                  </a:lnTo>
                  <a:lnTo>
                    <a:pt x="1844" y="8440"/>
                  </a:lnTo>
                  <a:lnTo>
                    <a:pt x="1888" y="8473"/>
                  </a:lnTo>
                  <a:lnTo>
                    <a:pt x="1934" y="8507"/>
                  </a:lnTo>
                  <a:lnTo>
                    <a:pt x="1979" y="8541"/>
                  </a:lnTo>
                  <a:lnTo>
                    <a:pt x="2026" y="8573"/>
                  </a:lnTo>
                  <a:lnTo>
                    <a:pt x="2072" y="8605"/>
                  </a:lnTo>
                  <a:lnTo>
                    <a:pt x="2120" y="8636"/>
                  </a:lnTo>
                  <a:lnTo>
                    <a:pt x="2167" y="8667"/>
                  </a:lnTo>
                  <a:lnTo>
                    <a:pt x="2214" y="8697"/>
                  </a:lnTo>
                  <a:lnTo>
                    <a:pt x="2263" y="8727"/>
                  </a:lnTo>
                  <a:lnTo>
                    <a:pt x="2312" y="8757"/>
                  </a:lnTo>
                  <a:lnTo>
                    <a:pt x="2361" y="8785"/>
                  </a:lnTo>
                  <a:lnTo>
                    <a:pt x="2411" y="8813"/>
                  </a:lnTo>
                  <a:lnTo>
                    <a:pt x="2460" y="8840"/>
                  </a:lnTo>
                  <a:lnTo>
                    <a:pt x="2510" y="8867"/>
                  </a:lnTo>
                  <a:lnTo>
                    <a:pt x="2560" y="8894"/>
                  </a:lnTo>
                  <a:lnTo>
                    <a:pt x="2611" y="8920"/>
                  </a:lnTo>
                  <a:lnTo>
                    <a:pt x="2662" y="8945"/>
                  </a:lnTo>
                  <a:lnTo>
                    <a:pt x="2714" y="8968"/>
                  </a:lnTo>
                  <a:lnTo>
                    <a:pt x="2766" y="8992"/>
                  </a:lnTo>
                  <a:lnTo>
                    <a:pt x="2818" y="9016"/>
                  </a:lnTo>
                  <a:lnTo>
                    <a:pt x="2871" y="9039"/>
                  </a:lnTo>
                  <a:lnTo>
                    <a:pt x="2924" y="9061"/>
                  </a:lnTo>
                  <a:lnTo>
                    <a:pt x="2977" y="9082"/>
                  </a:lnTo>
                  <a:lnTo>
                    <a:pt x="3030" y="9103"/>
                  </a:lnTo>
                  <a:lnTo>
                    <a:pt x="3084" y="9123"/>
                  </a:lnTo>
                  <a:lnTo>
                    <a:pt x="3138" y="9142"/>
                  </a:lnTo>
                  <a:lnTo>
                    <a:pt x="3193" y="9162"/>
                  </a:lnTo>
                  <a:lnTo>
                    <a:pt x="3248" y="9179"/>
                  </a:lnTo>
                  <a:lnTo>
                    <a:pt x="3303" y="9196"/>
                  </a:lnTo>
                  <a:lnTo>
                    <a:pt x="3359" y="9214"/>
                  </a:lnTo>
                  <a:lnTo>
                    <a:pt x="3414" y="9230"/>
                  </a:lnTo>
                  <a:lnTo>
                    <a:pt x="3469" y="9245"/>
                  </a:lnTo>
                  <a:lnTo>
                    <a:pt x="3526" y="9260"/>
                  </a:lnTo>
                  <a:lnTo>
                    <a:pt x="3582" y="9274"/>
                  </a:lnTo>
                  <a:lnTo>
                    <a:pt x="3639" y="9288"/>
                  </a:lnTo>
                  <a:lnTo>
                    <a:pt x="3696" y="9301"/>
                  </a:lnTo>
                  <a:lnTo>
                    <a:pt x="3753" y="9312"/>
                  </a:lnTo>
                  <a:lnTo>
                    <a:pt x="3811" y="9324"/>
                  </a:lnTo>
                  <a:lnTo>
                    <a:pt x="3868" y="9335"/>
                  </a:lnTo>
                  <a:lnTo>
                    <a:pt x="3927" y="9345"/>
                  </a:lnTo>
                  <a:lnTo>
                    <a:pt x="3984" y="9354"/>
                  </a:lnTo>
                  <a:lnTo>
                    <a:pt x="4043" y="9362"/>
                  </a:lnTo>
                  <a:lnTo>
                    <a:pt x="4101" y="9370"/>
                  </a:lnTo>
                  <a:lnTo>
                    <a:pt x="4161" y="9378"/>
                  </a:lnTo>
                  <a:lnTo>
                    <a:pt x="4220" y="9384"/>
                  </a:lnTo>
                  <a:lnTo>
                    <a:pt x="4279" y="9390"/>
                  </a:lnTo>
                  <a:lnTo>
                    <a:pt x="4339" y="9395"/>
                  </a:lnTo>
                  <a:lnTo>
                    <a:pt x="4399" y="9398"/>
                  </a:lnTo>
                  <a:lnTo>
                    <a:pt x="4458" y="9403"/>
                  </a:lnTo>
                  <a:lnTo>
                    <a:pt x="4519" y="9405"/>
                  </a:lnTo>
                  <a:lnTo>
                    <a:pt x="4579" y="9407"/>
                  </a:lnTo>
                  <a:lnTo>
                    <a:pt x="4639" y="9408"/>
                  </a:lnTo>
                  <a:lnTo>
                    <a:pt x="4700" y="9408"/>
                  </a:lnTo>
                  <a:lnTo>
                    <a:pt x="4700" y="9408"/>
                  </a:lnTo>
                  <a:lnTo>
                    <a:pt x="4761" y="9408"/>
                  </a:lnTo>
                  <a:lnTo>
                    <a:pt x="4821" y="9407"/>
                  </a:lnTo>
                  <a:lnTo>
                    <a:pt x="4882" y="9405"/>
                  </a:lnTo>
                  <a:lnTo>
                    <a:pt x="4942" y="9403"/>
                  </a:lnTo>
                  <a:lnTo>
                    <a:pt x="5003" y="9398"/>
                  </a:lnTo>
                  <a:lnTo>
                    <a:pt x="5062" y="9395"/>
                  </a:lnTo>
                  <a:lnTo>
                    <a:pt x="5122" y="9390"/>
                  </a:lnTo>
                  <a:lnTo>
                    <a:pt x="5180" y="9384"/>
                  </a:lnTo>
                  <a:lnTo>
                    <a:pt x="5240" y="9378"/>
                  </a:lnTo>
                  <a:lnTo>
                    <a:pt x="5299" y="9370"/>
                  </a:lnTo>
                  <a:lnTo>
                    <a:pt x="5357" y="9362"/>
                  </a:lnTo>
                  <a:lnTo>
                    <a:pt x="5416" y="9354"/>
                  </a:lnTo>
                  <a:lnTo>
                    <a:pt x="5474" y="9345"/>
                  </a:lnTo>
                  <a:lnTo>
                    <a:pt x="5532" y="9335"/>
                  </a:lnTo>
                  <a:lnTo>
                    <a:pt x="5590" y="9324"/>
                  </a:lnTo>
                  <a:lnTo>
                    <a:pt x="5648" y="9312"/>
                  </a:lnTo>
                  <a:lnTo>
                    <a:pt x="5705" y="9301"/>
                  </a:lnTo>
                  <a:lnTo>
                    <a:pt x="5762" y="9288"/>
                  </a:lnTo>
                  <a:lnTo>
                    <a:pt x="5818" y="9274"/>
                  </a:lnTo>
                  <a:lnTo>
                    <a:pt x="5874" y="9260"/>
                  </a:lnTo>
                  <a:lnTo>
                    <a:pt x="5931" y="9245"/>
                  </a:lnTo>
                  <a:lnTo>
                    <a:pt x="5987" y="9230"/>
                  </a:lnTo>
                  <a:lnTo>
                    <a:pt x="6043" y="9214"/>
                  </a:lnTo>
                  <a:lnTo>
                    <a:pt x="6098" y="9196"/>
                  </a:lnTo>
                  <a:lnTo>
                    <a:pt x="6153" y="9179"/>
                  </a:lnTo>
                  <a:lnTo>
                    <a:pt x="6207" y="9162"/>
                  </a:lnTo>
                  <a:lnTo>
                    <a:pt x="6263" y="9142"/>
                  </a:lnTo>
                  <a:lnTo>
                    <a:pt x="6316" y="9123"/>
                  </a:lnTo>
                  <a:lnTo>
                    <a:pt x="6370" y="9103"/>
                  </a:lnTo>
                  <a:lnTo>
                    <a:pt x="6423" y="9082"/>
                  </a:lnTo>
                  <a:lnTo>
                    <a:pt x="6477" y="9061"/>
                  </a:lnTo>
                  <a:lnTo>
                    <a:pt x="6529" y="9039"/>
                  </a:lnTo>
                  <a:lnTo>
                    <a:pt x="6583" y="9016"/>
                  </a:lnTo>
                  <a:lnTo>
                    <a:pt x="6635" y="8992"/>
                  </a:lnTo>
                  <a:lnTo>
                    <a:pt x="6687" y="8968"/>
                  </a:lnTo>
                  <a:lnTo>
                    <a:pt x="6738" y="8945"/>
                  </a:lnTo>
                  <a:lnTo>
                    <a:pt x="6789" y="8920"/>
                  </a:lnTo>
                  <a:lnTo>
                    <a:pt x="6840" y="8894"/>
                  </a:lnTo>
                  <a:lnTo>
                    <a:pt x="6891" y="8867"/>
                  </a:lnTo>
                  <a:lnTo>
                    <a:pt x="6940" y="8840"/>
                  </a:lnTo>
                  <a:lnTo>
                    <a:pt x="6990" y="8813"/>
                  </a:lnTo>
                  <a:lnTo>
                    <a:pt x="7040" y="8785"/>
                  </a:lnTo>
                  <a:lnTo>
                    <a:pt x="7089" y="8757"/>
                  </a:lnTo>
                  <a:lnTo>
                    <a:pt x="7138" y="8727"/>
                  </a:lnTo>
                  <a:lnTo>
                    <a:pt x="7186" y="8697"/>
                  </a:lnTo>
                  <a:lnTo>
                    <a:pt x="7233" y="8667"/>
                  </a:lnTo>
                  <a:lnTo>
                    <a:pt x="7281" y="8636"/>
                  </a:lnTo>
                  <a:lnTo>
                    <a:pt x="7328" y="8605"/>
                  </a:lnTo>
                  <a:lnTo>
                    <a:pt x="7375" y="8573"/>
                  </a:lnTo>
                  <a:lnTo>
                    <a:pt x="7421" y="8541"/>
                  </a:lnTo>
                  <a:lnTo>
                    <a:pt x="7466" y="8507"/>
                  </a:lnTo>
                  <a:lnTo>
                    <a:pt x="7512" y="8473"/>
                  </a:lnTo>
                  <a:lnTo>
                    <a:pt x="7558" y="8440"/>
                  </a:lnTo>
                  <a:lnTo>
                    <a:pt x="7602" y="8405"/>
                  </a:lnTo>
                  <a:lnTo>
                    <a:pt x="7646" y="8369"/>
                  </a:lnTo>
                  <a:lnTo>
                    <a:pt x="7690" y="8335"/>
                  </a:lnTo>
                  <a:lnTo>
                    <a:pt x="7733" y="8298"/>
                  </a:lnTo>
                  <a:lnTo>
                    <a:pt x="7777" y="8261"/>
                  </a:lnTo>
                  <a:lnTo>
                    <a:pt x="7819" y="8224"/>
                  </a:lnTo>
                  <a:lnTo>
                    <a:pt x="7860" y="8186"/>
                  </a:lnTo>
                  <a:lnTo>
                    <a:pt x="7902" y="8148"/>
                  </a:lnTo>
                  <a:lnTo>
                    <a:pt x="7943" y="8110"/>
                  </a:lnTo>
                  <a:lnTo>
                    <a:pt x="7984" y="8070"/>
                  </a:lnTo>
                  <a:lnTo>
                    <a:pt x="8024" y="8031"/>
                  </a:lnTo>
                  <a:lnTo>
                    <a:pt x="8063" y="7991"/>
                  </a:lnTo>
                  <a:lnTo>
                    <a:pt x="8103" y="7949"/>
                  </a:lnTo>
                  <a:lnTo>
                    <a:pt x="8141" y="7909"/>
                  </a:lnTo>
                  <a:lnTo>
                    <a:pt x="8179" y="7867"/>
                  </a:lnTo>
                  <a:lnTo>
                    <a:pt x="8217" y="7826"/>
                  </a:lnTo>
                  <a:lnTo>
                    <a:pt x="8254" y="7783"/>
                  </a:lnTo>
                  <a:lnTo>
                    <a:pt x="8291" y="7740"/>
                  </a:lnTo>
                  <a:lnTo>
                    <a:pt x="8327" y="7696"/>
                  </a:lnTo>
                  <a:lnTo>
                    <a:pt x="8362" y="7653"/>
                  </a:lnTo>
                  <a:lnTo>
                    <a:pt x="8398" y="7608"/>
                  </a:lnTo>
                  <a:lnTo>
                    <a:pt x="8433" y="7564"/>
                  </a:lnTo>
                  <a:lnTo>
                    <a:pt x="8466" y="7518"/>
                  </a:lnTo>
                  <a:lnTo>
                    <a:pt x="8500" y="7473"/>
                  </a:lnTo>
                  <a:lnTo>
                    <a:pt x="8534" y="7427"/>
                  </a:lnTo>
                  <a:lnTo>
                    <a:pt x="8566" y="7382"/>
                  </a:lnTo>
                  <a:lnTo>
                    <a:pt x="8598" y="7334"/>
                  </a:lnTo>
                  <a:lnTo>
                    <a:pt x="8629" y="7287"/>
                  </a:lnTo>
                  <a:lnTo>
                    <a:pt x="8659" y="7239"/>
                  </a:lnTo>
                  <a:lnTo>
                    <a:pt x="8690" y="7192"/>
                  </a:lnTo>
                  <a:lnTo>
                    <a:pt x="8720" y="7144"/>
                  </a:lnTo>
                  <a:lnTo>
                    <a:pt x="8749" y="7095"/>
                  </a:lnTo>
                  <a:lnTo>
                    <a:pt x="8778" y="7046"/>
                  </a:lnTo>
                  <a:lnTo>
                    <a:pt x="8806" y="6996"/>
                  </a:lnTo>
                  <a:lnTo>
                    <a:pt x="8833" y="6946"/>
                  </a:lnTo>
                  <a:lnTo>
                    <a:pt x="8860" y="6896"/>
                  </a:lnTo>
                  <a:lnTo>
                    <a:pt x="8886" y="6845"/>
                  </a:lnTo>
                  <a:lnTo>
                    <a:pt x="8912" y="6794"/>
                  </a:lnTo>
                  <a:lnTo>
                    <a:pt x="8937" y="6743"/>
                  </a:lnTo>
                  <a:lnTo>
                    <a:pt x="8961" y="6692"/>
                  </a:lnTo>
                  <a:lnTo>
                    <a:pt x="8985" y="6640"/>
                  </a:lnTo>
                  <a:lnTo>
                    <a:pt x="9009" y="6588"/>
                  </a:lnTo>
                  <a:lnTo>
                    <a:pt x="9031" y="6535"/>
                  </a:lnTo>
                  <a:lnTo>
                    <a:pt x="9053" y="6483"/>
                  </a:lnTo>
                  <a:lnTo>
                    <a:pt x="9075" y="6429"/>
                  </a:lnTo>
                  <a:lnTo>
                    <a:pt x="9095" y="6375"/>
                  </a:lnTo>
                  <a:lnTo>
                    <a:pt x="9115" y="6321"/>
                  </a:lnTo>
                  <a:lnTo>
                    <a:pt x="9134" y="6268"/>
                  </a:lnTo>
                  <a:lnTo>
                    <a:pt x="9154" y="6213"/>
                  </a:lnTo>
                  <a:lnTo>
                    <a:pt x="9171" y="6158"/>
                  </a:lnTo>
                  <a:lnTo>
                    <a:pt x="9189" y="6103"/>
                  </a:lnTo>
                  <a:lnTo>
                    <a:pt x="9206" y="6048"/>
                  </a:lnTo>
                  <a:lnTo>
                    <a:pt x="9222" y="5992"/>
                  </a:lnTo>
                  <a:lnTo>
                    <a:pt x="9237" y="5936"/>
                  </a:lnTo>
                  <a:lnTo>
                    <a:pt x="9253" y="5879"/>
                  </a:lnTo>
                  <a:lnTo>
                    <a:pt x="9267" y="5823"/>
                  </a:lnTo>
                  <a:lnTo>
                    <a:pt x="9280" y="5767"/>
                  </a:lnTo>
                  <a:lnTo>
                    <a:pt x="9293" y="5710"/>
                  </a:lnTo>
                  <a:lnTo>
                    <a:pt x="9305" y="5653"/>
                  </a:lnTo>
                  <a:lnTo>
                    <a:pt x="9316" y="5595"/>
                  </a:lnTo>
                  <a:lnTo>
                    <a:pt x="9327" y="5536"/>
                  </a:lnTo>
                  <a:lnTo>
                    <a:pt x="9337" y="5479"/>
                  </a:lnTo>
                  <a:lnTo>
                    <a:pt x="9346" y="5420"/>
                  </a:lnTo>
                  <a:lnTo>
                    <a:pt x="9354" y="5362"/>
                  </a:lnTo>
                  <a:lnTo>
                    <a:pt x="9362" y="5303"/>
                  </a:lnTo>
                  <a:lnTo>
                    <a:pt x="9370" y="5245"/>
                  </a:lnTo>
                  <a:lnTo>
                    <a:pt x="9376" y="5185"/>
                  </a:lnTo>
                  <a:lnTo>
                    <a:pt x="9382" y="5126"/>
                  </a:lnTo>
                  <a:lnTo>
                    <a:pt x="9387" y="5067"/>
                  </a:lnTo>
                  <a:lnTo>
                    <a:pt x="9390" y="5007"/>
                  </a:lnTo>
                  <a:lnTo>
                    <a:pt x="9395" y="4946"/>
                  </a:lnTo>
                  <a:lnTo>
                    <a:pt x="9397" y="4886"/>
                  </a:lnTo>
                  <a:lnTo>
                    <a:pt x="9399" y="4826"/>
                  </a:lnTo>
                  <a:lnTo>
                    <a:pt x="9400" y="4765"/>
                  </a:lnTo>
                  <a:lnTo>
                    <a:pt x="9400" y="4704"/>
                  </a:lnTo>
                  <a:lnTo>
                    <a:pt x="9400" y="4704"/>
                  </a:lnTo>
                  <a:lnTo>
                    <a:pt x="9400" y="4643"/>
                  </a:lnTo>
                  <a:lnTo>
                    <a:pt x="9399" y="4582"/>
                  </a:lnTo>
                  <a:lnTo>
                    <a:pt x="9397" y="4523"/>
                  </a:lnTo>
                  <a:lnTo>
                    <a:pt x="9395" y="4462"/>
                  </a:lnTo>
                  <a:lnTo>
                    <a:pt x="9390" y="4402"/>
                  </a:lnTo>
                  <a:lnTo>
                    <a:pt x="9387" y="4343"/>
                  </a:lnTo>
                  <a:lnTo>
                    <a:pt x="9382" y="4283"/>
                  </a:lnTo>
                  <a:lnTo>
                    <a:pt x="9376" y="4223"/>
                  </a:lnTo>
                  <a:lnTo>
                    <a:pt x="9370" y="4165"/>
                  </a:lnTo>
                  <a:lnTo>
                    <a:pt x="9362" y="4105"/>
                  </a:lnTo>
                  <a:lnTo>
                    <a:pt x="9354" y="4046"/>
                  </a:lnTo>
                  <a:lnTo>
                    <a:pt x="9346" y="3988"/>
                  </a:lnTo>
                  <a:lnTo>
                    <a:pt x="9337" y="3930"/>
                  </a:lnTo>
                  <a:lnTo>
                    <a:pt x="9327" y="3872"/>
                  </a:lnTo>
                  <a:lnTo>
                    <a:pt x="9316" y="3814"/>
                  </a:lnTo>
                  <a:lnTo>
                    <a:pt x="9305" y="3756"/>
                  </a:lnTo>
                  <a:lnTo>
                    <a:pt x="9293" y="3699"/>
                  </a:lnTo>
                  <a:lnTo>
                    <a:pt x="9280" y="3643"/>
                  </a:lnTo>
                  <a:lnTo>
                    <a:pt x="9267" y="3585"/>
                  </a:lnTo>
                  <a:lnTo>
                    <a:pt x="9253" y="3529"/>
                  </a:lnTo>
                  <a:lnTo>
                    <a:pt x="9237" y="3472"/>
                  </a:lnTo>
                  <a:lnTo>
                    <a:pt x="9222" y="3417"/>
                  </a:lnTo>
                  <a:lnTo>
                    <a:pt x="9206" y="3361"/>
                  </a:lnTo>
                  <a:lnTo>
                    <a:pt x="9189" y="3306"/>
                  </a:lnTo>
                  <a:lnTo>
                    <a:pt x="9171" y="3251"/>
                  </a:lnTo>
                  <a:lnTo>
                    <a:pt x="9154" y="3195"/>
                  </a:lnTo>
                  <a:lnTo>
                    <a:pt x="9134" y="3141"/>
                  </a:lnTo>
                  <a:lnTo>
                    <a:pt x="9115" y="3087"/>
                  </a:lnTo>
                  <a:lnTo>
                    <a:pt x="9095" y="3033"/>
                  </a:lnTo>
                  <a:lnTo>
                    <a:pt x="9075" y="2979"/>
                  </a:lnTo>
                  <a:lnTo>
                    <a:pt x="9053" y="2926"/>
                  </a:lnTo>
                  <a:lnTo>
                    <a:pt x="9031" y="2873"/>
                  </a:lnTo>
                  <a:lnTo>
                    <a:pt x="9009" y="2821"/>
                  </a:lnTo>
                  <a:lnTo>
                    <a:pt x="8985" y="2769"/>
                  </a:lnTo>
                  <a:lnTo>
                    <a:pt x="8961" y="2717"/>
                  </a:lnTo>
                  <a:lnTo>
                    <a:pt x="8937" y="2665"/>
                  </a:lnTo>
                  <a:lnTo>
                    <a:pt x="8912" y="2614"/>
                  </a:lnTo>
                  <a:lnTo>
                    <a:pt x="8886" y="2563"/>
                  </a:lnTo>
                  <a:lnTo>
                    <a:pt x="8860" y="2513"/>
                  </a:lnTo>
                  <a:lnTo>
                    <a:pt x="8833" y="2462"/>
                  </a:lnTo>
                  <a:lnTo>
                    <a:pt x="8806" y="2413"/>
                  </a:lnTo>
                  <a:lnTo>
                    <a:pt x="8778" y="2363"/>
                  </a:lnTo>
                  <a:lnTo>
                    <a:pt x="8749" y="2314"/>
                  </a:lnTo>
                  <a:lnTo>
                    <a:pt x="8720" y="2265"/>
                  </a:lnTo>
                  <a:lnTo>
                    <a:pt x="8690" y="2216"/>
                  </a:lnTo>
                  <a:lnTo>
                    <a:pt x="8659" y="2169"/>
                  </a:lnTo>
                  <a:lnTo>
                    <a:pt x="8629" y="2122"/>
                  </a:lnTo>
                  <a:lnTo>
                    <a:pt x="8598" y="2074"/>
                  </a:lnTo>
                  <a:lnTo>
                    <a:pt x="8566" y="2027"/>
                  </a:lnTo>
                  <a:lnTo>
                    <a:pt x="8534" y="1981"/>
                  </a:lnTo>
                  <a:lnTo>
                    <a:pt x="8500" y="1935"/>
                  </a:lnTo>
                  <a:lnTo>
                    <a:pt x="8466" y="1890"/>
                  </a:lnTo>
                  <a:lnTo>
                    <a:pt x="8433" y="1845"/>
                  </a:lnTo>
                  <a:lnTo>
                    <a:pt x="8398" y="1801"/>
                  </a:lnTo>
                  <a:lnTo>
                    <a:pt x="8362" y="1756"/>
                  </a:lnTo>
                  <a:lnTo>
                    <a:pt x="8327" y="1712"/>
                  </a:lnTo>
                  <a:lnTo>
                    <a:pt x="8291" y="1669"/>
                  </a:lnTo>
                  <a:lnTo>
                    <a:pt x="8254" y="1626"/>
                  </a:lnTo>
                  <a:lnTo>
                    <a:pt x="8217" y="1584"/>
                  </a:lnTo>
                  <a:lnTo>
                    <a:pt x="8179" y="1541"/>
                  </a:lnTo>
                  <a:lnTo>
                    <a:pt x="8141" y="1500"/>
                  </a:lnTo>
                  <a:lnTo>
                    <a:pt x="8103" y="1459"/>
                  </a:lnTo>
                  <a:lnTo>
                    <a:pt x="8063" y="1419"/>
                  </a:lnTo>
                  <a:lnTo>
                    <a:pt x="8024" y="1378"/>
                  </a:lnTo>
                  <a:lnTo>
                    <a:pt x="7984" y="1338"/>
                  </a:lnTo>
                  <a:lnTo>
                    <a:pt x="7943" y="1299"/>
                  </a:lnTo>
                  <a:lnTo>
                    <a:pt x="7902" y="1260"/>
                  </a:lnTo>
                  <a:lnTo>
                    <a:pt x="7860" y="1222"/>
                  </a:lnTo>
                  <a:lnTo>
                    <a:pt x="7819" y="1184"/>
                  </a:lnTo>
                  <a:lnTo>
                    <a:pt x="7777" y="1147"/>
                  </a:lnTo>
                  <a:lnTo>
                    <a:pt x="7733" y="1110"/>
                  </a:lnTo>
                  <a:lnTo>
                    <a:pt x="7690" y="1075"/>
                  </a:lnTo>
                  <a:lnTo>
                    <a:pt x="7646" y="1039"/>
                  </a:lnTo>
                  <a:lnTo>
                    <a:pt x="7602" y="1004"/>
                  </a:lnTo>
                  <a:lnTo>
                    <a:pt x="7558" y="969"/>
                  </a:lnTo>
                  <a:lnTo>
                    <a:pt x="7512" y="935"/>
                  </a:lnTo>
                  <a:lnTo>
                    <a:pt x="7466" y="901"/>
                  </a:lnTo>
                  <a:lnTo>
                    <a:pt x="7421" y="868"/>
                  </a:lnTo>
                  <a:lnTo>
                    <a:pt x="7375" y="836"/>
                  </a:lnTo>
                  <a:lnTo>
                    <a:pt x="7328" y="804"/>
                  </a:lnTo>
                  <a:lnTo>
                    <a:pt x="7281" y="773"/>
                  </a:lnTo>
                  <a:lnTo>
                    <a:pt x="7233" y="741"/>
                  </a:lnTo>
                  <a:lnTo>
                    <a:pt x="7186" y="711"/>
                  </a:lnTo>
                  <a:lnTo>
                    <a:pt x="7138" y="682"/>
                  </a:lnTo>
                  <a:lnTo>
                    <a:pt x="7089" y="652"/>
                  </a:lnTo>
                  <a:lnTo>
                    <a:pt x="7040" y="624"/>
                  </a:lnTo>
                  <a:lnTo>
                    <a:pt x="6990" y="596"/>
                  </a:lnTo>
                  <a:lnTo>
                    <a:pt x="6940" y="568"/>
                  </a:lnTo>
                  <a:lnTo>
                    <a:pt x="6891" y="542"/>
                  </a:lnTo>
                  <a:lnTo>
                    <a:pt x="6840" y="514"/>
                  </a:lnTo>
                  <a:lnTo>
                    <a:pt x="6789" y="490"/>
                  </a:lnTo>
                  <a:lnTo>
                    <a:pt x="6738" y="465"/>
                  </a:lnTo>
                  <a:lnTo>
                    <a:pt x="6687" y="440"/>
                  </a:lnTo>
                  <a:lnTo>
                    <a:pt x="6635" y="416"/>
                  </a:lnTo>
                  <a:lnTo>
                    <a:pt x="6583" y="393"/>
                  </a:lnTo>
                  <a:lnTo>
                    <a:pt x="6529" y="370"/>
                  </a:lnTo>
                  <a:lnTo>
                    <a:pt x="6477" y="348"/>
                  </a:lnTo>
                  <a:lnTo>
                    <a:pt x="6423" y="327"/>
                  </a:lnTo>
                  <a:lnTo>
                    <a:pt x="6370" y="306"/>
                  </a:lnTo>
                  <a:lnTo>
                    <a:pt x="6316" y="285"/>
                  </a:lnTo>
                  <a:lnTo>
                    <a:pt x="6263" y="266"/>
                  </a:lnTo>
                  <a:lnTo>
                    <a:pt x="6207" y="247"/>
                  </a:lnTo>
                  <a:lnTo>
                    <a:pt x="6153" y="229"/>
                  </a:lnTo>
                  <a:lnTo>
                    <a:pt x="6098" y="212"/>
                  </a:lnTo>
                  <a:lnTo>
                    <a:pt x="6043" y="195"/>
                  </a:lnTo>
                  <a:lnTo>
                    <a:pt x="5987" y="179"/>
                  </a:lnTo>
                  <a:lnTo>
                    <a:pt x="5931" y="163"/>
                  </a:lnTo>
                  <a:lnTo>
                    <a:pt x="5874" y="149"/>
                  </a:lnTo>
                  <a:lnTo>
                    <a:pt x="5818" y="135"/>
                  </a:lnTo>
                  <a:lnTo>
                    <a:pt x="5762" y="120"/>
                  </a:lnTo>
                  <a:lnTo>
                    <a:pt x="5705" y="109"/>
                  </a:lnTo>
                  <a:lnTo>
                    <a:pt x="5648" y="96"/>
                  </a:lnTo>
                  <a:lnTo>
                    <a:pt x="5590" y="85"/>
                  </a:lnTo>
                  <a:lnTo>
                    <a:pt x="5532" y="74"/>
                  </a:lnTo>
                  <a:lnTo>
                    <a:pt x="5474" y="64"/>
                  </a:lnTo>
                  <a:lnTo>
                    <a:pt x="5416" y="54"/>
                  </a:lnTo>
                  <a:lnTo>
                    <a:pt x="5357" y="46"/>
                  </a:lnTo>
                  <a:lnTo>
                    <a:pt x="5299" y="38"/>
                  </a:lnTo>
                  <a:lnTo>
                    <a:pt x="5240" y="31"/>
                  </a:lnTo>
                  <a:lnTo>
                    <a:pt x="5180" y="25"/>
                  </a:lnTo>
                  <a:lnTo>
                    <a:pt x="5122" y="18"/>
                  </a:lnTo>
                  <a:lnTo>
                    <a:pt x="5062" y="14"/>
                  </a:lnTo>
                  <a:lnTo>
                    <a:pt x="5003" y="10"/>
                  </a:lnTo>
                  <a:lnTo>
                    <a:pt x="4942" y="7"/>
                  </a:lnTo>
                  <a:lnTo>
                    <a:pt x="4882" y="4"/>
                  </a:lnTo>
                  <a:lnTo>
                    <a:pt x="4821" y="2"/>
                  </a:lnTo>
                  <a:lnTo>
                    <a:pt x="4761" y="1"/>
                  </a:lnTo>
                  <a:lnTo>
                    <a:pt x="4700" y="0"/>
                  </a:lnTo>
                  <a:lnTo>
                    <a:pt x="4700" y="0"/>
                  </a:lnTo>
                  <a:close/>
                  <a:moveTo>
                    <a:pt x="5255" y="7251"/>
                  </a:moveTo>
                  <a:lnTo>
                    <a:pt x="5255" y="7618"/>
                  </a:lnTo>
                  <a:lnTo>
                    <a:pt x="5255" y="7618"/>
                  </a:lnTo>
                  <a:lnTo>
                    <a:pt x="5254" y="7637"/>
                  </a:lnTo>
                  <a:lnTo>
                    <a:pt x="5253" y="7654"/>
                  </a:lnTo>
                  <a:lnTo>
                    <a:pt x="5251" y="7672"/>
                  </a:lnTo>
                  <a:lnTo>
                    <a:pt x="5248" y="7690"/>
                  </a:lnTo>
                  <a:lnTo>
                    <a:pt x="5243" y="7707"/>
                  </a:lnTo>
                  <a:lnTo>
                    <a:pt x="5239" y="7724"/>
                  </a:lnTo>
                  <a:lnTo>
                    <a:pt x="5234" y="7741"/>
                  </a:lnTo>
                  <a:lnTo>
                    <a:pt x="5227" y="7757"/>
                  </a:lnTo>
                  <a:lnTo>
                    <a:pt x="5219" y="7772"/>
                  </a:lnTo>
                  <a:lnTo>
                    <a:pt x="5212" y="7788"/>
                  </a:lnTo>
                  <a:lnTo>
                    <a:pt x="5203" y="7803"/>
                  </a:lnTo>
                  <a:lnTo>
                    <a:pt x="5193" y="7817"/>
                  </a:lnTo>
                  <a:lnTo>
                    <a:pt x="5184" y="7831"/>
                  </a:lnTo>
                  <a:lnTo>
                    <a:pt x="5173" y="7845"/>
                  </a:lnTo>
                  <a:lnTo>
                    <a:pt x="5162" y="7858"/>
                  </a:lnTo>
                  <a:lnTo>
                    <a:pt x="5150" y="7870"/>
                  </a:lnTo>
                  <a:lnTo>
                    <a:pt x="5138" y="7882"/>
                  </a:lnTo>
                  <a:lnTo>
                    <a:pt x="5125" y="7893"/>
                  </a:lnTo>
                  <a:lnTo>
                    <a:pt x="5111" y="7904"/>
                  </a:lnTo>
                  <a:lnTo>
                    <a:pt x="5097" y="7913"/>
                  </a:lnTo>
                  <a:lnTo>
                    <a:pt x="5083" y="7923"/>
                  </a:lnTo>
                  <a:lnTo>
                    <a:pt x="5068" y="7932"/>
                  </a:lnTo>
                  <a:lnTo>
                    <a:pt x="5052" y="7939"/>
                  </a:lnTo>
                  <a:lnTo>
                    <a:pt x="5037" y="7947"/>
                  </a:lnTo>
                  <a:lnTo>
                    <a:pt x="5021" y="7954"/>
                  </a:lnTo>
                  <a:lnTo>
                    <a:pt x="5004" y="7959"/>
                  </a:lnTo>
                  <a:lnTo>
                    <a:pt x="4987" y="7963"/>
                  </a:lnTo>
                  <a:lnTo>
                    <a:pt x="4970" y="7968"/>
                  </a:lnTo>
                  <a:lnTo>
                    <a:pt x="4953" y="7971"/>
                  </a:lnTo>
                  <a:lnTo>
                    <a:pt x="4934" y="7973"/>
                  </a:lnTo>
                  <a:lnTo>
                    <a:pt x="4917" y="7974"/>
                  </a:lnTo>
                  <a:lnTo>
                    <a:pt x="4898" y="7975"/>
                  </a:lnTo>
                  <a:lnTo>
                    <a:pt x="4485" y="7975"/>
                  </a:lnTo>
                  <a:lnTo>
                    <a:pt x="4485" y="7975"/>
                  </a:lnTo>
                  <a:lnTo>
                    <a:pt x="4467" y="7974"/>
                  </a:lnTo>
                  <a:lnTo>
                    <a:pt x="4449" y="7973"/>
                  </a:lnTo>
                  <a:lnTo>
                    <a:pt x="4431" y="7971"/>
                  </a:lnTo>
                  <a:lnTo>
                    <a:pt x="4414" y="7968"/>
                  </a:lnTo>
                  <a:lnTo>
                    <a:pt x="4396" y="7963"/>
                  </a:lnTo>
                  <a:lnTo>
                    <a:pt x="4380" y="7959"/>
                  </a:lnTo>
                  <a:lnTo>
                    <a:pt x="4363" y="7954"/>
                  </a:lnTo>
                  <a:lnTo>
                    <a:pt x="4348" y="7947"/>
                  </a:lnTo>
                  <a:lnTo>
                    <a:pt x="4331" y="7939"/>
                  </a:lnTo>
                  <a:lnTo>
                    <a:pt x="4316" y="7932"/>
                  </a:lnTo>
                  <a:lnTo>
                    <a:pt x="4301" y="7923"/>
                  </a:lnTo>
                  <a:lnTo>
                    <a:pt x="4287" y="7913"/>
                  </a:lnTo>
                  <a:lnTo>
                    <a:pt x="4273" y="7904"/>
                  </a:lnTo>
                  <a:lnTo>
                    <a:pt x="4259" y="7893"/>
                  </a:lnTo>
                  <a:lnTo>
                    <a:pt x="4246" y="7882"/>
                  </a:lnTo>
                  <a:lnTo>
                    <a:pt x="4234" y="7870"/>
                  </a:lnTo>
                  <a:lnTo>
                    <a:pt x="4222" y="7858"/>
                  </a:lnTo>
                  <a:lnTo>
                    <a:pt x="4211" y="7845"/>
                  </a:lnTo>
                  <a:lnTo>
                    <a:pt x="4200" y="7831"/>
                  </a:lnTo>
                  <a:lnTo>
                    <a:pt x="4190" y="7817"/>
                  </a:lnTo>
                  <a:lnTo>
                    <a:pt x="4181" y="7803"/>
                  </a:lnTo>
                  <a:lnTo>
                    <a:pt x="4172" y="7788"/>
                  </a:lnTo>
                  <a:lnTo>
                    <a:pt x="4164" y="7772"/>
                  </a:lnTo>
                  <a:lnTo>
                    <a:pt x="4157" y="7757"/>
                  </a:lnTo>
                  <a:lnTo>
                    <a:pt x="4150" y="7741"/>
                  </a:lnTo>
                  <a:lnTo>
                    <a:pt x="4145" y="7724"/>
                  </a:lnTo>
                  <a:lnTo>
                    <a:pt x="4140" y="7707"/>
                  </a:lnTo>
                  <a:lnTo>
                    <a:pt x="4136" y="7690"/>
                  </a:lnTo>
                  <a:lnTo>
                    <a:pt x="4133" y="7672"/>
                  </a:lnTo>
                  <a:lnTo>
                    <a:pt x="4131" y="7654"/>
                  </a:lnTo>
                  <a:lnTo>
                    <a:pt x="4130" y="7637"/>
                  </a:lnTo>
                  <a:lnTo>
                    <a:pt x="4128" y="7618"/>
                  </a:lnTo>
                  <a:lnTo>
                    <a:pt x="4128" y="7248"/>
                  </a:lnTo>
                  <a:lnTo>
                    <a:pt x="4128" y="7248"/>
                  </a:lnTo>
                  <a:lnTo>
                    <a:pt x="4073" y="7235"/>
                  </a:lnTo>
                  <a:lnTo>
                    <a:pt x="4018" y="7221"/>
                  </a:lnTo>
                  <a:lnTo>
                    <a:pt x="3963" y="7206"/>
                  </a:lnTo>
                  <a:lnTo>
                    <a:pt x="3908" y="7190"/>
                  </a:lnTo>
                  <a:lnTo>
                    <a:pt x="3854" y="7172"/>
                  </a:lnTo>
                  <a:lnTo>
                    <a:pt x="3801" y="7154"/>
                  </a:lnTo>
                  <a:lnTo>
                    <a:pt x="3748" y="7134"/>
                  </a:lnTo>
                  <a:lnTo>
                    <a:pt x="3696" y="7114"/>
                  </a:lnTo>
                  <a:lnTo>
                    <a:pt x="3644" y="7092"/>
                  </a:lnTo>
                  <a:lnTo>
                    <a:pt x="3593" y="7069"/>
                  </a:lnTo>
                  <a:lnTo>
                    <a:pt x="3542" y="7045"/>
                  </a:lnTo>
                  <a:lnTo>
                    <a:pt x="3492" y="7020"/>
                  </a:lnTo>
                  <a:lnTo>
                    <a:pt x="3442" y="6994"/>
                  </a:lnTo>
                  <a:lnTo>
                    <a:pt x="3393" y="6967"/>
                  </a:lnTo>
                  <a:lnTo>
                    <a:pt x="3346" y="6939"/>
                  </a:lnTo>
                  <a:lnTo>
                    <a:pt x="3298" y="6911"/>
                  </a:lnTo>
                  <a:lnTo>
                    <a:pt x="3251" y="6880"/>
                  </a:lnTo>
                  <a:lnTo>
                    <a:pt x="3205" y="6850"/>
                  </a:lnTo>
                  <a:lnTo>
                    <a:pt x="3159" y="6818"/>
                  </a:lnTo>
                  <a:lnTo>
                    <a:pt x="3115" y="6786"/>
                  </a:lnTo>
                  <a:lnTo>
                    <a:pt x="3070" y="6752"/>
                  </a:lnTo>
                  <a:lnTo>
                    <a:pt x="3027" y="6717"/>
                  </a:lnTo>
                  <a:lnTo>
                    <a:pt x="2983" y="6682"/>
                  </a:lnTo>
                  <a:lnTo>
                    <a:pt x="2942" y="6646"/>
                  </a:lnTo>
                  <a:lnTo>
                    <a:pt x="2901" y="6609"/>
                  </a:lnTo>
                  <a:lnTo>
                    <a:pt x="2861" y="6571"/>
                  </a:lnTo>
                  <a:lnTo>
                    <a:pt x="2821" y="6532"/>
                  </a:lnTo>
                  <a:lnTo>
                    <a:pt x="2782" y="6493"/>
                  </a:lnTo>
                  <a:lnTo>
                    <a:pt x="2744" y="6453"/>
                  </a:lnTo>
                  <a:lnTo>
                    <a:pt x="2707" y="6411"/>
                  </a:lnTo>
                  <a:lnTo>
                    <a:pt x="2671" y="6369"/>
                  </a:lnTo>
                  <a:lnTo>
                    <a:pt x="2635" y="6327"/>
                  </a:lnTo>
                  <a:lnTo>
                    <a:pt x="2601" y="6283"/>
                  </a:lnTo>
                  <a:lnTo>
                    <a:pt x="2567" y="6240"/>
                  </a:lnTo>
                  <a:lnTo>
                    <a:pt x="2534" y="6194"/>
                  </a:lnTo>
                  <a:lnTo>
                    <a:pt x="2502" y="6149"/>
                  </a:lnTo>
                  <a:lnTo>
                    <a:pt x="2471" y="6103"/>
                  </a:lnTo>
                  <a:lnTo>
                    <a:pt x="2441" y="6056"/>
                  </a:lnTo>
                  <a:lnTo>
                    <a:pt x="2413" y="6009"/>
                  </a:lnTo>
                  <a:lnTo>
                    <a:pt x="2385" y="5960"/>
                  </a:lnTo>
                  <a:lnTo>
                    <a:pt x="2358" y="5911"/>
                  </a:lnTo>
                  <a:lnTo>
                    <a:pt x="2332" y="5862"/>
                  </a:lnTo>
                  <a:lnTo>
                    <a:pt x="2307" y="5812"/>
                  </a:lnTo>
                  <a:lnTo>
                    <a:pt x="2282" y="5761"/>
                  </a:lnTo>
                  <a:lnTo>
                    <a:pt x="2259" y="5710"/>
                  </a:lnTo>
                  <a:lnTo>
                    <a:pt x="2237" y="5658"/>
                  </a:lnTo>
                  <a:lnTo>
                    <a:pt x="2217" y="5606"/>
                  </a:lnTo>
                  <a:lnTo>
                    <a:pt x="2197" y="5553"/>
                  </a:lnTo>
                  <a:lnTo>
                    <a:pt x="2178" y="5500"/>
                  </a:lnTo>
                  <a:lnTo>
                    <a:pt x="2160" y="5445"/>
                  </a:lnTo>
                  <a:lnTo>
                    <a:pt x="2144" y="5391"/>
                  </a:lnTo>
                  <a:lnTo>
                    <a:pt x="2129" y="5337"/>
                  </a:lnTo>
                  <a:lnTo>
                    <a:pt x="2115" y="5281"/>
                  </a:lnTo>
                  <a:lnTo>
                    <a:pt x="2102" y="5225"/>
                  </a:lnTo>
                  <a:lnTo>
                    <a:pt x="2090" y="5170"/>
                  </a:lnTo>
                  <a:lnTo>
                    <a:pt x="2079" y="5112"/>
                  </a:lnTo>
                  <a:lnTo>
                    <a:pt x="2069" y="5056"/>
                  </a:lnTo>
                  <a:lnTo>
                    <a:pt x="2062" y="4998"/>
                  </a:lnTo>
                  <a:lnTo>
                    <a:pt x="2054" y="4940"/>
                  </a:lnTo>
                  <a:lnTo>
                    <a:pt x="2049" y="4882"/>
                  </a:lnTo>
                  <a:lnTo>
                    <a:pt x="2044" y="4823"/>
                  </a:lnTo>
                  <a:lnTo>
                    <a:pt x="2041" y="4764"/>
                  </a:lnTo>
                  <a:lnTo>
                    <a:pt x="2039" y="4705"/>
                  </a:lnTo>
                  <a:lnTo>
                    <a:pt x="2038" y="4645"/>
                  </a:lnTo>
                  <a:lnTo>
                    <a:pt x="2038" y="4645"/>
                  </a:lnTo>
                  <a:lnTo>
                    <a:pt x="2039" y="4576"/>
                  </a:lnTo>
                  <a:lnTo>
                    <a:pt x="2042" y="4508"/>
                  </a:lnTo>
                  <a:lnTo>
                    <a:pt x="2045" y="4440"/>
                  </a:lnTo>
                  <a:lnTo>
                    <a:pt x="2052" y="4373"/>
                  </a:lnTo>
                  <a:lnTo>
                    <a:pt x="2059" y="4306"/>
                  </a:lnTo>
                  <a:lnTo>
                    <a:pt x="2069" y="4239"/>
                  </a:lnTo>
                  <a:lnTo>
                    <a:pt x="2080" y="4173"/>
                  </a:lnTo>
                  <a:lnTo>
                    <a:pt x="2092" y="4108"/>
                  </a:lnTo>
                  <a:lnTo>
                    <a:pt x="2106" y="4043"/>
                  </a:lnTo>
                  <a:lnTo>
                    <a:pt x="2122" y="3979"/>
                  </a:lnTo>
                  <a:lnTo>
                    <a:pt x="2139" y="3916"/>
                  </a:lnTo>
                  <a:lnTo>
                    <a:pt x="2158" y="3853"/>
                  </a:lnTo>
                  <a:lnTo>
                    <a:pt x="2178" y="3790"/>
                  </a:lnTo>
                  <a:lnTo>
                    <a:pt x="2199" y="3729"/>
                  </a:lnTo>
                  <a:lnTo>
                    <a:pt x="2223" y="3669"/>
                  </a:lnTo>
                  <a:lnTo>
                    <a:pt x="2247" y="3608"/>
                  </a:lnTo>
                  <a:lnTo>
                    <a:pt x="2273" y="3548"/>
                  </a:lnTo>
                  <a:lnTo>
                    <a:pt x="2300" y="3489"/>
                  </a:lnTo>
                  <a:lnTo>
                    <a:pt x="2329" y="3432"/>
                  </a:lnTo>
                  <a:lnTo>
                    <a:pt x="2360" y="3376"/>
                  </a:lnTo>
                  <a:lnTo>
                    <a:pt x="2391" y="3319"/>
                  </a:lnTo>
                  <a:lnTo>
                    <a:pt x="2424" y="3264"/>
                  </a:lnTo>
                  <a:lnTo>
                    <a:pt x="2457" y="3209"/>
                  </a:lnTo>
                  <a:lnTo>
                    <a:pt x="2493" y="3155"/>
                  </a:lnTo>
                  <a:lnTo>
                    <a:pt x="2529" y="3103"/>
                  </a:lnTo>
                  <a:lnTo>
                    <a:pt x="2567" y="3051"/>
                  </a:lnTo>
                  <a:lnTo>
                    <a:pt x="2606" y="3000"/>
                  </a:lnTo>
                  <a:lnTo>
                    <a:pt x="2646" y="2950"/>
                  </a:lnTo>
                  <a:lnTo>
                    <a:pt x="2687" y="2901"/>
                  </a:lnTo>
                  <a:lnTo>
                    <a:pt x="2730" y="2853"/>
                  </a:lnTo>
                  <a:lnTo>
                    <a:pt x="2773" y="2807"/>
                  </a:lnTo>
                  <a:lnTo>
                    <a:pt x="2817" y="2761"/>
                  </a:lnTo>
                  <a:lnTo>
                    <a:pt x="2864" y="2717"/>
                  </a:lnTo>
                  <a:lnTo>
                    <a:pt x="2911" y="2673"/>
                  </a:lnTo>
                  <a:lnTo>
                    <a:pt x="2958" y="2630"/>
                  </a:lnTo>
                  <a:lnTo>
                    <a:pt x="3007" y="2589"/>
                  </a:lnTo>
                  <a:lnTo>
                    <a:pt x="3057" y="2548"/>
                  </a:lnTo>
                  <a:lnTo>
                    <a:pt x="3107" y="2510"/>
                  </a:lnTo>
                  <a:lnTo>
                    <a:pt x="3159" y="2472"/>
                  </a:lnTo>
                  <a:lnTo>
                    <a:pt x="3212" y="2436"/>
                  </a:lnTo>
                  <a:lnTo>
                    <a:pt x="3265" y="2401"/>
                  </a:lnTo>
                  <a:lnTo>
                    <a:pt x="3319" y="2366"/>
                  </a:lnTo>
                  <a:lnTo>
                    <a:pt x="3375" y="2334"/>
                  </a:lnTo>
                  <a:lnTo>
                    <a:pt x="3431" y="2302"/>
                  </a:lnTo>
                  <a:lnTo>
                    <a:pt x="3489" y="2272"/>
                  </a:lnTo>
                  <a:lnTo>
                    <a:pt x="3546" y="2243"/>
                  </a:lnTo>
                  <a:lnTo>
                    <a:pt x="3605" y="2216"/>
                  </a:lnTo>
                  <a:lnTo>
                    <a:pt x="3664" y="2190"/>
                  </a:lnTo>
                  <a:lnTo>
                    <a:pt x="3724" y="2165"/>
                  </a:lnTo>
                  <a:lnTo>
                    <a:pt x="3785" y="2143"/>
                  </a:lnTo>
                  <a:lnTo>
                    <a:pt x="3847" y="2121"/>
                  </a:lnTo>
                  <a:lnTo>
                    <a:pt x="3908" y="2100"/>
                  </a:lnTo>
                  <a:lnTo>
                    <a:pt x="3971" y="2082"/>
                  </a:lnTo>
                  <a:lnTo>
                    <a:pt x="4035" y="2064"/>
                  </a:lnTo>
                  <a:lnTo>
                    <a:pt x="4099" y="2049"/>
                  </a:lnTo>
                  <a:lnTo>
                    <a:pt x="4164" y="2035"/>
                  </a:lnTo>
                  <a:lnTo>
                    <a:pt x="4229" y="2022"/>
                  </a:lnTo>
                  <a:lnTo>
                    <a:pt x="4294" y="2011"/>
                  </a:lnTo>
                  <a:lnTo>
                    <a:pt x="4362" y="2003"/>
                  </a:lnTo>
                  <a:lnTo>
                    <a:pt x="4428" y="1994"/>
                  </a:lnTo>
                  <a:lnTo>
                    <a:pt x="4495" y="1988"/>
                  </a:lnTo>
                  <a:lnTo>
                    <a:pt x="4563" y="1984"/>
                  </a:lnTo>
                  <a:lnTo>
                    <a:pt x="4632" y="1982"/>
                  </a:lnTo>
                  <a:lnTo>
                    <a:pt x="4700" y="1981"/>
                  </a:lnTo>
                  <a:lnTo>
                    <a:pt x="4700" y="1981"/>
                  </a:lnTo>
                  <a:lnTo>
                    <a:pt x="4769" y="1982"/>
                  </a:lnTo>
                  <a:lnTo>
                    <a:pt x="4838" y="1984"/>
                  </a:lnTo>
                  <a:lnTo>
                    <a:pt x="4905" y="1988"/>
                  </a:lnTo>
                  <a:lnTo>
                    <a:pt x="4972" y="1994"/>
                  </a:lnTo>
                  <a:lnTo>
                    <a:pt x="5039" y="2003"/>
                  </a:lnTo>
                  <a:lnTo>
                    <a:pt x="5106" y="2011"/>
                  </a:lnTo>
                  <a:lnTo>
                    <a:pt x="5172" y="2022"/>
                  </a:lnTo>
                  <a:lnTo>
                    <a:pt x="5237" y="2035"/>
                  </a:lnTo>
                  <a:lnTo>
                    <a:pt x="5302" y="2049"/>
                  </a:lnTo>
                  <a:lnTo>
                    <a:pt x="5366" y="2064"/>
                  </a:lnTo>
                  <a:lnTo>
                    <a:pt x="5429" y="2082"/>
                  </a:lnTo>
                  <a:lnTo>
                    <a:pt x="5492" y="2100"/>
                  </a:lnTo>
                  <a:lnTo>
                    <a:pt x="5555" y="2121"/>
                  </a:lnTo>
                  <a:lnTo>
                    <a:pt x="5615" y="2143"/>
                  </a:lnTo>
                  <a:lnTo>
                    <a:pt x="5676" y="2165"/>
                  </a:lnTo>
                  <a:lnTo>
                    <a:pt x="5737" y="2190"/>
                  </a:lnTo>
                  <a:lnTo>
                    <a:pt x="5796" y="2216"/>
                  </a:lnTo>
                  <a:lnTo>
                    <a:pt x="5855" y="2243"/>
                  </a:lnTo>
                  <a:lnTo>
                    <a:pt x="5912" y="2272"/>
                  </a:lnTo>
                  <a:lnTo>
                    <a:pt x="5969" y="2302"/>
                  </a:lnTo>
                  <a:lnTo>
                    <a:pt x="6025" y="2334"/>
                  </a:lnTo>
                  <a:lnTo>
                    <a:pt x="6081" y="2366"/>
                  </a:lnTo>
                  <a:lnTo>
                    <a:pt x="6136" y="2401"/>
                  </a:lnTo>
                  <a:lnTo>
                    <a:pt x="6189" y="2436"/>
                  </a:lnTo>
                  <a:lnTo>
                    <a:pt x="6241" y="2472"/>
                  </a:lnTo>
                  <a:lnTo>
                    <a:pt x="6293" y="2510"/>
                  </a:lnTo>
                  <a:lnTo>
                    <a:pt x="6344" y="2548"/>
                  </a:lnTo>
                  <a:lnTo>
                    <a:pt x="6394" y="2589"/>
                  </a:lnTo>
                  <a:lnTo>
                    <a:pt x="6443" y="2630"/>
                  </a:lnTo>
                  <a:lnTo>
                    <a:pt x="6490" y="2673"/>
                  </a:lnTo>
                  <a:lnTo>
                    <a:pt x="6537" y="2717"/>
                  </a:lnTo>
                  <a:lnTo>
                    <a:pt x="6583" y="2761"/>
                  </a:lnTo>
                  <a:lnTo>
                    <a:pt x="6627" y="2807"/>
                  </a:lnTo>
                  <a:lnTo>
                    <a:pt x="6672" y="2853"/>
                  </a:lnTo>
                  <a:lnTo>
                    <a:pt x="6714" y="2901"/>
                  </a:lnTo>
                  <a:lnTo>
                    <a:pt x="6755" y="2950"/>
                  </a:lnTo>
                  <a:lnTo>
                    <a:pt x="6795" y="3000"/>
                  </a:lnTo>
                  <a:lnTo>
                    <a:pt x="6834" y="3051"/>
                  </a:lnTo>
                  <a:lnTo>
                    <a:pt x="6871" y="3103"/>
                  </a:lnTo>
                  <a:lnTo>
                    <a:pt x="6908" y="3155"/>
                  </a:lnTo>
                  <a:lnTo>
                    <a:pt x="6944" y="3209"/>
                  </a:lnTo>
                  <a:lnTo>
                    <a:pt x="6977" y="3264"/>
                  </a:lnTo>
                  <a:lnTo>
                    <a:pt x="7010" y="3319"/>
                  </a:lnTo>
                  <a:lnTo>
                    <a:pt x="7041" y="3376"/>
                  </a:lnTo>
                  <a:lnTo>
                    <a:pt x="7072" y="3432"/>
                  </a:lnTo>
                  <a:lnTo>
                    <a:pt x="7100" y="3489"/>
                  </a:lnTo>
                  <a:lnTo>
                    <a:pt x="7127" y="3548"/>
                  </a:lnTo>
                  <a:lnTo>
                    <a:pt x="7153" y="3608"/>
                  </a:lnTo>
                  <a:lnTo>
                    <a:pt x="7178" y="3669"/>
                  </a:lnTo>
                  <a:lnTo>
                    <a:pt x="7201" y="3729"/>
                  </a:lnTo>
                  <a:lnTo>
                    <a:pt x="7222" y="3790"/>
                  </a:lnTo>
                  <a:lnTo>
                    <a:pt x="7243" y="3853"/>
                  </a:lnTo>
                  <a:lnTo>
                    <a:pt x="7261" y="3916"/>
                  </a:lnTo>
                  <a:lnTo>
                    <a:pt x="7279" y="3979"/>
                  </a:lnTo>
                  <a:lnTo>
                    <a:pt x="7294" y="4043"/>
                  </a:lnTo>
                  <a:lnTo>
                    <a:pt x="7308" y="4108"/>
                  </a:lnTo>
                  <a:lnTo>
                    <a:pt x="7321" y="4173"/>
                  </a:lnTo>
                  <a:lnTo>
                    <a:pt x="7332" y="4239"/>
                  </a:lnTo>
                  <a:lnTo>
                    <a:pt x="7342" y="4306"/>
                  </a:lnTo>
                  <a:lnTo>
                    <a:pt x="7349" y="4373"/>
                  </a:lnTo>
                  <a:lnTo>
                    <a:pt x="7355" y="4440"/>
                  </a:lnTo>
                  <a:lnTo>
                    <a:pt x="7359" y="4508"/>
                  </a:lnTo>
                  <a:lnTo>
                    <a:pt x="7361" y="4576"/>
                  </a:lnTo>
                  <a:lnTo>
                    <a:pt x="7362" y="4645"/>
                  </a:lnTo>
                  <a:lnTo>
                    <a:pt x="7362" y="4645"/>
                  </a:lnTo>
                  <a:lnTo>
                    <a:pt x="7362" y="4705"/>
                  </a:lnTo>
                  <a:lnTo>
                    <a:pt x="7360" y="4765"/>
                  </a:lnTo>
                  <a:lnTo>
                    <a:pt x="7357" y="4823"/>
                  </a:lnTo>
                  <a:lnTo>
                    <a:pt x="7353" y="4883"/>
                  </a:lnTo>
                  <a:lnTo>
                    <a:pt x="7346" y="4942"/>
                  </a:lnTo>
                  <a:lnTo>
                    <a:pt x="7340" y="4999"/>
                  </a:lnTo>
                  <a:lnTo>
                    <a:pt x="7331" y="5057"/>
                  </a:lnTo>
                  <a:lnTo>
                    <a:pt x="7321" y="5114"/>
                  </a:lnTo>
                  <a:lnTo>
                    <a:pt x="7310" y="5172"/>
                  </a:lnTo>
                  <a:lnTo>
                    <a:pt x="7298" y="5228"/>
                  </a:lnTo>
                  <a:lnTo>
                    <a:pt x="7285" y="5284"/>
                  </a:lnTo>
                  <a:lnTo>
                    <a:pt x="7271" y="5340"/>
                  </a:lnTo>
                  <a:lnTo>
                    <a:pt x="7256" y="5394"/>
                  </a:lnTo>
                  <a:lnTo>
                    <a:pt x="7239" y="5450"/>
                  </a:lnTo>
                  <a:lnTo>
                    <a:pt x="7221" y="5504"/>
                  </a:lnTo>
                  <a:lnTo>
                    <a:pt x="7203" y="5557"/>
                  </a:lnTo>
                  <a:lnTo>
                    <a:pt x="7182" y="5610"/>
                  </a:lnTo>
                  <a:lnTo>
                    <a:pt x="7162" y="5662"/>
                  </a:lnTo>
                  <a:lnTo>
                    <a:pt x="7140" y="5714"/>
                  </a:lnTo>
                  <a:lnTo>
                    <a:pt x="7116" y="5767"/>
                  </a:lnTo>
                  <a:lnTo>
                    <a:pt x="7092" y="5817"/>
                  </a:lnTo>
                  <a:lnTo>
                    <a:pt x="7067" y="5868"/>
                  </a:lnTo>
                  <a:lnTo>
                    <a:pt x="7040" y="5916"/>
                  </a:lnTo>
                  <a:lnTo>
                    <a:pt x="7013" y="5965"/>
                  </a:lnTo>
                  <a:lnTo>
                    <a:pt x="6985" y="6014"/>
                  </a:lnTo>
                  <a:lnTo>
                    <a:pt x="6956" y="6062"/>
                  </a:lnTo>
                  <a:lnTo>
                    <a:pt x="6925" y="6108"/>
                  </a:lnTo>
                  <a:lnTo>
                    <a:pt x="6894" y="6155"/>
                  </a:lnTo>
                  <a:lnTo>
                    <a:pt x="6862" y="6201"/>
                  </a:lnTo>
                  <a:lnTo>
                    <a:pt x="6829" y="6245"/>
                  </a:lnTo>
                  <a:lnTo>
                    <a:pt x="6795" y="6290"/>
                  </a:lnTo>
                  <a:lnTo>
                    <a:pt x="6760" y="6333"/>
                  </a:lnTo>
                  <a:lnTo>
                    <a:pt x="6725" y="6375"/>
                  </a:lnTo>
                  <a:lnTo>
                    <a:pt x="6688" y="6418"/>
                  </a:lnTo>
                  <a:lnTo>
                    <a:pt x="6651" y="6459"/>
                  </a:lnTo>
                  <a:lnTo>
                    <a:pt x="6612" y="6499"/>
                  </a:lnTo>
                  <a:lnTo>
                    <a:pt x="6573" y="6539"/>
                  </a:lnTo>
                  <a:lnTo>
                    <a:pt x="6533" y="6577"/>
                  </a:lnTo>
                  <a:lnTo>
                    <a:pt x="6493" y="6615"/>
                  </a:lnTo>
                  <a:lnTo>
                    <a:pt x="6451" y="6652"/>
                  </a:lnTo>
                  <a:lnTo>
                    <a:pt x="6409" y="6689"/>
                  </a:lnTo>
                  <a:lnTo>
                    <a:pt x="6366" y="6724"/>
                  </a:lnTo>
                  <a:lnTo>
                    <a:pt x="6322" y="6759"/>
                  </a:lnTo>
                  <a:lnTo>
                    <a:pt x="6278" y="6792"/>
                  </a:lnTo>
                  <a:lnTo>
                    <a:pt x="6232" y="6825"/>
                  </a:lnTo>
                  <a:lnTo>
                    <a:pt x="6186" y="6856"/>
                  </a:lnTo>
                  <a:lnTo>
                    <a:pt x="6139" y="6887"/>
                  </a:lnTo>
                  <a:lnTo>
                    <a:pt x="6092" y="6917"/>
                  </a:lnTo>
                  <a:lnTo>
                    <a:pt x="6045" y="6945"/>
                  </a:lnTo>
                  <a:lnTo>
                    <a:pt x="5996" y="6974"/>
                  </a:lnTo>
                  <a:lnTo>
                    <a:pt x="5946" y="7001"/>
                  </a:lnTo>
                  <a:lnTo>
                    <a:pt x="5896" y="7027"/>
                  </a:lnTo>
                  <a:lnTo>
                    <a:pt x="5846" y="7051"/>
                  </a:lnTo>
                  <a:lnTo>
                    <a:pt x="5795" y="7074"/>
                  </a:lnTo>
                  <a:lnTo>
                    <a:pt x="5743" y="7097"/>
                  </a:lnTo>
                  <a:lnTo>
                    <a:pt x="5691" y="7119"/>
                  </a:lnTo>
                  <a:lnTo>
                    <a:pt x="5638" y="7140"/>
                  </a:lnTo>
                  <a:lnTo>
                    <a:pt x="5585" y="7159"/>
                  </a:lnTo>
                  <a:lnTo>
                    <a:pt x="5532" y="7178"/>
                  </a:lnTo>
                  <a:lnTo>
                    <a:pt x="5478" y="7195"/>
                  </a:lnTo>
                  <a:lnTo>
                    <a:pt x="5422" y="7210"/>
                  </a:lnTo>
                  <a:lnTo>
                    <a:pt x="5367" y="7225"/>
                  </a:lnTo>
                  <a:lnTo>
                    <a:pt x="5312" y="7239"/>
                  </a:lnTo>
                  <a:lnTo>
                    <a:pt x="5255" y="7251"/>
                  </a:lnTo>
                  <a:lnTo>
                    <a:pt x="5255" y="7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3" name="TextBox 27"/>
          <p:cNvSpPr txBox="1">
            <a:spLocks noChangeArrowheads="1"/>
          </p:cNvSpPr>
          <p:nvPr userDrawn="1"/>
        </p:nvSpPr>
        <p:spPr bwMode="auto">
          <a:xfrm>
            <a:off x="312795" y="5067449"/>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aming</a:t>
            </a:r>
            <a:endParaRPr lang="en-GB" altLang="en-US" sz="900" dirty="0">
              <a:solidFill>
                <a:schemeClr val="bg1"/>
              </a:solidFill>
            </a:endParaRPr>
          </a:p>
        </p:txBody>
      </p:sp>
      <p:sp>
        <p:nvSpPr>
          <p:cNvPr id="74" name="TextBox 27"/>
          <p:cNvSpPr txBox="1">
            <a:spLocks noChangeArrowheads="1"/>
          </p:cNvSpPr>
          <p:nvPr userDrawn="1"/>
        </p:nvSpPr>
        <p:spPr bwMode="auto">
          <a:xfrm>
            <a:off x="1631789" y="5067449"/>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usic</a:t>
            </a:r>
            <a:endParaRPr lang="en-GB" altLang="en-US" sz="900" dirty="0">
              <a:solidFill>
                <a:schemeClr val="bg1"/>
              </a:solidFill>
            </a:endParaRPr>
          </a:p>
        </p:txBody>
      </p:sp>
      <p:sp>
        <p:nvSpPr>
          <p:cNvPr id="75" name="TextBox 27"/>
          <p:cNvSpPr txBox="1">
            <a:spLocks noChangeArrowheads="1"/>
          </p:cNvSpPr>
          <p:nvPr userDrawn="1"/>
        </p:nvSpPr>
        <p:spPr bwMode="auto">
          <a:xfrm>
            <a:off x="2950782" y="5061967"/>
            <a:ext cx="1008003"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ound</a:t>
            </a:r>
            <a:endParaRPr lang="en-GB" altLang="en-US" sz="900" dirty="0">
              <a:solidFill>
                <a:schemeClr val="bg1"/>
              </a:solidFill>
            </a:endParaRPr>
          </a:p>
        </p:txBody>
      </p:sp>
      <p:sp>
        <p:nvSpPr>
          <p:cNvPr id="76" name="TextBox 27"/>
          <p:cNvSpPr txBox="1">
            <a:spLocks noChangeArrowheads="1"/>
          </p:cNvSpPr>
          <p:nvPr userDrawn="1"/>
        </p:nvSpPr>
        <p:spPr bwMode="auto">
          <a:xfrm>
            <a:off x="4255549" y="5064404"/>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dcast</a:t>
            </a:r>
          </a:p>
        </p:txBody>
      </p:sp>
      <p:sp>
        <p:nvSpPr>
          <p:cNvPr id="77" name="TextBox 27"/>
          <p:cNvSpPr txBox="1">
            <a:spLocks noChangeArrowheads="1"/>
          </p:cNvSpPr>
          <p:nvPr userDrawn="1"/>
        </p:nvSpPr>
        <p:spPr bwMode="auto">
          <a:xfrm>
            <a:off x="5564517" y="5068876"/>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inema</a:t>
            </a:r>
            <a:endParaRPr lang="en-GB" altLang="en-US" sz="900" dirty="0">
              <a:solidFill>
                <a:schemeClr val="bg1"/>
              </a:solidFill>
            </a:endParaRPr>
          </a:p>
        </p:txBody>
      </p:sp>
      <p:sp>
        <p:nvSpPr>
          <p:cNvPr id="78" name="TextBox 27"/>
          <p:cNvSpPr txBox="1">
            <a:spLocks noChangeArrowheads="1"/>
          </p:cNvSpPr>
          <p:nvPr userDrawn="1"/>
        </p:nvSpPr>
        <p:spPr bwMode="auto">
          <a:xfrm>
            <a:off x="6886638" y="5068815"/>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60 Cinema</a:t>
            </a:r>
          </a:p>
        </p:txBody>
      </p:sp>
      <p:sp>
        <p:nvSpPr>
          <p:cNvPr id="79" name="TextBox 27"/>
          <p:cNvSpPr txBox="1">
            <a:spLocks noChangeArrowheads="1"/>
          </p:cNvSpPr>
          <p:nvPr userDrawn="1"/>
        </p:nvSpPr>
        <p:spPr bwMode="auto">
          <a:xfrm>
            <a:off x="8220224" y="5068239"/>
            <a:ext cx="942648"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D</a:t>
            </a:r>
          </a:p>
        </p:txBody>
      </p:sp>
      <p:sp>
        <p:nvSpPr>
          <p:cNvPr id="80" name="TextBox 27"/>
          <p:cNvSpPr txBox="1">
            <a:spLocks noChangeArrowheads="1"/>
          </p:cNvSpPr>
          <p:nvPr userDrawn="1"/>
        </p:nvSpPr>
        <p:spPr bwMode="auto">
          <a:xfrm>
            <a:off x="9507399" y="5068815"/>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iler</a:t>
            </a:r>
            <a:endParaRPr lang="en-GB" altLang="en-US" sz="900" dirty="0">
              <a:solidFill>
                <a:schemeClr val="bg1"/>
              </a:solidFill>
            </a:endParaRPr>
          </a:p>
        </p:txBody>
      </p:sp>
      <p:sp>
        <p:nvSpPr>
          <p:cNvPr id="81" name="TextBox 27"/>
          <p:cNvSpPr txBox="1">
            <a:spLocks noChangeArrowheads="1"/>
          </p:cNvSpPr>
          <p:nvPr userDrawn="1"/>
        </p:nvSpPr>
        <p:spPr bwMode="auto">
          <a:xfrm>
            <a:off x="10825387" y="5064210"/>
            <a:ext cx="999247"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Newspaper</a:t>
            </a:r>
          </a:p>
        </p:txBody>
      </p:sp>
      <p:sp>
        <p:nvSpPr>
          <p:cNvPr id="82" name="TextBox 27"/>
          <p:cNvSpPr txBox="1">
            <a:spLocks noChangeArrowheads="1"/>
          </p:cNvSpPr>
          <p:nvPr userDrawn="1"/>
        </p:nvSpPr>
        <p:spPr bwMode="auto">
          <a:xfrm>
            <a:off x="12141855" y="5068815"/>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V</a:t>
            </a:r>
          </a:p>
        </p:txBody>
      </p:sp>
      <p:sp>
        <p:nvSpPr>
          <p:cNvPr id="15" name="Freeform 166"/>
          <p:cNvSpPr>
            <a:spLocks noEditPoints="1"/>
          </p:cNvSpPr>
          <p:nvPr userDrawn="1"/>
        </p:nvSpPr>
        <p:spPr bwMode="auto">
          <a:xfrm>
            <a:off x="6839005"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88 w 726"/>
              <a:gd name="T69" fmla="*/ 452 h 726"/>
              <a:gd name="T70" fmla="*/ 388 w 726"/>
              <a:gd name="T71" fmla="*/ 312 h 726"/>
              <a:gd name="T72" fmla="*/ 506 w 726"/>
              <a:gd name="T73" fmla="*/ 356 h 726"/>
              <a:gd name="T74" fmla="*/ 388 w 726"/>
              <a:gd name="T75" fmla="*/ 410 h 726"/>
              <a:gd name="T76" fmla="*/ 552 w 726"/>
              <a:gd name="T77" fmla="*/ 544 h 726"/>
              <a:gd name="T78" fmla="*/ 470 w 726"/>
              <a:gd name="T79" fmla="*/ 510 h 726"/>
              <a:gd name="T80" fmla="*/ 470 w 726"/>
              <a:gd name="T81" fmla="*/ 434 h 726"/>
              <a:gd name="T82" fmla="*/ 530 w 726"/>
              <a:gd name="T83" fmla="*/ 332 h 726"/>
              <a:gd name="T84" fmla="*/ 470 w 726"/>
              <a:gd name="T85" fmla="*/ 220 h 726"/>
              <a:gd name="T86" fmla="*/ 260 w 726"/>
              <a:gd name="T87" fmla="*/ 502 h 726"/>
              <a:gd name="T88" fmla="*/ 174 w 726"/>
              <a:gd name="T89" fmla="*/ 544 h 726"/>
              <a:gd name="T90" fmla="*/ 552 w 726"/>
              <a:gd name="T91" fmla="*/ 18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88" y="452"/>
                </a:moveTo>
                <a:lnTo>
                  <a:pt x="290" y="382"/>
                </a:lnTo>
                <a:lnTo>
                  <a:pt x="388" y="312"/>
                </a:lnTo>
                <a:lnTo>
                  <a:pt x="388" y="356"/>
                </a:lnTo>
                <a:lnTo>
                  <a:pt x="506" y="356"/>
                </a:lnTo>
                <a:lnTo>
                  <a:pt x="506" y="410"/>
                </a:lnTo>
                <a:lnTo>
                  <a:pt x="388" y="410"/>
                </a:lnTo>
                <a:lnTo>
                  <a:pt x="388" y="452"/>
                </a:lnTo>
                <a:close/>
                <a:moveTo>
                  <a:pt x="552" y="544"/>
                </a:moveTo>
                <a:lnTo>
                  <a:pt x="518" y="544"/>
                </a:lnTo>
                <a:lnTo>
                  <a:pt x="470" y="510"/>
                </a:lnTo>
                <a:lnTo>
                  <a:pt x="470" y="502"/>
                </a:lnTo>
                <a:lnTo>
                  <a:pt x="470" y="434"/>
                </a:lnTo>
                <a:lnTo>
                  <a:pt x="530" y="434"/>
                </a:lnTo>
                <a:lnTo>
                  <a:pt x="530" y="332"/>
                </a:lnTo>
                <a:lnTo>
                  <a:pt x="470" y="332"/>
                </a:lnTo>
                <a:lnTo>
                  <a:pt x="470" y="220"/>
                </a:lnTo>
                <a:lnTo>
                  <a:pt x="260" y="220"/>
                </a:lnTo>
                <a:lnTo>
                  <a:pt x="260" y="502"/>
                </a:lnTo>
                <a:lnTo>
                  <a:pt x="320" y="546"/>
                </a:lnTo>
                <a:lnTo>
                  <a:pt x="174" y="544"/>
                </a:lnTo>
                <a:lnTo>
                  <a:pt x="174" y="180"/>
                </a:lnTo>
                <a:lnTo>
                  <a:pt x="552" y="180"/>
                </a:lnTo>
                <a:lnTo>
                  <a:pt x="552" y="5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8" name="Freeform 238"/>
          <p:cNvSpPr>
            <a:spLocks noEditPoints="1"/>
          </p:cNvSpPr>
          <p:nvPr userDrawn="1"/>
        </p:nvSpPr>
        <p:spPr bwMode="auto">
          <a:xfrm>
            <a:off x="4211403" y="5415123"/>
            <a:ext cx="1080000" cy="1080000"/>
          </a:xfrm>
          <a:custGeom>
            <a:avLst/>
            <a:gdLst>
              <a:gd name="T0" fmla="*/ 362 w 724"/>
              <a:gd name="T1" fmla="*/ 338 h 726"/>
              <a:gd name="T2" fmla="*/ 336 w 724"/>
              <a:gd name="T3" fmla="*/ 328 h 726"/>
              <a:gd name="T4" fmla="*/ 340 w 724"/>
              <a:gd name="T5" fmla="*/ 316 h 726"/>
              <a:gd name="T6" fmla="*/ 354 w 724"/>
              <a:gd name="T7" fmla="*/ 324 h 726"/>
              <a:gd name="T8" fmla="*/ 360 w 724"/>
              <a:gd name="T9" fmla="*/ 300 h 726"/>
              <a:gd name="T10" fmla="*/ 330 w 724"/>
              <a:gd name="T11" fmla="*/ 302 h 726"/>
              <a:gd name="T12" fmla="*/ 312 w 724"/>
              <a:gd name="T13" fmla="*/ 320 h 726"/>
              <a:gd name="T14" fmla="*/ 322 w 724"/>
              <a:gd name="T15" fmla="*/ 358 h 726"/>
              <a:gd name="T16" fmla="*/ 348 w 724"/>
              <a:gd name="T17" fmla="*/ 410 h 726"/>
              <a:gd name="T18" fmla="*/ 404 w 724"/>
              <a:gd name="T19" fmla="*/ 382 h 726"/>
              <a:gd name="T20" fmla="*/ 294 w 724"/>
              <a:gd name="T21" fmla="*/ 392 h 726"/>
              <a:gd name="T22" fmla="*/ 262 w 724"/>
              <a:gd name="T23" fmla="*/ 370 h 726"/>
              <a:gd name="T24" fmla="*/ 264 w 724"/>
              <a:gd name="T25" fmla="*/ 354 h 726"/>
              <a:gd name="T26" fmla="*/ 276 w 724"/>
              <a:gd name="T27" fmla="*/ 358 h 726"/>
              <a:gd name="T28" fmla="*/ 288 w 724"/>
              <a:gd name="T29" fmla="*/ 342 h 726"/>
              <a:gd name="T30" fmla="*/ 268 w 724"/>
              <a:gd name="T31" fmla="*/ 334 h 726"/>
              <a:gd name="T32" fmla="*/ 238 w 724"/>
              <a:gd name="T33" fmla="*/ 352 h 726"/>
              <a:gd name="T34" fmla="*/ 240 w 724"/>
              <a:gd name="T35" fmla="*/ 382 h 726"/>
              <a:gd name="T36" fmla="*/ 254 w 724"/>
              <a:gd name="T37" fmla="*/ 410 h 726"/>
              <a:gd name="T38" fmla="*/ 336 w 724"/>
              <a:gd name="T39" fmla="*/ 434 h 726"/>
              <a:gd name="T40" fmla="*/ 428 w 724"/>
              <a:gd name="T41" fmla="*/ 326 h 726"/>
              <a:gd name="T42" fmla="*/ 412 w 724"/>
              <a:gd name="T43" fmla="*/ 296 h 726"/>
              <a:gd name="T44" fmla="*/ 412 w 724"/>
              <a:gd name="T45" fmla="*/ 282 h 726"/>
              <a:gd name="T46" fmla="*/ 424 w 724"/>
              <a:gd name="T47" fmla="*/ 280 h 726"/>
              <a:gd name="T48" fmla="*/ 448 w 724"/>
              <a:gd name="T49" fmla="*/ 278 h 726"/>
              <a:gd name="T50" fmla="*/ 426 w 724"/>
              <a:gd name="T51" fmla="*/ 260 h 726"/>
              <a:gd name="T52" fmla="*/ 394 w 724"/>
              <a:gd name="T53" fmla="*/ 272 h 726"/>
              <a:gd name="T54" fmla="*/ 386 w 724"/>
              <a:gd name="T55" fmla="*/ 294 h 726"/>
              <a:gd name="T56" fmla="*/ 396 w 724"/>
              <a:gd name="T57" fmla="*/ 340 h 726"/>
              <a:gd name="T58" fmla="*/ 422 w 724"/>
              <a:gd name="T59" fmla="*/ 392 h 726"/>
              <a:gd name="T60" fmla="*/ 362 w 724"/>
              <a:gd name="T61" fmla="*/ 0 h 726"/>
              <a:gd name="T62" fmla="*/ 254 w 724"/>
              <a:gd name="T63" fmla="*/ 16 h 726"/>
              <a:gd name="T64" fmla="*/ 132 w 724"/>
              <a:gd name="T65" fmla="*/ 82 h 726"/>
              <a:gd name="T66" fmla="*/ 44 w 724"/>
              <a:gd name="T67" fmla="*/ 190 h 726"/>
              <a:gd name="T68" fmla="*/ 2 w 724"/>
              <a:gd name="T69" fmla="*/ 326 h 726"/>
              <a:gd name="T70" fmla="*/ 6 w 724"/>
              <a:gd name="T71" fmla="*/ 436 h 726"/>
              <a:gd name="T72" fmla="*/ 62 w 724"/>
              <a:gd name="T73" fmla="*/ 566 h 726"/>
              <a:gd name="T74" fmla="*/ 160 w 724"/>
              <a:gd name="T75" fmla="*/ 664 h 726"/>
              <a:gd name="T76" fmla="*/ 288 w 724"/>
              <a:gd name="T77" fmla="*/ 718 h 726"/>
              <a:gd name="T78" fmla="*/ 400 w 724"/>
              <a:gd name="T79" fmla="*/ 724 h 726"/>
              <a:gd name="T80" fmla="*/ 536 w 724"/>
              <a:gd name="T81" fmla="*/ 682 h 726"/>
              <a:gd name="T82" fmla="*/ 618 w 724"/>
              <a:gd name="T83" fmla="*/ 620 h 726"/>
              <a:gd name="T84" fmla="*/ 696 w 724"/>
              <a:gd name="T85" fmla="*/ 504 h 726"/>
              <a:gd name="T86" fmla="*/ 724 w 724"/>
              <a:gd name="T87" fmla="*/ 362 h 726"/>
              <a:gd name="T88" fmla="*/ 708 w 724"/>
              <a:gd name="T89" fmla="*/ 254 h 726"/>
              <a:gd name="T90" fmla="*/ 642 w 724"/>
              <a:gd name="T91" fmla="*/ 132 h 726"/>
              <a:gd name="T92" fmla="*/ 536 w 724"/>
              <a:gd name="T93" fmla="*/ 44 h 726"/>
              <a:gd name="T94" fmla="*/ 400 w 724"/>
              <a:gd name="T95" fmla="*/ 2 h 726"/>
              <a:gd name="T96" fmla="*/ 550 w 724"/>
              <a:gd name="T97" fmla="*/ 388 h 726"/>
              <a:gd name="T98" fmla="*/ 248 w 724"/>
              <a:gd name="T99" fmla="*/ 542 h 726"/>
              <a:gd name="T100" fmla="*/ 238 w 724"/>
              <a:gd name="T101" fmla="*/ 542 h 726"/>
              <a:gd name="T102" fmla="*/ 138 w 724"/>
              <a:gd name="T103" fmla="*/ 346 h 726"/>
              <a:gd name="T104" fmla="*/ 144 w 724"/>
              <a:gd name="T105" fmla="*/ 330 h 726"/>
              <a:gd name="T106" fmla="*/ 450 w 724"/>
              <a:gd name="T107" fmla="*/ 184 h 726"/>
              <a:gd name="T108" fmla="*/ 560 w 724"/>
              <a:gd name="T109" fmla="*/ 224 h 726"/>
              <a:gd name="T110" fmla="*/ 586 w 724"/>
              <a:gd name="T111" fmla="*/ 284 h 726"/>
              <a:gd name="T112" fmla="*/ 478 w 724"/>
              <a:gd name="T113" fmla="*/ 282 h 726"/>
              <a:gd name="T114" fmla="*/ 484 w 724"/>
              <a:gd name="T115" fmla="*/ 302 h 726"/>
              <a:gd name="T116" fmla="*/ 504 w 724"/>
              <a:gd name="T117" fmla="*/ 306 h 726"/>
              <a:gd name="T118" fmla="*/ 514 w 724"/>
              <a:gd name="T119" fmla="*/ 280 h 726"/>
              <a:gd name="T120" fmla="*/ 496 w 724"/>
              <a:gd name="T121" fmla="*/ 26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4" h="726">
                <a:moveTo>
                  <a:pt x="370" y="398"/>
                </a:moveTo>
                <a:lnTo>
                  <a:pt x="352" y="364"/>
                </a:lnTo>
                <a:lnTo>
                  <a:pt x="370" y="354"/>
                </a:lnTo>
                <a:lnTo>
                  <a:pt x="362" y="338"/>
                </a:lnTo>
                <a:lnTo>
                  <a:pt x="344" y="348"/>
                </a:lnTo>
                <a:lnTo>
                  <a:pt x="338" y="332"/>
                </a:lnTo>
                <a:lnTo>
                  <a:pt x="336" y="328"/>
                </a:lnTo>
                <a:lnTo>
                  <a:pt x="334" y="324"/>
                </a:lnTo>
                <a:lnTo>
                  <a:pt x="336" y="320"/>
                </a:lnTo>
                <a:lnTo>
                  <a:pt x="340" y="316"/>
                </a:lnTo>
                <a:lnTo>
                  <a:pt x="344" y="316"/>
                </a:lnTo>
                <a:lnTo>
                  <a:pt x="348" y="318"/>
                </a:lnTo>
                <a:lnTo>
                  <a:pt x="352" y="320"/>
                </a:lnTo>
                <a:lnTo>
                  <a:pt x="354" y="324"/>
                </a:lnTo>
                <a:lnTo>
                  <a:pt x="372" y="316"/>
                </a:lnTo>
                <a:lnTo>
                  <a:pt x="364" y="304"/>
                </a:lnTo>
                <a:lnTo>
                  <a:pt x="360" y="300"/>
                </a:lnTo>
                <a:lnTo>
                  <a:pt x="356" y="298"/>
                </a:lnTo>
                <a:lnTo>
                  <a:pt x="350" y="296"/>
                </a:lnTo>
                <a:lnTo>
                  <a:pt x="344" y="298"/>
                </a:lnTo>
                <a:lnTo>
                  <a:pt x="330" y="302"/>
                </a:lnTo>
                <a:lnTo>
                  <a:pt x="318" y="310"/>
                </a:lnTo>
                <a:lnTo>
                  <a:pt x="314" y="314"/>
                </a:lnTo>
                <a:lnTo>
                  <a:pt x="312" y="320"/>
                </a:lnTo>
                <a:lnTo>
                  <a:pt x="310" y="326"/>
                </a:lnTo>
                <a:lnTo>
                  <a:pt x="312" y="332"/>
                </a:lnTo>
                <a:lnTo>
                  <a:pt x="316" y="344"/>
                </a:lnTo>
                <a:lnTo>
                  <a:pt x="322" y="358"/>
                </a:lnTo>
                <a:lnTo>
                  <a:pt x="314" y="362"/>
                </a:lnTo>
                <a:lnTo>
                  <a:pt x="322" y="378"/>
                </a:lnTo>
                <a:lnTo>
                  <a:pt x="330" y="374"/>
                </a:lnTo>
                <a:lnTo>
                  <a:pt x="348" y="410"/>
                </a:lnTo>
                <a:lnTo>
                  <a:pt x="338" y="414"/>
                </a:lnTo>
                <a:lnTo>
                  <a:pt x="346" y="430"/>
                </a:lnTo>
                <a:lnTo>
                  <a:pt x="412" y="398"/>
                </a:lnTo>
                <a:lnTo>
                  <a:pt x="404" y="382"/>
                </a:lnTo>
                <a:lnTo>
                  <a:pt x="370" y="398"/>
                </a:lnTo>
                <a:close/>
                <a:moveTo>
                  <a:pt x="294" y="436"/>
                </a:moveTo>
                <a:lnTo>
                  <a:pt x="276" y="400"/>
                </a:lnTo>
                <a:lnTo>
                  <a:pt x="294" y="392"/>
                </a:lnTo>
                <a:lnTo>
                  <a:pt x="286" y="376"/>
                </a:lnTo>
                <a:lnTo>
                  <a:pt x="268" y="384"/>
                </a:lnTo>
                <a:lnTo>
                  <a:pt x="262" y="370"/>
                </a:lnTo>
                <a:lnTo>
                  <a:pt x="260" y="366"/>
                </a:lnTo>
                <a:lnTo>
                  <a:pt x="260" y="360"/>
                </a:lnTo>
                <a:lnTo>
                  <a:pt x="260" y="356"/>
                </a:lnTo>
                <a:lnTo>
                  <a:pt x="264" y="354"/>
                </a:lnTo>
                <a:lnTo>
                  <a:pt x="268" y="354"/>
                </a:lnTo>
                <a:lnTo>
                  <a:pt x="272" y="354"/>
                </a:lnTo>
                <a:lnTo>
                  <a:pt x="276" y="358"/>
                </a:lnTo>
                <a:lnTo>
                  <a:pt x="278" y="362"/>
                </a:lnTo>
                <a:lnTo>
                  <a:pt x="296" y="354"/>
                </a:lnTo>
                <a:lnTo>
                  <a:pt x="288" y="342"/>
                </a:lnTo>
                <a:lnTo>
                  <a:pt x="284" y="338"/>
                </a:lnTo>
                <a:lnTo>
                  <a:pt x="280" y="336"/>
                </a:lnTo>
                <a:lnTo>
                  <a:pt x="274" y="334"/>
                </a:lnTo>
                <a:lnTo>
                  <a:pt x="268" y="334"/>
                </a:lnTo>
                <a:lnTo>
                  <a:pt x="254" y="340"/>
                </a:lnTo>
                <a:lnTo>
                  <a:pt x="242" y="348"/>
                </a:lnTo>
                <a:lnTo>
                  <a:pt x="238" y="352"/>
                </a:lnTo>
                <a:lnTo>
                  <a:pt x="236" y="356"/>
                </a:lnTo>
                <a:lnTo>
                  <a:pt x="236" y="362"/>
                </a:lnTo>
                <a:lnTo>
                  <a:pt x="236" y="368"/>
                </a:lnTo>
                <a:lnTo>
                  <a:pt x="240" y="382"/>
                </a:lnTo>
                <a:lnTo>
                  <a:pt x="246" y="396"/>
                </a:lnTo>
                <a:lnTo>
                  <a:pt x="238" y="400"/>
                </a:lnTo>
                <a:lnTo>
                  <a:pt x="246" y="416"/>
                </a:lnTo>
                <a:lnTo>
                  <a:pt x="254" y="410"/>
                </a:lnTo>
                <a:lnTo>
                  <a:pt x="272" y="446"/>
                </a:lnTo>
                <a:lnTo>
                  <a:pt x="264" y="450"/>
                </a:lnTo>
                <a:lnTo>
                  <a:pt x="272" y="466"/>
                </a:lnTo>
                <a:lnTo>
                  <a:pt x="336" y="434"/>
                </a:lnTo>
                <a:lnTo>
                  <a:pt x="328" y="420"/>
                </a:lnTo>
                <a:lnTo>
                  <a:pt x="294" y="436"/>
                </a:lnTo>
                <a:close/>
                <a:moveTo>
                  <a:pt x="444" y="362"/>
                </a:moveTo>
                <a:lnTo>
                  <a:pt x="428" y="326"/>
                </a:lnTo>
                <a:lnTo>
                  <a:pt x="446" y="316"/>
                </a:lnTo>
                <a:lnTo>
                  <a:pt x="438" y="300"/>
                </a:lnTo>
                <a:lnTo>
                  <a:pt x="420" y="310"/>
                </a:lnTo>
                <a:lnTo>
                  <a:pt x="412" y="296"/>
                </a:lnTo>
                <a:lnTo>
                  <a:pt x="410" y="290"/>
                </a:lnTo>
                <a:lnTo>
                  <a:pt x="410" y="286"/>
                </a:lnTo>
                <a:lnTo>
                  <a:pt x="412" y="282"/>
                </a:lnTo>
                <a:lnTo>
                  <a:pt x="416" y="280"/>
                </a:lnTo>
                <a:lnTo>
                  <a:pt x="420" y="278"/>
                </a:lnTo>
                <a:lnTo>
                  <a:pt x="424" y="280"/>
                </a:lnTo>
                <a:lnTo>
                  <a:pt x="426" y="284"/>
                </a:lnTo>
                <a:lnTo>
                  <a:pt x="430" y="288"/>
                </a:lnTo>
                <a:lnTo>
                  <a:pt x="448" y="278"/>
                </a:lnTo>
                <a:lnTo>
                  <a:pt x="440" y="268"/>
                </a:lnTo>
                <a:lnTo>
                  <a:pt x="436" y="264"/>
                </a:lnTo>
                <a:lnTo>
                  <a:pt x="430" y="260"/>
                </a:lnTo>
                <a:lnTo>
                  <a:pt x="426" y="260"/>
                </a:lnTo>
                <a:lnTo>
                  <a:pt x="420" y="260"/>
                </a:lnTo>
                <a:lnTo>
                  <a:pt x="406" y="264"/>
                </a:lnTo>
                <a:lnTo>
                  <a:pt x="394" y="272"/>
                </a:lnTo>
                <a:lnTo>
                  <a:pt x="390" y="278"/>
                </a:lnTo>
                <a:lnTo>
                  <a:pt x="388" y="282"/>
                </a:lnTo>
                <a:lnTo>
                  <a:pt x="386" y="288"/>
                </a:lnTo>
                <a:lnTo>
                  <a:pt x="386" y="294"/>
                </a:lnTo>
                <a:lnTo>
                  <a:pt x="392" y="308"/>
                </a:lnTo>
                <a:lnTo>
                  <a:pt x="398" y="320"/>
                </a:lnTo>
                <a:lnTo>
                  <a:pt x="388" y="326"/>
                </a:lnTo>
                <a:lnTo>
                  <a:pt x="396" y="340"/>
                </a:lnTo>
                <a:lnTo>
                  <a:pt x="406" y="336"/>
                </a:lnTo>
                <a:lnTo>
                  <a:pt x="424" y="372"/>
                </a:lnTo>
                <a:lnTo>
                  <a:pt x="414" y="376"/>
                </a:lnTo>
                <a:lnTo>
                  <a:pt x="422" y="392"/>
                </a:lnTo>
                <a:lnTo>
                  <a:pt x="486" y="360"/>
                </a:lnTo>
                <a:lnTo>
                  <a:pt x="478" y="344"/>
                </a:lnTo>
                <a:lnTo>
                  <a:pt x="444" y="362"/>
                </a:lnTo>
                <a:close/>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86" y="284"/>
                </a:moveTo>
                <a:lnTo>
                  <a:pt x="550" y="388"/>
                </a:lnTo>
                <a:lnTo>
                  <a:pt x="548" y="392"/>
                </a:lnTo>
                <a:lnTo>
                  <a:pt x="544" y="394"/>
                </a:lnTo>
                <a:lnTo>
                  <a:pt x="248" y="542"/>
                </a:lnTo>
                <a:lnTo>
                  <a:pt x="242" y="542"/>
                </a:lnTo>
                <a:lnTo>
                  <a:pt x="238" y="542"/>
                </a:lnTo>
                <a:lnTo>
                  <a:pt x="234" y="540"/>
                </a:lnTo>
                <a:lnTo>
                  <a:pt x="232" y="536"/>
                </a:lnTo>
                <a:lnTo>
                  <a:pt x="138" y="346"/>
                </a:lnTo>
                <a:lnTo>
                  <a:pt x="138" y="342"/>
                </a:lnTo>
                <a:lnTo>
                  <a:pt x="138" y="338"/>
                </a:lnTo>
                <a:lnTo>
                  <a:pt x="140" y="334"/>
                </a:lnTo>
                <a:lnTo>
                  <a:pt x="144" y="330"/>
                </a:lnTo>
                <a:lnTo>
                  <a:pt x="440" y="184"/>
                </a:lnTo>
                <a:lnTo>
                  <a:pt x="446" y="184"/>
                </a:lnTo>
                <a:lnTo>
                  <a:pt x="450" y="184"/>
                </a:lnTo>
                <a:lnTo>
                  <a:pt x="554" y="218"/>
                </a:lnTo>
                <a:lnTo>
                  <a:pt x="558" y="220"/>
                </a:lnTo>
                <a:lnTo>
                  <a:pt x="560" y="224"/>
                </a:lnTo>
                <a:lnTo>
                  <a:pt x="586" y="276"/>
                </a:lnTo>
                <a:lnTo>
                  <a:pt x="586" y="280"/>
                </a:lnTo>
                <a:lnTo>
                  <a:pt x="586" y="284"/>
                </a:lnTo>
                <a:close/>
                <a:moveTo>
                  <a:pt x="488" y="270"/>
                </a:moveTo>
                <a:lnTo>
                  <a:pt x="488" y="270"/>
                </a:lnTo>
                <a:lnTo>
                  <a:pt x="482" y="276"/>
                </a:lnTo>
                <a:lnTo>
                  <a:pt x="478" y="282"/>
                </a:lnTo>
                <a:lnTo>
                  <a:pt x="476" y="290"/>
                </a:lnTo>
                <a:lnTo>
                  <a:pt x="478" y="296"/>
                </a:lnTo>
                <a:lnTo>
                  <a:pt x="484" y="302"/>
                </a:lnTo>
                <a:lnTo>
                  <a:pt x="490" y="306"/>
                </a:lnTo>
                <a:lnTo>
                  <a:pt x="498" y="308"/>
                </a:lnTo>
                <a:lnTo>
                  <a:pt x="504" y="306"/>
                </a:lnTo>
                <a:lnTo>
                  <a:pt x="510" y="300"/>
                </a:lnTo>
                <a:lnTo>
                  <a:pt x="514" y="294"/>
                </a:lnTo>
                <a:lnTo>
                  <a:pt x="516" y="286"/>
                </a:lnTo>
                <a:lnTo>
                  <a:pt x="514" y="280"/>
                </a:lnTo>
                <a:lnTo>
                  <a:pt x="508" y="274"/>
                </a:lnTo>
                <a:lnTo>
                  <a:pt x="502" y="270"/>
                </a:lnTo>
                <a:lnTo>
                  <a:pt x="496" y="268"/>
                </a:lnTo>
                <a:lnTo>
                  <a:pt x="488" y="2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9" name="Freeform 261"/>
          <p:cNvSpPr>
            <a:spLocks noEditPoints="1"/>
          </p:cNvSpPr>
          <p:nvPr userDrawn="1"/>
        </p:nvSpPr>
        <p:spPr bwMode="auto">
          <a:xfrm>
            <a:off x="5525204"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82 w 726"/>
              <a:gd name="T69" fmla="*/ 586 h 726"/>
              <a:gd name="T70" fmla="*/ 480 w 726"/>
              <a:gd name="T71" fmla="*/ 590 h 726"/>
              <a:gd name="T72" fmla="*/ 252 w 726"/>
              <a:gd name="T73" fmla="*/ 592 h 726"/>
              <a:gd name="T74" fmla="*/ 248 w 726"/>
              <a:gd name="T75" fmla="*/ 590 h 726"/>
              <a:gd name="T76" fmla="*/ 246 w 726"/>
              <a:gd name="T77" fmla="*/ 530 h 726"/>
              <a:gd name="T78" fmla="*/ 248 w 726"/>
              <a:gd name="T79" fmla="*/ 526 h 726"/>
              <a:gd name="T80" fmla="*/ 476 w 726"/>
              <a:gd name="T81" fmla="*/ 524 h 726"/>
              <a:gd name="T82" fmla="*/ 480 w 726"/>
              <a:gd name="T83" fmla="*/ 526 h 726"/>
              <a:gd name="T84" fmla="*/ 482 w 726"/>
              <a:gd name="T85" fmla="*/ 586 h 726"/>
              <a:gd name="T86" fmla="*/ 504 w 726"/>
              <a:gd name="T87" fmla="*/ 486 h 726"/>
              <a:gd name="T88" fmla="*/ 500 w 726"/>
              <a:gd name="T89" fmla="*/ 500 h 726"/>
              <a:gd name="T90" fmla="*/ 486 w 726"/>
              <a:gd name="T91" fmla="*/ 504 h 726"/>
              <a:gd name="T92" fmla="*/ 242 w 726"/>
              <a:gd name="T93" fmla="*/ 504 h 726"/>
              <a:gd name="T94" fmla="*/ 228 w 726"/>
              <a:gd name="T95" fmla="*/ 500 h 726"/>
              <a:gd name="T96" fmla="*/ 224 w 726"/>
              <a:gd name="T97" fmla="*/ 486 h 726"/>
              <a:gd name="T98" fmla="*/ 224 w 726"/>
              <a:gd name="T99" fmla="*/ 146 h 726"/>
              <a:gd name="T100" fmla="*/ 228 w 726"/>
              <a:gd name="T101" fmla="*/ 134 h 726"/>
              <a:gd name="T102" fmla="*/ 242 w 726"/>
              <a:gd name="T103" fmla="*/ 128 h 726"/>
              <a:gd name="T104" fmla="*/ 486 w 726"/>
              <a:gd name="T105" fmla="*/ 128 h 726"/>
              <a:gd name="T106" fmla="*/ 500 w 726"/>
              <a:gd name="T107" fmla="*/ 134 h 726"/>
              <a:gd name="T108" fmla="*/ 504 w 726"/>
              <a:gd name="T109" fmla="*/ 146 h 726"/>
              <a:gd name="T110" fmla="*/ 260 w 726"/>
              <a:gd name="T111" fmla="*/ 468 h 726"/>
              <a:gd name="T112" fmla="*/ 468 w 726"/>
              <a:gd name="T113" fmla="*/ 166 h 726"/>
              <a:gd name="T114" fmla="*/ 260 w 726"/>
              <a:gd name="T115" fmla="*/ 468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482" y="586"/>
                </a:moveTo>
                <a:lnTo>
                  <a:pt x="482" y="586"/>
                </a:lnTo>
                <a:lnTo>
                  <a:pt x="480" y="590"/>
                </a:lnTo>
                <a:lnTo>
                  <a:pt x="476" y="592"/>
                </a:lnTo>
                <a:lnTo>
                  <a:pt x="252" y="592"/>
                </a:lnTo>
                <a:lnTo>
                  <a:pt x="248" y="590"/>
                </a:lnTo>
                <a:lnTo>
                  <a:pt x="246" y="586"/>
                </a:lnTo>
                <a:lnTo>
                  <a:pt x="246" y="530"/>
                </a:lnTo>
                <a:lnTo>
                  <a:pt x="248" y="526"/>
                </a:lnTo>
                <a:lnTo>
                  <a:pt x="252" y="524"/>
                </a:lnTo>
                <a:lnTo>
                  <a:pt x="476" y="524"/>
                </a:lnTo>
                <a:lnTo>
                  <a:pt x="480" y="526"/>
                </a:lnTo>
                <a:lnTo>
                  <a:pt x="482" y="530"/>
                </a:lnTo>
                <a:lnTo>
                  <a:pt x="482" y="586"/>
                </a:lnTo>
                <a:close/>
                <a:moveTo>
                  <a:pt x="504" y="486"/>
                </a:moveTo>
                <a:lnTo>
                  <a:pt x="504" y="486"/>
                </a:lnTo>
                <a:lnTo>
                  <a:pt x="504" y="494"/>
                </a:lnTo>
                <a:lnTo>
                  <a:pt x="500" y="500"/>
                </a:lnTo>
                <a:lnTo>
                  <a:pt x="494" y="504"/>
                </a:lnTo>
                <a:lnTo>
                  <a:pt x="486" y="504"/>
                </a:lnTo>
                <a:lnTo>
                  <a:pt x="242" y="504"/>
                </a:lnTo>
                <a:lnTo>
                  <a:pt x="234" y="504"/>
                </a:lnTo>
                <a:lnTo>
                  <a:pt x="228" y="500"/>
                </a:lnTo>
                <a:lnTo>
                  <a:pt x="224" y="494"/>
                </a:lnTo>
                <a:lnTo>
                  <a:pt x="224" y="486"/>
                </a:lnTo>
                <a:lnTo>
                  <a:pt x="224" y="146"/>
                </a:lnTo>
                <a:lnTo>
                  <a:pt x="224" y="140"/>
                </a:lnTo>
                <a:lnTo>
                  <a:pt x="228" y="134"/>
                </a:lnTo>
                <a:lnTo>
                  <a:pt x="234" y="130"/>
                </a:lnTo>
                <a:lnTo>
                  <a:pt x="242" y="128"/>
                </a:lnTo>
                <a:lnTo>
                  <a:pt x="486" y="128"/>
                </a:lnTo>
                <a:lnTo>
                  <a:pt x="494" y="130"/>
                </a:lnTo>
                <a:lnTo>
                  <a:pt x="500" y="134"/>
                </a:lnTo>
                <a:lnTo>
                  <a:pt x="504" y="140"/>
                </a:lnTo>
                <a:lnTo>
                  <a:pt x="504" y="146"/>
                </a:lnTo>
                <a:lnTo>
                  <a:pt x="504" y="486"/>
                </a:lnTo>
                <a:close/>
                <a:moveTo>
                  <a:pt x="260" y="468"/>
                </a:moveTo>
                <a:lnTo>
                  <a:pt x="468" y="468"/>
                </a:lnTo>
                <a:lnTo>
                  <a:pt x="468" y="166"/>
                </a:lnTo>
                <a:lnTo>
                  <a:pt x="260" y="166"/>
                </a:lnTo>
                <a:lnTo>
                  <a:pt x="260" y="4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0" name="Freeform 446"/>
          <p:cNvSpPr>
            <a:spLocks noEditPoints="1"/>
          </p:cNvSpPr>
          <p:nvPr userDrawn="1"/>
        </p:nvSpPr>
        <p:spPr bwMode="auto">
          <a:xfrm>
            <a:off x="1583801" y="5415123"/>
            <a:ext cx="1080000" cy="1080000"/>
          </a:xfrm>
          <a:custGeom>
            <a:avLst/>
            <a:gdLst>
              <a:gd name="T0" fmla="*/ 218 w 726"/>
              <a:gd name="T1" fmla="*/ 166 h 726"/>
              <a:gd name="T2" fmla="*/ 508 w 726"/>
              <a:gd name="T3" fmla="*/ 560 h 726"/>
              <a:gd name="T4" fmla="*/ 390 w 726"/>
              <a:gd name="T5" fmla="*/ 282 h 726"/>
              <a:gd name="T6" fmla="*/ 414 w 726"/>
              <a:gd name="T7" fmla="*/ 182 h 726"/>
              <a:gd name="T8" fmla="*/ 490 w 726"/>
              <a:gd name="T9" fmla="*/ 258 h 726"/>
              <a:gd name="T10" fmla="*/ 362 w 726"/>
              <a:gd name="T11" fmla="*/ 0 h 726"/>
              <a:gd name="T12" fmla="*/ 326 w 726"/>
              <a:gd name="T13" fmla="*/ 2 h 726"/>
              <a:gd name="T14" fmla="*/ 254 w 726"/>
              <a:gd name="T15" fmla="*/ 16 h 726"/>
              <a:gd name="T16" fmla="*/ 190 w 726"/>
              <a:gd name="T17" fmla="*/ 44 h 726"/>
              <a:gd name="T18" fmla="*/ 132 w 726"/>
              <a:gd name="T19" fmla="*/ 82 h 726"/>
              <a:gd name="T20" fmla="*/ 82 w 726"/>
              <a:gd name="T21" fmla="*/ 132 h 726"/>
              <a:gd name="T22" fmla="*/ 44 w 726"/>
              <a:gd name="T23" fmla="*/ 190 h 726"/>
              <a:gd name="T24" fmla="*/ 16 w 726"/>
              <a:gd name="T25" fmla="*/ 254 h 726"/>
              <a:gd name="T26" fmla="*/ 2 w 726"/>
              <a:gd name="T27" fmla="*/ 326 h 726"/>
              <a:gd name="T28" fmla="*/ 0 w 726"/>
              <a:gd name="T29" fmla="*/ 362 h 726"/>
              <a:gd name="T30" fmla="*/ 8 w 726"/>
              <a:gd name="T31" fmla="*/ 436 h 726"/>
              <a:gd name="T32" fmla="*/ 28 w 726"/>
              <a:gd name="T33" fmla="*/ 504 h 726"/>
              <a:gd name="T34" fmla="*/ 62 w 726"/>
              <a:gd name="T35" fmla="*/ 566 h 726"/>
              <a:gd name="T36" fmla="*/ 106 w 726"/>
              <a:gd name="T37" fmla="*/ 620 h 726"/>
              <a:gd name="T38" fmla="*/ 160 w 726"/>
              <a:gd name="T39" fmla="*/ 664 h 726"/>
              <a:gd name="T40" fmla="*/ 222 w 726"/>
              <a:gd name="T41" fmla="*/ 698 h 726"/>
              <a:gd name="T42" fmla="*/ 290 w 726"/>
              <a:gd name="T43" fmla="*/ 718 h 726"/>
              <a:gd name="T44" fmla="*/ 362 w 726"/>
              <a:gd name="T45" fmla="*/ 726 h 726"/>
              <a:gd name="T46" fmla="*/ 400 w 726"/>
              <a:gd name="T47" fmla="*/ 724 h 726"/>
              <a:gd name="T48" fmla="*/ 470 w 726"/>
              <a:gd name="T49" fmla="*/ 710 h 726"/>
              <a:gd name="T50" fmla="*/ 536 w 726"/>
              <a:gd name="T51" fmla="*/ 682 h 726"/>
              <a:gd name="T52" fmla="*/ 594 w 726"/>
              <a:gd name="T53" fmla="*/ 642 h 726"/>
              <a:gd name="T54" fmla="*/ 642 w 726"/>
              <a:gd name="T55" fmla="*/ 594 h 726"/>
              <a:gd name="T56" fmla="*/ 682 w 726"/>
              <a:gd name="T57" fmla="*/ 536 h 726"/>
              <a:gd name="T58" fmla="*/ 710 w 726"/>
              <a:gd name="T59" fmla="*/ 470 h 726"/>
              <a:gd name="T60" fmla="*/ 724 w 726"/>
              <a:gd name="T61" fmla="*/ 400 h 726"/>
              <a:gd name="T62" fmla="*/ 726 w 726"/>
              <a:gd name="T63" fmla="*/ 362 h 726"/>
              <a:gd name="T64" fmla="*/ 718 w 726"/>
              <a:gd name="T65" fmla="*/ 290 h 726"/>
              <a:gd name="T66" fmla="*/ 698 w 726"/>
              <a:gd name="T67" fmla="*/ 222 h 726"/>
              <a:gd name="T68" fmla="*/ 664 w 726"/>
              <a:gd name="T69" fmla="*/ 160 h 726"/>
              <a:gd name="T70" fmla="*/ 620 w 726"/>
              <a:gd name="T71" fmla="*/ 106 h 726"/>
              <a:gd name="T72" fmla="*/ 566 w 726"/>
              <a:gd name="T73" fmla="*/ 62 h 726"/>
              <a:gd name="T74" fmla="*/ 504 w 726"/>
              <a:gd name="T75" fmla="*/ 28 h 726"/>
              <a:gd name="T76" fmla="*/ 436 w 726"/>
              <a:gd name="T77" fmla="*/ 8 h 726"/>
              <a:gd name="T78" fmla="*/ 362 w 726"/>
              <a:gd name="T79" fmla="*/ 0 h 726"/>
              <a:gd name="T80" fmla="*/ 194 w 726"/>
              <a:gd name="T81" fmla="*/ 584 h 726"/>
              <a:gd name="T82" fmla="*/ 206 w 726"/>
              <a:gd name="T83" fmla="*/ 142 h 726"/>
              <a:gd name="T84" fmla="*/ 408 w 726"/>
              <a:gd name="T85" fmla="*/ 142 h 726"/>
              <a:gd name="T86" fmla="*/ 532 w 726"/>
              <a:gd name="T87" fmla="*/ 584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90" y="166"/>
                </a:moveTo>
                <a:lnTo>
                  <a:pt x="218" y="166"/>
                </a:lnTo>
                <a:lnTo>
                  <a:pt x="218" y="560"/>
                </a:lnTo>
                <a:lnTo>
                  <a:pt x="508" y="560"/>
                </a:lnTo>
                <a:lnTo>
                  <a:pt x="508" y="282"/>
                </a:lnTo>
                <a:lnTo>
                  <a:pt x="390" y="282"/>
                </a:lnTo>
                <a:lnTo>
                  <a:pt x="390" y="166"/>
                </a:lnTo>
                <a:close/>
                <a:moveTo>
                  <a:pt x="414" y="182"/>
                </a:moveTo>
                <a:lnTo>
                  <a:pt x="414" y="258"/>
                </a:lnTo>
                <a:lnTo>
                  <a:pt x="490" y="258"/>
                </a:lnTo>
                <a:lnTo>
                  <a:pt x="414" y="18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32" y="584"/>
                </a:moveTo>
                <a:lnTo>
                  <a:pt x="194" y="584"/>
                </a:lnTo>
                <a:lnTo>
                  <a:pt x="194" y="142"/>
                </a:lnTo>
                <a:lnTo>
                  <a:pt x="206" y="142"/>
                </a:lnTo>
                <a:lnTo>
                  <a:pt x="390" y="142"/>
                </a:lnTo>
                <a:lnTo>
                  <a:pt x="408" y="142"/>
                </a:lnTo>
                <a:lnTo>
                  <a:pt x="532" y="266"/>
                </a:lnTo>
                <a:lnTo>
                  <a:pt x="532"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2" name="Freeform 460"/>
          <p:cNvSpPr>
            <a:spLocks noEditPoints="1"/>
          </p:cNvSpPr>
          <p:nvPr userDrawn="1"/>
        </p:nvSpPr>
        <p:spPr bwMode="auto">
          <a:xfrm>
            <a:off x="2897602" y="5415123"/>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572 w 726"/>
              <a:gd name="T27" fmla="*/ 472 h 726"/>
              <a:gd name="T28" fmla="*/ 560 w 726"/>
              <a:gd name="T29" fmla="*/ 504 h 726"/>
              <a:gd name="T30" fmla="*/ 192 w 726"/>
              <a:gd name="T31" fmla="*/ 518 h 726"/>
              <a:gd name="T32" fmla="*/ 160 w 726"/>
              <a:gd name="T33" fmla="*/ 504 h 726"/>
              <a:gd name="T34" fmla="*/ 148 w 726"/>
              <a:gd name="T35" fmla="*/ 288 h 726"/>
              <a:gd name="T36" fmla="*/ 160 w 726"/>
              <a:gd name="T37" fmla="*/ 254 h 726"/>
              <a:gd name="T38" fmla="*/ 224 w 726"/>
              <a:gd name="T39" fmla="*/ 240 h 726"/>
              <a:gd name="T40" fmla="*/ 470 w 726"/>
              <a:gd name="T41" fmla="*/ 114 h 726"/>
              <a:gd name="T42" fmla="*/ 472 w 726"/>
              <a:gd name="T43" fmla="*/ 130 h 726"/>
              <a:gd name="T44" fmla="*/ 432 w 726"/>
              <a:gd name="T45" fmla="*/ 218 h 726"/>
              <a:gd name="T46" fmla="*/ 522 w 726"/>
              <a:gd name="T47" fmla="*/ 240 h 726"/>
              <a:gd name="T48" fmla="*/ 552 w 726"/>
              <a:gd name="T49" fmla="*/ 248 h 726"/>
              <a:gd name="T50" fmla="*/ 572 w 726"/>
              <a:gd name="T51" fmla="*/ 288 h 726"/>
              <a:gd name="T52" fmla="*/ 242 w 726"/>
              <a:gd name="T53" fmla="*/ 294 h 726"/>
              <a:gd name="T54" fmla="*/ 198 w 726"/>
              <a:gd name="T55" fmla="*/ 348 h 726"/>
              <a:gd name="T56" fmla="*/ 210 w 726"/>
              <a:gd name="T57" fmla="*/ 402 h 726"/>
              <a:gd name="T58" fmla="*/ 270 w 726"/>
              <a:gd name="T59" fmla="*/ 434 h 726"/>
              <a:gd name="T60" fmla="*/ 322 w 726"/>
              <a:gd name="T61" fmla="*/ 414 h 726"/>
              <a:gd name="T62" fmla="*/ 342 w 726"/>
              <a:gd name="T63" fmla="*/ 362 h 726"/>
              <a:gd name="T64" fmla="*/ 310 w 726"/>
              <a:gd name="T65" fmla="*/ 302 h 726"/>
              <a:gd name="T66" fmla="*/ 214 w 726"/>
              <a:gd name="T67" fmla="*/ 444 h 726"/>
              <a:gd name="T68" fmla="*/ 200 w 726"/>
              <a:gd name="T69" fmla="*/ 456 h 726"/>
              <a:gd name="T70" fmla="*/ 214 w 726"/>
              <a:gd name="T71" fmla="*/ 468 h 726"/>
              <a:gd name="T72" fmla="*/ 226 w 726"/>
              <a:gd name="T73" fmla="*/ 456 h 726"/>
              <a:gd name="T74" fmla="*/ 326 w 726"/>
              <a:gd name="T75" fmla="*/ 444 h 726"/>
              <a:gd name="T76" fmla="*/ 314 w 726"/>
              <a:gd name="T77" fmla="*/ 456 h 726"/>
              <a:gd name="T78" fmla="*/ 326 w 726"/>
              <a:gd name="T79" fmla="*/ 468 h 726"/>
              <a:gd name="T80" fmla="*/ 338 w 726"/>
              <a:gd name="T81" fmla="*/ 456 h 726"/>
              <a:gd name="T82" fmla="*/ 326 w 726"/>
              <a:gd name="T83" fmla="*/ 444 h 726"/>
              <a:gd name="T84" fmla="*/ 530 w 726"/>
              <a:gd name="T85" fmla="*/ 310 h 726"/>
              <a:gd name="T86" fmla="*/ 530 w 726"/>
              <a:gd name="T87" fmla="*/ 292 h 726"/>
              <a:gd name="T88" fmla="*/ 366 w 726"/>
              <a:gd name="T89" fmla="*/ 290 h 726"/>
              <a:gd name="T90" fmla="*/ 358 w 726"/>
              <a:gd name="T91" fmla="*/ 306 h 726"/>
              <a:gd name="T92" fmla="*/ 370 w 726"/>
              <a:gd name="T93" fmla="*/ 444 h 726"/>
              <a:gd name="T94" fmla="*/ 358 w 726"/>
              <a:gd name="T95" fmla="*/ 456 h 726"/>
              <a:gd name="T96" fmla="*/ 370 w 726"/>
              <a:gd name="T97" fmla="*/ 468 h 726"/>
              <a:gd name="T98" fmla="*/ 534 w 726"/>
              <a:gd name="T99" fmla="*/ 460 h 726"/>
              <a:gd name="T100" fmla="*/ 526 w 726"/>
              <a:gd name="T101" fmla="*/ 444 h 726"/>
              <a:gd name="T102" fmla="*/ 526 w 726"/>
              <a:gd name="T103" fmla="*/ 414 h 726"/>
              <a:gd name="T104" fmla="*/ 534 w 726"/>
              <a:gd name="T105" fmla="*/ 398 h 726"/>
              <a:gd name="T106" fmla="*/ 370 w 726"/>
              <a:gd name="T107" fmla="*/ 390 h 726"/>
              <a:gd name="T108" fmla="*/ 358 w 726"/>
              <a:gd name="T109" fmla="*/ 402 h 726"/>
              <a:gd name="T110" fmla="*/ 522 w 726"/>
              <a:gd name="T111" fmla="*/ 340 h 726"/>
              <a:gd name="T112" fmla="*/ 358 w 726"/>
              <a:gd name="T113" fmla="*/ 346 h 726"/>
              <a:gd name="T114" fmla="*/ 366 w 726"/>
              <a:gd name="T115" fmla="*/ 364 h 726"/>
              <a:gd name="T116" fmla="*/ 530 w 726"/>
              <a:gd name="T117" fmla="*/ 360 h 726"/>
              <a:gd name="T118" fmla="*/ 530 w 726"/>
              <a:gd name="T119" fmla="*/ 34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72" y="472"/>
                </a:moveTo>
                <a:lnTo>
                  <a:pt x="572" y="472"/>
                </a:lnTo>
                <a:lnTo>
                  <a:pt x="572" y="480"/>
                </a:lnTo>
                <a:lnTo>
                  <a:pt x="568" y="490"/>
                </a:lnTo>
                <a:lnTo>
                  <a:pt x="564" y="498"/>
                </a:lnTo>
                <a:lnTo>
                  <a:pt x="560" y="504"/>
                </a:lnTo>
                <a:lnTo>
                  <a:pt x="552" y="510"/>
                </a:lnTo>
                <a:lnTo>
                  <a:pt x="546" y="514"/>
                </a:lnTo>
                <a:lnTo>
                  <a:pt x="536" y="518"/>
                </a:lnTo>
                <a:lnTo>
                  <a:pt x="528" y="518"/>
                </a:lnTo>
                <a:lnTo>
                  <a:pt x="192" y="518"/>
                </a:lnTo>
                <a:lnTo>
                  <a:pt x="184" y="518"/>
                </a:lnTo>
                <a:lnTo>
                  <a:pt x="174" y="514"/>
                </a:lnTo>
                <a:lnTo>
                  <a:pt x="168" y="510"/>
                </a:lnTo>
                <a:lnTo>
                  <a:pt x="160" y="504"/>
                </a:lnTo>
                <a:lnTo>
                  <a:pt x="154" y="498"/>
                </a:lnTo>
                <a:lnTo>
                  <a:pt x="150" y="490"/>
                </a:lnTo>
                <a:lnTo>
                  <a:pt x="148" y="480"/>
                </a:lnTo>
                <a:lnTo>
                  <a:pt x="148" y="472"/>
                </a:lnTo>
                <a:lnTo>
                  <a:pt x="148" y="288"/>
                </a:lnTo>
                <a:lnTo>
                  <a:pt x="148" y="278"/>
                </a:lnTo>
                <a:lnTo>
                  <a:pt x="150" y="270"/>
                </a:lnTo>
                <a:lnTo>
                  <a:pt x="154" y="262"/>
                </a:lnTo>
                <a:lnTo>
                  <a:pt x="160" y="254"/>
                </a:lnTo>
                <a:lnTo>
                  <a:pt x="168" y="248"/>
                </a:lnTo>
                <a:lnTo>
                  <a:pt x="174" y="244"/>
                </a:lnTo>
                <a:lnTo>
                  <a:pt x="184" y="242"/>
                </a:lnTo>
                <a:lnTo>
                  <a:pt x="192" y="240"/>
                </a:lnTo>
                <a:lnTo>
                  <a:pt x="224" y="240"/>
                </a:lnTo>
                <a:lnTo>
                  <a:pt x="458" y="112"/>
                </a:lnTo>
                <a:lnTo>
                  <a:pt x="462" y="112"/>
                </a:lnTo>
                <a:lnTo>
                  <a:pt x="466" y="112"/>
                </a:lnTo>
                <a:lnTo>
                  <a:pt x="470" y="114"/>
                </a:lnTo>
                <a:lnTo>
                  <a:pt x="474" y="118"/>
                </a:lnTo>
                <a:lnTo>
                  <a:pt x="476" y="122"/>
                </a:lnTo>
                <a:lnTo>
                  <a:pt x="474" y="126"/>
                </a:lnTo>
                <a:lnTo>
                  <a:pt x="472" y="130"/>
                </a:lnTo>
                <a:lnTo>
                  <a:pt x="470" y="134"/>
                </a:lnTo>
                <a:lnTo>
                  <a:pt x="276" y="240"/>
                </a:lnTo>
                <a:lnTo>
                  <a:pt x="350" y="240"/>
                </a:lnTo>
                <a:lnTo>
                  <a:pt x="350" y="218"/>
                </a:lnTo>
                <a:lnTo>
                  <a:pt x="432" y="218"/>
                </a:lnTo>
                <a:lnTo>
                  <a:pt x="432" y="240"/>
                </a:lnTo>
                <a:lnTo>
                  <a:pt x="474" y="240"/>
                </a:lnTo>
                <a:lnTo>
                  <a:pt x="474" y="218"/>
                </a:lnTo>
                <a:lnTo>
                  <a:pt x="522" y="218"/>
                </a:lnTo>
                <a:lnTo>
                  <a:pt x="522" y="240"/>
                </a:lnTo>
                <a:lnTo>
                  <a:pt x="528" y="240"/>
                </a:lnTo>
                <a:lnTo>
                  <a:pt x="536" y="242"/>
                </a:lnTo>
                <a:lnTo>
                  <a:pt x="546" y="244"/>
                </a:lnTo>
                <a:lnTo>
                  <a:pt x="552" y="248"/>
                </a:lnTo>
                <a:lnTo>
                  <a:pt x="560" y="254"/>
                </a:lnTo>
                <a:lnTo>
                  <a:pt x="564" y="262"/>
                </a:lnTo>
                <a:lnTo>
                  <a:pt x="568" y="270"/>
                </a:lnTo>
                <a:lnTo>
                  <a:pt x="572" y="278"/>
                </a:lnTo>
                <a:lnTo>
                  <a:pt x="572" y="288"/>
                </a:lnTo>
                <a:lnTo>
                  <a:pt x="572" y="472"/>
                </a:lnTo>
                <a:close/>
                <a:moveTo>
                  <a:pt x="270" y="290"/>
                </a:moveTo>
                <a:lnTo>
                  <a:pt x="270" y="290"/>
                </a:lnTo>
                <a:lnTo>
                  <a:pt x="256" y="290"/>
                </a:lnTo>
                <a:lnTo>
                  <a:pt x="242" y="294"/>
                </a:lnTo>
                <a:lnTo>
                  <a:pt x="230" y="302"/>
                </a:lnTo>
                <a:lnTo>
                  <a:pt x="218" y="310"/>
                </a:lnTo>
                <a:lnTo>
                  <a:pt x="210" y="322"/>
                </a:lnTo>
                <a:lnTo>
                  <a:pt x="204" y="334"/>
                </a:lnTo>
                <a:lnTo>
                  <a:pt x="198" y="348"/>
                </a:lnTo>
                <a:lnTo>
                  <a:pt x="198" y="362"/>
                </a:lnTo>
                <a:lnTo>
                  <a:pt x="198" y="376"/>
                </a:lnTo>
                <a:lnTo>
                  <a:pt x="204" y="390"/>
                </a:lnTo>
                <a:lnTo>
                  <a:pt x="210" y="402"/>
                </a:lnTo>
                <a:lnTo>
                  <a:pt x="218" y="414"/>
                </a:lnTo>
                <a:lnTo>
                  <a:pt x="230" y="422"/>
                </a:lnTo>
                <a:lnTo>
                  <a:pt x="242" y="428"/>
                </a:lnTo>
                <a:lnTo>
                  <a:pt x="256" y="434"/>
                </a:lnTo>
                <a:lnTo>
                  <a:pt x="270" y="434"/>
                </a:lnTo>
                <a:lnTo>
                  <a:pt x="284" y="434"/>
                </a:lnTo>
                <a:lnTo>
                  <a:pt x="298" y="428"/>
                </a:lnTo>
                <a:lnTo>
                  <a:pt x="310" y="422"/>
                </a:lnTo>
                <a:lnTo>
                  <a:pt x="322" y="414"/>
                </a:lnTo>
                <a:lnTo>
                  <a:pt x="330" y="402"/>
                </a:lnTo>
                <a:lnTo>
                  <a:pt x="338" y="390"/>
                </a:lnTo>
                <a:lnTo>
                  <a:pt x="342" y="376"/>
                </a:lnTo>
                <a:lnTo>
                  <a:pt x="342" y="362"/>
                </a:lnTo>
                <a:lnTo>
                  <a:pt x="342" y="348"/>
                </a:lnTo>
                <a:lnTo>
                  <a:pt x="338" y="334"/>
                </a:lnTo>
                <a:lnTo>
                  <a:pt x="330" y="322"/>
                </a:lnTo>
                <a:lnTo>
                  <a:pt x="322" y="310"/>
                </a:lnTo>
                <a:lnTo>
                  <a:pt x="310" y="302"/>
                </a:lnTo>
                <a:lnTo>
                  <a:pt x="298" y="294"/>
                </a:lnTo>
                <a:lnTo>
                  <a:pt x="284" y="290"/>
                </a:lnTo>
                <a:lnTo>
                  <a:pt x="270" y="290"/>
                </a:lnTo>
                <a:close/>
                <a:moveTo>
                  <a:pt x="214" y="444"/>
                </a:moveTo>
                <a:lnTo>
                  <a:pt x="214" y="444"/>
                </a:lnTo>
                <a:lnTo>
                  <a:pt x="208" y="444"/>
                </a:lnTo>
                <a:lnTo>
                  <a:pt x="204" y="448"/>
                </a:lnTo>
                <a:lnTo>
                  <a:pt x="202" y="452"/>
                </a:lnTo>
                <a:lnTo>
                  <a:pt x="200" y="456"/>
                </a:lnTo>
                <a:lnTo>
                  <a:pt x="202" y="460"/>
                </a:lnTo>
                <a:lnTo>
                  <a:pt x="204" y="464"/>
                </a:lnTo>
                <a:lnTo>
                  <a:pt x="208" y="468"/>
                </a:lnTo>
                <a:lnTo>
                  <a:pt x="214" y="468"/>
                </a:lnTo>
                <a:lnTo>
                  <a:pt x="218" y="468"/>
                </a:lnTo>
                <a:lnTo>
                  <a:pt x="222" y="464"/>
                </a:lnTo>
                <a:lnTo>
                  <a:pt x="224" y="460"/>
                </a:lnTo>
                <a:lnTo>
                  <a:pt x="226" y="456"/>
                </a:lnTo>
                <a:lnTo>
                  <a:pt x="224" y="452"/>
                </a:lnTo>
                <a:lnTo>
                  <a:pt x="222" y="448"/>
                </a:lnTo>
                <a:lnTo>
                  <a:pt x="218" y="444"/>
                </a:lnTo>
                <a:lnTo>
                  <a:pt x="214" y="444"/>
                </a:lnTo>
                <a:close/>
                <a:moveTo>
                  <a:pt x="326" y="444"/>
                </a:moveTo>
                <a:lnTo>
                  <a:pt x="326" y="444"/>
                </a:lnTo>
                <a:lnTo>
                  <a:pt x="322" y="444"/>
                </a:lnTo>
                <a:lnTo>
                  <a:pt x="318" y="448"/>
                </a:lnTo>
                <a:lnTo>
                  <a:pt x="316" y="452"/>
                </a:lnTo>
                <a:lnTo>
                  <a:pt x="314" y="456"/>
                </a:lnTo>
                <a:lnTo>
                  <a:pt x="316" y="460"/>
                </a:lnTo>
                <a:lnTo>
                  <a:pt x="318" y="464"/>
                </a:lnTo>
                <a:lnTo>
                  <a:pt x="322" y="468"/>
                </a:lnTo>
                <a:lnTo>
                  <a:pt x="326" y="468"/>
                </a:lnTo>
                <a:lnTo>
                  <a:pt x="332" y="468"/>
                </a:lnTo>
                <a:lnTo>
                  <a:pt x="336" y="464"/>
                </a:lnTo>
                <a:lnTo>
                  <a:pt x="338" y="460"/>
                </a:lnTo>
                <a:lnTo>
                  <a:pt x="338" y="456"/>
                </a:lnTo>
                <a:lnTo>
                  <a:pt x="338" y="452"/>
                </a:lnTo>
                <a:lnTo>
                  <a:pt x="336" y="448"/>
                </a:lnTo>
                <a:lnTo>
                  <a:pt x="332" y="444"/>
                </a:lnTo>
                <a:lnTo>
                  <a:pt x="326" y="444"/>
                </a:lnTo>
                <a:close/>
                <a:moveTo>
                  <a:pt x="370" y="314"/>
                </a:moveTo>
                <a:lnTo>
                  <a:pt x="522" y="314"/>
                </a:lnTo>
                <a:lnTo>
                  <a:pt x="526" y="312"/>
                </a:lnTo>
                <a:lnTo>
                  <a:pt x="530" y="310"/>
                </a:lnTo>
                <a:lnTo>
                  <a:pt x="534" y="306"/>
                </a:lnTo>
                <a:lnTo>
                  <a:pt x="534" y="302"/>
                </a:lnTo>
                <a:lnTo>
                  <a:pt x="534" y="296"/>
                </a:lnTo>
                <a:lnTo>
                  <a:pt x="530" y="292"/>
                </a:lnTo>
                <a:lnTo>
                  <a:pt x="526" y="290"/>
                </a:lnTo>
                <a:lnTo>
                  <a:pt x="522" y="290"/>
                </a:lnTo>
                <a:lnTo>
                  <a:pt x="370" y="290"/>
                </a:lnTo>
                <a:lnTo>
                  <a:pt x="366" y="290"/>
                </a:lnTo>
                <a:lnTo>
                  <a:pt x="362" y="292"/>
                </a:lnTo>
                <a:lnTo>
                  <a:pt x="358" y="296"/>
                </a:lnTo>
                <a:lnTo>
                  <a:pt x="358" y="302"/>
                </a:lnTo>
                <a:lnTo>
                  <a:pt x="358" y="306"/>
                </a:lnTo>
                <a:lnTo>
                  <a:pt x="362" y="310"/>
                </a:lnTo>
                <a:lnTo>
                  <a:pt x="366" y="312"/>
                </a:lnTo>
                <a:lnTo>
                  <a:pt x="370" y="314"/>
                </a:lnTo>
                <a:close/>
                <a:moveTo>
                  <a:pt x="522" y="444"/>
                </a:moveTo>
                <a:lnTo>
                  <a:pt x="370" y="444"/>
                </a:lnTo>
                <a:lnTo>
                  <a:pt x="366" y="444"/>
                </a:lnTo>
                <a:lnTo>
                  <a:pt x="362" y="448"/>
                </a:lnTo>
                <a:lnTo>
                  <a:pt x="358" y="452"/>
                </a:lnTo>
                <a:lnTo>
                  <a:pt x="358" y="456"/>
                </a:lnTo>
                <a:lnTo>
                  <a:pt x="358" y="460"/>
                </a:lnTo>
                <a:lnTo>
                  <a:pt x="362" y="464"/>
                </a:lnTo>
                <a:lnTo>
                  <a:pt x="366" y="468"/>
                </a:lnTo>
                <a:lnTo>
                  <a:pt x="370" y="468"/>
                </a:lnTo>
                <a:lnTo>
                  <a:pt x="522" y="468"/>
                </a:lnTo>
                <a:lnTo>
                  <a:pt x="526" y="468"/>
                </a:lnTo>
                <a:lnTo>
                  <a:pt x="530" y="464"/>
                </a:lnTo>
                <a:lnTo>
                  <a:pt x="534" y="460"/>
                </a:lnTo>
                <a:lnTo>
                  <a:pt x="534" y="456"/>
                </a:lnTo>
                <a:lnTo>
                  <a:pt x="534" y="452"/>
                </a:lnTo>
                <a:lnTo>
                  <a:pt x="530" y="448"/>
                </a:lnTo>
                <a:lnTo>
                  <a:pt x="526" y="444"/>
                </a:lnTo>
                <a:lnTo>
                  <a:pt x="522" y="444"/>
                </a:lnTo>
                <a:close/>
                <a:moveTo>
                  <a:pt x="370" y="414"/>
                </a:moveTo>
                <a:lnTo>
                  <a:pt x="522" y="414"/>
                </a:lnTo>
                <a:lnTo>
                  <a:pt x="526" y="414"/>
                </a:lnTo>
                <a:lnTo>
                  <a:pt x="530" y="410"/>
                </a:lnTo>
                <a:lnTo>
                  <a:pt x="534" y="406"/>
                </a:lnTo>
                <a:lnTo>
                  <a:pt x="534" y="402"/>
                </a:lnTo>
                <a:lnTo>
                  <a:pt x="534" y="398"/>
                </a:lnTo>
                <a:lnTo>
                  <a:pt x="530" y="394"/>
                </a:lnTo>
                <a:lnTo>
                  <a:pt x="526" y="390"/>
                </a:lnTo>
                <a:lnTo>
                  <a:pt x="522" y="390"/>
                </a:lnTo>
                <a:lnTo>
                  <a:pt x="370" y="390"/>
                </a:lnTo>
                <a:lnTo>
                  <a:pt x="366" y="390"/>
                </a:lnTo>
                <a:lnTo>
                  <a:pt x="362" y="394"/>
                </a:lnTo>
                <a:lnTo>
                  <a:pt x="358" y="398"/>
                </a:lnTo>
                <a:lnTo>
                  <a:pt x="358" y="402"/>
                </a:lnTo>
                <a:lnTo>
                  <a:pt x="358" y="406"/>
                </a:lnTo>
                <a:lnTo>
                  <a:pt x="362" y="410"/>
                </a:lnTo>
                <a:lnTo>
                  <a:pt x="366" y="414"/>
                </a:lnTo>
                <a:lnTo>
                  <a:pt x="370" y="414"/>
                </a:lnTo>
                <a:close/>
                <a:moveTo>
                  <a:pt x="522" y="340"/>
                </a:moveTo>
                <a:lnTo>
                  <a:pt x="370" y="340"/>
                </a:lnTo>
                <a:lnTo>
                  <a:pt x="366" y="340"/>
                </a:lnTo>
                <a:lnTo>
                  <a:pt x="362" y="344"/>
                </a:lnTo>
                <a:lnTo>
                  <a:pt x="358" y="346"/>
                </a:lnTo>
                <a:lnTo>
                  <a:pt x="358" y="352"/>
                </a:lnTo>
                <a:lnTo>
                  <a:pt x="358" y="356"/>
                </a:lnTo>
                <a:lnTo>
                  <a:pt x="362" y="360"/>
                </a:lnTo>
                <a:lnTo>
                  <a:pt x="366" y="364"/>
                </a:lnTo>
                <a:lnTo>
                  <a:pt x="370" y="364"/>
                </a:lnTo>
                <a:lnTo>
                  <a:pt x="522" y="364"/>
                </a:lnTo>
                <a:lnTo>
                  <a:pt x="526" y="364"/>
                </a:lnTo>
                <a:lnTo>
                  <a:pt x="530" y="360"/>
                </a:lnTo>
                <a:lnTo>
                  <a:pt x="534" y="356"/>
                </a:lnTo>
                <a:lnTo>
                  <a:pt x="534" y="352"/>
                </a:lnTo>
                <a:lnTo>
                  <a:pt x="534" y="346"/>
                </a:lnTo>
                <a:lnTo>
                  <a:pt x="530" y="344"/>
                </a:lnTo>
                <a:lnTo>
                  <a:pt x="526" y="340"/>
                </a:lnTo>
                <a:lnTo>
                  <a:pt x="522" y="3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grpSp>
        <p:nvGrpSpPr>
          <p:cNvPr id="23" name="Group 22"/>
          <p:cNvGrpSpPr/>
          <p:nvPr userDrawn="1"/>
        </p:nvGrpSpPr>
        <p:grpSpPr>
          <a:xfrm>
            <a:off x="270000" y="5415123"/>
            <a:ext cx="1080000" cy="1080000"/>
            <a:chOff x="3276600" y="500063"/>
            <a:chExt cx="1144588" cy="1144587"/>
          </a:xfrm>
          <a:solidFill>
            <a:srgbClr val="000000"/>
          </a:solidFill>
        </p:grpSpPr>
        <p:sp>
          <p:nvSpPr>
            <p:cNvPr id="24" name="Rectangle 15">
              <a:extLst>
                <a:ext uri="{FF2B5EF4-FFF2-40B4-BE49-F238E27FC236}">
                  <a16:creationId xmlns:a16="http://schemas.microsoft.com/office/drawing/2014/main" id="{3AE2E2CB-9DB0-4406-A276-D6F9BE57A5C6}"/>
                </a:ext>
              </a:extLst>
            </p:cNvPr>
            <p:cNvSpPr>
              <a:spLocks noChangeArrowheads="1"/>
            </p:cNvSpPr>
            <p:nvPr/>
          </p:nvSpPr>
          <p:spPr bwMode="auto">
            <a:xfrm>
              <a:off x="3554413" y="966788"/>
              <a:ext cx="125413" cy="428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6">
              <a:extLst>
                <a:ext uri="{FF2B5EF4-FFF2-40B4-BE49-F238E27FC236}">
                  <a16:creationId xmlns:a16="http://schemas.microsoft.com/office/drawing/2014/main" id="{EB12FF2A-E5CA-4FF2-86DC-176AF2736D70}"/>
                </a:ext>
              </a:extLst>
            </p:cNvPr>
            <p:cNvSpPr>
              <a:spLocks/>
            </p:cNvSpPr>
            <p:nvPr/>
          </p:nvSpPr>
          <p:spPr bwMode="auto">
            <a:xfrm>
              <a:off x="3552825" y="1220788"/>
              <a:ext cx="41275" cy="41275"/>
            </a:xfrm>
            <a:custGeom>
              <a:avLst/>
              <a:gdLst>
                <a:gd name="T0" fmla="*/ 27 w 53"/>
                <a:gd name="T1" fmla="*/ 0 h 52"/>
                <a:gd name="T2" fmla="*/ 27 w 53"/>
                <a:gd name="T3" fmla="*/ 0 h 52"/>
                <a:gd name="T4" fmla="*/ 22 w 53"/>
                <a:gd name="T5" fmla="*/ 0 h 52"/>
                <a:gd name="T6" fmla="*/ 17 w 53"/>
                <a:gd name="T7" fmla="*/ 1 h 52"/>
                <a:gd name="T8" fmla="*/ 9 w 53"/>
                <a:gd name="T9" fmla="*/ 6 h 52"/>
                <a:gd name="T10" fmla="*/ 2 w 53"/>
                <a:gd name="T11" fmla="*/ 16 h 52"/>
                <a:gd name="T12" fmla="*/ 0 w 53"/>
                <a:gd name="T13" fmla="*/ 21 h 52"/>
                <a:gd name="T14" fmla="*/ 0 w 53"/>
                <a:gd name="T15" fmla="*/ 26 h 52"/>
                <a:gd name="T16" fmla="*/ 0 w 53"/>
                <a:gd name="T17" fmla="*/ 26 h 52"/>
                <a:gd name="T18" fmla="*/ 0 w 53"/>
                <a:gd name="T19" fmla="*/ 31 h 52"/>
                <a:gd name="T20" fmla="*/ 2 w 53"/>
                <a:gd name="T21" fmla="*/ 35 h 52"/>
                <a:gd name="T22" fmla="*/ 9 w 53"/>
                <a:gd name="T23" fmla="*/ 44 h 52"/>
                <a:gd name="T24" fmla="*/ 17 w 53"/>
                <a:gd name="T25" fmla="*/ 50 h 52"/>
                <a:gd name="T26" fmla="*/ 22 w 53"/>
                <a:gd name="T27" fmla="*/ 52 h 52"/>
                <a:gd name="T28" fmla="*/ 27 w 53"/>
                <a:gd name="T29" fmla="*/ 52 h 52"/>
                <a:gd name="T30" fmla="*/ 27 w 53"/>
                <a:gd name="T31" fmla="*/ 52 h 52"/>
                <a:gd name="T32" fmla="*/ 31 w 53"/>
                <a:gd name="T33" fmla="*/ 52 h 52"/>
                <a:gd name="T34" fmla="*/ 36 w 53"/>
                <a:gd name="T35" fmla="*/ 50 h 52"/>
                <a:gd name="T36" fmla="*/ 44 w 53"/>
                <a:gd name="T37" fmla="*/ 44 h 52"/>
                <a:gd name="T38" fmla="*/ 51 w 53"/>
                <a:gd name="T39" fmla="*/ 35 h 52"/>
                <a:gd name="T40" fmla="*/ 53 w 53"/>
                <a:gd name="T41" fmla="*/ 31 h 52"/>
                <a:gd name="T42" fmla="*/ 53 w 53"/>
                <a:gd name="T43" fmla="*/ 26 h 52"/>
                <a:gd name="T44" fmla="*/ 53 w 53"/>
                <a:gd name="T45" fmla="*/ 26 h 52"/>
                <a:gd name="T46" fmla="*/ 53 w 53"/>
                <a:gd name="T47" fmla="*/ 21 h 52"/>
                <a:gd name="T48" fmla="*/ 51 w 53"/>
                <a:gd name="T49" fmla="*/ 16 h 52"/>
                <a:gd name="T50" fmla="*/ 44 w 53"/>
                <a:gd name="T51" fmla="*/ 6 h 52"/>
                <a:gd name="T52" fmla="*/ 36 w 53"/>
                <a:gd name="T53" fmla="*/ 1 h 52"/>
                <a:gd name="T54" fmla="*/ 31 w 53"/>
                <a:gd name="T55" fmla="*/ 0 h 52"/>
                <a:gd name="T56" fmla="*/ 27 w 53"/>
                <a:gd name="T57" fmla="*/ 0 h 52"/>
                <a:gd name="T58" fmla="*/ 27 w 53"/>
                <a:gd name="T5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52">
                  <a:moveTo>
                    <a:pt x="27" y="0"/>
                  </a:moveTo>
                  <a:lnTo>
                    <a:pt x="27" y="0"/>
                  </a:lnTo>
                  <a:lnTo>
                    <a:pt x="22" y="0"/>
                  </a:lnTo>
                  <a:lnTo>
                    <a:pt x="17" y="1"/>
                  </a:lnTo>
                  <a:lnTo>
                    <a:pt x="9" y="6"/>
                  </a:lnTo>
                  <a:lnTo>
                    <a:pt x="2" y="16"/>
                  </a:lnTo>
                  <a:lnTo>
                    <a:pt x="0" y="21"/>
                  </a:lnTo>
                  <a:lnTo>
                    <a:pt x="0" y="26"/>
                  </a:lnTo>
                  <a:lnTo>
                    <a:pt x="0" y="26"/>
                  </a:lnTo>
                  <a:lnTo>
                    <a:pt x="0" y="31"/>
                  </a:lnTo>
                  <a:lnTo>
                    <a:pt x="2" y="35"/>
                  </a:lnTo>
                  <a:lnTo>
                    <a:pt x="9" y="44"/>
                  </a:lnTo>
                  <a:lnTo>
                    <a:pt x="17" y="50"/>
                  </a:lnTo>
                  <a:lnTo>
                    <a:pt x="22" y="52"/>
                  </a:lnTo>
                  <a:lnTo>
                    <a:pt x="27" y="52"/>
                  </a:lnTo>
                  <a:lnTo>
                    <a:pt x="27" y="52"/>
                  </a:lnTo>
                  <a:lnTo>
                    <a:pt x="31" y="52"/>
                  </a:lnTo>
                  <a:lnTo>
                    <a:pt x="36" y="50"/>
                  </a:lnTo>
                  <a:lnTo>
                    <a:pt x="44" y="44"/>
                  </a:lnTo>
                  <a:lnTo>
                    <a:pt x="51" y="35"/>
                  </a:lnTo>
                  <a:lnTo>
                    <a:pt x="53" y="31"/>
                  </a:lnTo>
                  <a:lnTo>
                    <a:pt x="53" y="26"/>
                  </a:lnTo>
                  <a:lnTo>
                    <a:pt x="53" y="26"/>
                  </a:lnTo>
                  <a:lnTo>
                    <a:pt x="53" y="21"/>
                  </a:lnTo>
                  <a:lnTo>
                    <a:pt x="51" y="16"/>
                  </a:lnTo>
                  <a:lnTo>
                    <a:pt x="44" y="6"/>
                  </a:lnTo>
                  <a:lnTo>
                    <a:pt x="36" y="1"/>
                  </a:lnTo>
                  <a:lnTo>
                    <a:pt x="31" y="0"/>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17">
              <a:extLst>
                <a:ext uri="{FF2B5EF4-FFF2-40B4-BE49-F238E27FC236}">
                  <a16:creationId xmlns:a16="http://schemas.microsoft.com/office/drawing/2014/main" id="{A010ABEC-B195-4607-965B-05898C078D84}"/>
                </a:ext>
              </a:extLst>
            </p:cNvPr>
            <p:cNvSpPr>
              <a:spLocks noEditPoints="1"/>
            </p:cNvSpPr>
            <p:nvPr/>
          </p:nvSpPr>
          <p:spPr bwMode="auto">
            <a:xfrm>
              <a:off x="3276600" y="500063"/>
              <a:ext cx="1144588" cy="1144587"/>
            </a:xfrm>
            <a:custGeom>
              <a:avLst/>
              <a:gdLst>
                <a:gd name="T0" fmla="*/ 612 w 1442"/>
                <a:gd name="T1" fmla="*/ 8 h 1442"/>
                <a:gd name="T2" fmla="*/ 440 w 1442"/>
                <a:gd name="T3" fmla="*/ 57 h 1442"/>
                <a:gd name="T4" fmla="*/ 290 w 1442"/>
                <a:gd name="T5" fmla="*/ 144 h 1442"/>
                <a:gd name="T6" fmla="*/ 165 w 1442"/>
                <a:gd name="T7" fmla="*/ 263 h 1442"/>
                <a:gd name="T8" fmla="*/ 72 w 1442"/>
                <a:gd name="T9" fmla="*/ 408 h 1442"/>
                <a:gd name="T10" fmla="*/ 15 w 1442"/>
                <a:gd name="T11" fmla="*/ 576 h 1442"/>
                <a:gd name="T12" fmla="*/ 0 w 1442"/>
                <a:gd name="T13" fmla="*/ 721 h 1442"/>
                <a:gd name="T14" fmla="*/ 23 w 1442"/>
                <a:gd name="T15" fmla="*/ 900 h 1442"/>
                <a:gd name="T16" fmla="*/ 86 w 1442"/>
                <a:gd name="T17" fmla="*/ 1065 h 1442"/>
                <a:gd name="T18" fmla="*/ 188 w 1442"/>
                <a:gd name="T19" fmla="*/ 1205 h 1442"/>
                <a:gd name="T20" fmla="*/ 318 w 1442"/>
                <a:gd name="T21" fmla="*/ 1320 h 1442"/>
                <a:gd name="T22" fmla="*/ 473 w 1442"/>
                <a:gd name="T23" fmla="*/ 1398 h 1442"/>
                <a:gd name="T24" fmla="*/ 648 w 1442"/>
                <a:gd name="T25" fmla="*/ 1439 h 1442"/>
                <a:gd name="T26" fmla="*/ 794 w 1442"/>
                <a:gd name="T27" fmla="*/ 1439 h 1442"/>
                <a:gd name="T28" fmla="*/ 969 w 1442"/>
                <a:gd name="T29" fmla="*/ 1398 h 1442"/>
                <a:gd name="T30" fmla="*/ 1124 w 1442"/>
                <a:gd name="T31" fmla="*/ 1320 h 1442"/>
                <a:gd name="T32" fmla="*/ 1254 w 1442"/>
                <a:gd name="T33" fmla="*/ 1205 h 1442"/>
                <a:gd name="T34" fmla="*/ 1356 w 1442"/>
                <a:gd name="T35" fmla="*/ 1065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3 h 1442"/>
                <a:gd name="T46" fmla="*/ 1153 w 1442"/>
                <a:gd name="T47" fmla="*/ 144 h 1442"/>
                <a:gd name="T48" fmla="*/ 1002 w 1442"/>
                <a:gd name="T49" fmla="*/ 57 h 1442"/>
                <a:gd name="T50" fmla="*/ 830 w 1442"/>
                <a:gd name="T51" fmla="*/ 8 h 1442"/>
                <a:gd name="T52" fmla="*/ 943 w 1442"/>
                <a:gd name="T53" fmla="*/ 1121 h 1442"/>
                <a:gd name="T54" fmla="*/ 773 w 1442"/>
                <a:gd name="T55" fmla="*/ 1121 h 1442"/>
                <a:gd name="T56" fmla="*/ 604 w 1442"/>
                <a:gd name="T57" fmla="*/ 1121 h 1442"/>
                <a:gd name="T58" fmla="*/ 602 w 1442"/>
                <a:gd name="T59" fmla="*/ 1112 h 1442"/>
                <a:gd name="T60" fmla="*/ 672 w 1442"/>
                <a:gd name="T61" fmla="*/ 1059 h 1442"/>
                <a:gd name="T62" fmla="*/ 693 w 1442"/>
                <a:gd name="T63" fmla="*/ 1026 h 1442"/>
                <a:gd name="T64" fmla="*/ 695 w 1442"/>
                <a:gd name="T65" fmla="*/ 985 h 1442"/>
                <a:gd name="T66" fmla="*/ 718 w 1442"/>
                <a:gd name="T67" fmla="*/ 962 h 1442"/>
                <a:gd name="T68" fmla="*/ 824 w 1442"/>
                <a:gd name="T69" fmla="*/ 962 h 1442"/>
                <a:gd name="T70" fmla="*/ 847 w 1442"/>
                <a:gd name="T71" fmla="*/ 969 h 1442"/>
                <a:gd name="T72" fmla="*/ 853 w 1442"/>
                <a:gd name="T73" fmla="*/ 1013 h 1442"/>
                <a:gd name="T74" fmla="*/ 856 w 1442"/>
                <a:gd name="T75" fmla="*/ 1034 h 1442"/>
                <a:gd name="T76" fmla="*/ 889 w 1442"/>
                <a:gd name="T77" fmla="*/ 1068 h 1442"/>
                <a:gd name="T78" fmla="*/ 951 w 1442"/>
                <a:gd name="T79" fmla="*/ 1117 h 1442"/>
                <a:gd name="T80" fmla="*/ 1147 w 1442"/>
                <a:gd name="T81" fmla="*/ 889 h 1442"/>
                <a:gd name="T82" fmla="*/ 1134 w 1442"/>
                <a:gd name="T83" fmla="*/ 920 h 1442"/>
                <a:gd name="T84" fmla="*/ 563 w 1442"/>
                <a:gd name="T85" fmla="*/ 931 h 1442"/>
                <a:gd name="T86" fmla="*/ 553 w 1442"/>
                <a:gd name="T87" fmla="*/ 1099 h 1442"/>
                <a:gd name="T88" fmla="*/ 511 w 1442"/>
                <a:gd name="T89" fmla="*/ 1122 h 1442"/>
                <a:gd name="T90" fmla="*/ 318 w 1442"/>
                <a:gd name="T91" fmla="*/ 1114 h 1442"/>
                <a:gd name="T92" fmla="*/ 295 w 1442"/>
                <a:gd name="T93" fmla="*/ 1070 h 1442"/>
                <a:gd name="T94" fmla="*/ 305 w 1442"/>
                <a:gd name="T95" fmla="*/ 450 h 1442"/>
                <a:gd name="T96" fmla="*/ 347 w 1442"/>
                <a:gd name="T97" fmla="*/ 427 h 1442"/>
                <a:gd name="T98" fmla="*/ 405 w 1442"/>
                <a:gd name="T99" fmla="*/ 346 h 1442"/>
                <a:gd name="T100" fmla="*/ 434 w 1442"/>
                <a:gd name="T101" fmla="*/ 320 h 1442"/>
                <a:gd name="T102" fmla="*/ 1121 w 1442"/>
                <a:gd name="T103" fmla="*/ 323 h 1442"/>
                <a:gd name="T104" fmla="*/ 1147 w 1442"/>
                <a:gd name="T105" fmla="*/ 35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0"/>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20"/>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20"/>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2"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2"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0"/>
                  </a:lnTo>
                  <a:lnTo>
                    <a:pt x="1002" y="57"/>
                  </a:lnTo>
                  <a:lnTo>
                    <a:pt x="969" y="44"/>
                  </a:lnTo>
                  <a:lnTo>
                    <a:pt x="935" y="33"/>
                  </a:lnTo>
                  <a:lnTo>
                    <a:pt x="902" y="23"/>
                  </a:lnTo>
                  <a:lnTo>
                    <a:pt x="866" y="15"/>
                  </a:lnTo>
                  <a:lnTo>
                    <a:pt x="830" y="8"/>
                  </a:lnTo>
                  <a:lnTo>
                    <a:pt x="794" y="3"/>
                  </a:lnTo>
                  <a:lnTo>
                    <a:pt x="759" y="0"/>
                  </a:lnTo>
                  <a:lnTo>
                    <a:pt x="721" y="0"/>
                  </a:lnTo>
                  <a:lnTo>
                    <a:pt x="721" y="0"/>
                  </a:lnTo>
                  <a:close/>
                  <a:moveTo>
                    <a:pt x="943" y="1121"/>
                  </a:moveTo>
                  <a:lnTo>
                    <a:pt x="943" y="1121"/>
                  </a:lnTo>
                  <a:lnTo>
                    <a:pt x="824" y="1121"/>
                  </a:lnTo>
                  <a:lnTo>
                    <a:pt x="824" y="1121"/>
                  </a:lnTo>
                  <a:lnTo>
                    <a:pt x="773" y="1121"/>
                  </a:lnTo>
                  <a:lnTo>
                    <a:pt x="773" y="1121"/>
                  </a:lnTo>
                  <a:lnTo>
                    <a:pt x="723" y="1121"/>
                  </a:lnTo>
                  <a:lnTo>
                    <a:pt x="723" y="1121"/>
                  </a:lnTo>
                  <a:lnTo>
                    <a:pt x="723" y="1121"/>
                  </a:lnTo>
                  <a:lnTo>
                    <a:pt x="604" y="1121"/>
                  </a:lnTo>
                  <a:lnTo>
                    <a:pt x="604" y="1121"/>
                  </a:lnTo>
                  <a:lnTo>
                    <a:pt x="600" y="1121"/>
                  </a:lnTo>
                  <a:lnTo>
                    <a:pt x="597" y="1119"/>
                  </a:lnTo>
                  <a:lnTo>
                    <a:pt x="597" y="1117"/>
                  </a:lnTo>
                  <a:lnTo>
                    <a:pt x="599" y="1116"/>
                  </a:lnTo>
                  <a:lnTo>
                    <a:pt x="602" y="1112"/>
                  </a:lnTo>
                  <a:lnTo>
                    <a:pt x="604" y="1111"/>
                  </a:lnTo>
                  <a:lnTo>
                    <a:pt x="604" y="1111"/>
                  </a:lnTo>
                  <a:lnTo>
                    <a:pt x="657" y="1068"/>
                  </a:lnTo>
                  <a:lnTo>
                    <a:pt x="657" y="1068"/>
                  </a:lnTo>
                  <a:lnTo>
                    <a:pt x="672" y="1059"/>
                  </a:lnTo>
                  <a:lnTo>
                    <a:pt x="680" y="1051"/>
                  </a:lnTo>
                  <a:lnTo>
                    <a:pt x="685" y="1042"/>
                  </a:lnTo>
                  <a:lnTo>
                    <a:pt x="690" y="1034"/>
                  </a:lnTo>
                  <a:lnTo>
                    <a:pt x="690" y="1034"/>
                  </a:lnTo>
                  <a:lnTo>
                    <a:pt x="693" y="1026"/>
                  </a:lnTo>
                  <a:lnTo>
                    <a:pt x="695" y="1020"/>
                  </a:lnTo>
                  <a:lnTo>
                    <a:pt x="695" y="1013"/>
                  </a:lnTo>
                  <a:lnTo>
                    <a:pt x="695" y="1013"/>
                  </a:lnTo>
                  <a:lnTo>
                    <a:pt x="695" y="1013"/>
                  </a:lnTo>
                  <a:lnTo>
                    <a:pt x="695" y="985"/>
                  </a:lnTo>
                  <a:lnTo>
                    <a:pt x="695" y="985"/>
                  </a:lnTo>
                  <a:lnTo>
                    <a:pt x="697" y="975"/>
                  </a:lnTo>
                  <a:lnTo>
                    <a:pt x="701" y="969"/>
                  </a:lnTo>
                  <a:lnTo>
                    <a:pt x="710" y="964"/>
                  </a:lnTo>
                  <a:lnTo>
                    <a:pt x="718" y="962"/>
                  </a:lnTo>
                  <a:lnTo>
                    <a:pt x="723" y="962"/>
                  </a:lnTo>
                  <a:lnTo>
                    <a:pt x="723" y="962"/>
                  </a:lnTo>
                  <a:lnTo>
                    <a:pt x="773" y="962"/>
                  </a:lnTo>
                  <a:lnTo>
                    <a:pt x="773" y="962"/>
                  </a:lnTo>
                  <a:lnTo>
                    <a:pt x="824" y="962"/>
                  </a:lnTo>
                  <a:lnTo>
                    <a:pt x="824" y="962"/>
                  </a:lnTo>
                  <a:lnTo>
                    <a:pt x="829" y="962"/>
                  </a:lnTo>
                  <a:lnTo>
                    <a:pt x="829" y="962"/>
                  </a:lnTo>
                  <a:lnTo>
                    <a:pt x="838" y="964"/>
                  </a:lnTo>
                  <a:lnTo>
                    <a:pt x="847" y="969"/>
                  </a:lnTo>
                  <a:lnTo>
                    <a:pt x="851" y="975"/>
                  </a:lnTo>
                  <a:lnTo>
                    <a:pt x="853" y="985"/>
                  </a:lnTo>
                  <a:lnTo>
                    <a:pt x="853" y="1013"/>
                  </a:lnTo>
                  <a:lnTo>
                    <a:pt x="853" y="1013"/>
                  </a:lnTo>
                  <a:lnTo>
                    <a:pt x="853" y="1013"/>
                  </a:lnTo>
                  <a:lnTo>
                    <a:pt x="853" y="1020"/>
                  </a:lnTo>
                  <a:lnTo>
                    <a:pt x="853" y="1020"/>
                  </a:lnTo>
                  <a:lnTo>
                    <a:pt x="855" y="1026"/>
                  </a:lnTo>
                  <a:lnTo>
                    <a:pt x="856" y="1034"/>
                  </a:lnTo>
                  <a:lnTo>
                    <a:pt x="856" y="1034"/>
                  </a:lnTo>
                  <a:lnTo>
                    <a:pt x="861" y="1042"/>
                  </a:lnTo>
                  <a:lnTo>
                    <a:pt x="868" y="1051"/>
                  </a:lnTo>
                  <a:lnTo>
                    <a:pt x="876" y="1059"/>
                  </a:lnTo>
                  <a:lnTo>
                    <a:pt x="889" y="1068"/>
                  </a:lnTo>
                  <a:lnTo>
                    <a:pt x="889" y="1068"/>
                  </a:lnTo>
                  <a:lnTo>
                    <a:pt x="943" y="1111"/>
                  </a:lnTo>
                  <a:lnTo>
                    <a:pt x="943" y="1111"/>
                  </a:lnTo>
                  <a:lnTo>
                    <a:pt x="946" y="1112"/>
                  </a:lnTo>
                  <a:lnTo>
                    <a:pt x="949" y="1116"/>
                  </a:lnTo>
                  <a:lnTo>
                    <a:pt x="951" y="1117"/>
                  </a:lnTo>
                  <a:lnTo>
                    <a:pt x="949" y="1119"/>
                  </a:lnTo>
                  <a:lnTo>
                    <a:pt x="948" y="1121"/>
                  </a:lnTo>
                  <a:lnTo>
                    <a:pt x="943" y="1121"/>
                  </a:lnTo>
                  <a:lnTo>
                    <a:pt x="943" y="1121"/>
                  </a:lnTo>
                  <a:close/>
                  <a:moveTo>
                    <a:pt x="1147" y="889"/>
                  </a:moveTo>
                  <a:lnTo>
                    <a:pt x="1147" y="889"/>
                  </a:lnTo>
                  <a:lnTo>
                    <a:pt x="1147" y="897"/>
                  </a:lnTo>
                  <a:lnTo>
                    <a:pt x="1143" y="905"/>
                  </a:lnTo>
                  <a:lnTo>
                    <a:pt x="1140" y="913"/>
                  </a:lnTo>
                  <a:lnTo>
                    <a:pt x="1134" y="920"/>
                  </a:lnTo>
                  <a:lnTo>
                    <a:pt x="1129" y="925"/>
                  </a:lnTo>
                  <a:lnTo>
                    <a:pt x="1121" y="928"/>
                  </a:lnTo>
                  <a:lnTo>
                    <a:pt x="1112" y="931"/>
                  </a:lnTo>
                  <a:lnTo>
                    <a:pt x="1104" y="931"/>
                  </a:lnTo>
                  <a:lnTo>
                    <a:pt x="563" y="931"/>
                  </a:lnTo>
                  <a:lnTo>
                    <a:pt x="563" y="1070"/>
                  </a:lnTo>
                  <a:lnTo>
                    <a:pt x="563" y="1070"/>
                  </a:lnTo>
                  <a:lnTo>
                    <a:pt x="561" y="1082"/>
                  </a:lnTo>
                  <a:lnTo>
                    <a:pt x="558" y="1090"/>
                  </a:lnTo>
                  <a:lnTo>
                    <a:pt x="553" y="1099"/>
                  </a:lnTo>
                  <a:lnTo>
                    <a:pt x="548" y="1108"/>
                  </a:lnTo>
                  <a:lnTo>
                    <a:pt x="540" y="1114"/>
                  </a:lnTo>
                  <a:lnTo>
                    <a:pt x="530" y="1117"/>
                  </a:lnTo>
                  <a:lnTo>
                    <a:pt x="520" y="1121"/>
                  </a:lnTo>
                  <a:lnTo>
                    <a:pt x="511" y="1122"/>
                  </a:lnTo>
                  <a:lnTo>
                    <a:pt x="347" y="1122"/>
                  </a:lnTo>
                  <a:lnTo>
                    <a:pt x="347" y="1122"/>
                  </a:lnTo>
                  <a:lnTo>
                    <a:pt x="338" y="1121"/>
                  </a:lnTo>
                  <a:lnTo>
                    <a:pt x="328" y="1117"/>
                  </a:lnTo>
                  <a:lnTo>
                    <a:pt x="318" y="1114"/>
                  </a:lnTo>
                  <a:lnTo>
                    <a:pt x="310" y="1108"/>
                  </a:lnTo>
                  <a:lnTo>
                    <a:pt x="305" y="1099"/>
                  </a:lnTo>
                  <a:lnTo>
                    <a:pt x="300" y="1090"/>
                  </a:lnTo>
                  <a:lnTo>
                    <a:pt x="297" y="1082"/>
                  </a:lnTo>
                  <a:lnTo>
                    <a:pt x="295" y="1070"/>
                  </a:lnTo>
                  <a:lnTo>
                    <a:pt x="295" y="480"/>
                  </a:lnTo>
                  <a:lnTo>
                    <a:pt x="295" y="480"/>
                  </a:lnTo>
                  <a:lnTo>
                    <a:pt x="297" y="470"/>
                  </a:lnTo>
                  <a:lnTo>
                    <a:pt x="300" y="460"/>
                  </a:lnTo>
                  <a:lnTo>
                    <a:pt x="305" y="450"/>
                  </a:lnTo>
                  <a:lnTo>
                    <a:pt x="310" y="442"/>
                  </a:lnTo>
                  <a:lnTo>
                    <a:pt x="318" y="437"/>
                  </a:lnTo>
                  <a:lnTo>
                    <a:pt x="328" y="432"/>
                  </a:lnTo>
                  <a:lnTo>
                    <a:pt x="338" y="429"/>
                  </a:lnTo>
                  <a:lnTo>
                    <a:pt x="347" y="427"/>
                  </a:lnTo>
                  <a:lnTo>
                    <a:pt x="401" y="427"/>
                  </a:lnTo>
                  <a:lnTo>
                    <a:pt x="401" y="362"/>
                  </a:lnTo>
                  <a:lnTo>
                    <a:pt x="401" y="362"/>
                  </a:lnTo>
                  <a:lnTo>
                    <a:pt x="401" y="354"/>
                  </a:lnTo>
                  <a:lnTo>
                    <a:pt x="405" y="346"/>
                  </a:lnTo>
                  <a:lnTo>
                    <a:pt x="408" y="338"/>
                  </a:lnTo>
                  <a:lnTo>
                    <a:pt x="413" y="333"/>
                  </a:lnTo>
                  <a:lnTo>
                    <a:pt x="419" y="326"/>
                  </a:lnTo>
                  <a:lnTo>
                    <a:pt x="427" y="323"/>
                  </a:lnTo>
                  <a:lnTo>
                    <a:pt x="434" y="320"/>
                  </a:lnTo>
                  <a:lnTo>
                    <a:pt x="444" y="320"/>
                  </a:lnTo>
                  <a:lnTo>
                    <a:pt x="1104" y="320"/>
                  </a:lnTo>
                  <a:lnTo>
                    <a:pt x="1104" y="320"/>
                  </a:lnTo>
                  <a:lnTo>
                    <a:pt x="1112" y="320"/>
                  </a:lnTo>
                  <a:lnTo>
                    <a:pt x="1121" y="323"/>
                  </a:lnTo>
                  <a:lnTo>
                    <a:pt x="1129" y="326"/>
                  </a:lnTo>
                  <a:lnTo>
                    <a:pt x="1134" y="333"/>
                  </a:lnTo>
                  <a:lnTo>
                    <a:pt x="1140" y="338"/>
                  </a:lnTo>
                  <a:lnTo>
                    <a:pt x="1143" y="346"/>
                  </a:lnTo>
                  <a:lnTo>
                    <a:pt x="1147" y="354"/>
                  </a:lnTo>
                  <a:lnTo>
                    <a:pt x="1147" y="362"/>
                  </a:lnTo>
                  <a:lnTo>
                    <a:pt x="1147" y="88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18">
              <a:extLst>
                <a:ext uri="{FF2B5EF4-FFF2-40B4-BE49-F238E27FC236}">
                  <a16:creationId xmlns:a16="http://schemas.microsoft.com/office/drawing/2014/main" id="{5B4B3D92-DE95-4D55-A510-6A926818EB12}"/>
                </a:ext>
              </a:extLst>
            </p:cNvPr>
            <p:cNvSpPr>
              <a:spLocks/>
            </p:cNvSpPr>
            <p:nvPr/>
          </p:nvSpPr>
          <p:spPr bwMode="auto">
            <a:xfrm>
              <a:off x="3636963" y="806450"/>
              <a:ext cx="506413" cy="379412"/>
            </a:xfrm>
            <a:custGeom>
              <a:avLst/>
              <a:gdLst>
                <a:gd name="T0" fmla="*/ 598 w 640"/>
                <a:gd name="T1" fmla="*/ 0 h 478"/>
                <a:gd name="T2" fmla="*/ 43 w 640"/>
                <a:gd name="T3" fmla="*/ 0 h 478"/>
                <a:gd name="T4" fmla="*/ 43 w 640"/>
                <a:gd name="T5" fmla="*/ 0 h 478"/>
                <a:gd name="T6" fmla="*/ 35 w 640"/>
                <a:gd name="T7" fmla="*/ 0 h 478"/>
                <a:gd name="T8" fmla="*/ 27 w 640"/>
                <a:gd name="T9" fmla="*/ 3 h 478"/>
                <a:gd name="T10" fmla="*/ 20 w 640"/>
                <a:gd name="T11" fmla="*/ 6 h 478"/>
                <a:gd name="T12" fmla="*/ 14 w 640"/>
                <a:gd name="T13" fmla="*/ 11 h 478"/>
                <a:gd name="T14" fmla="*/ 9 w 640"/>
                <a:gd name="T15" fmla="*/ 18 h 478"/>
                <a:gd name="T16" fmla="*/ 5 w 640"/>
                <a:gd name="T17" fmla="*/ 24 h 478"/>
                <a:gd name="T18" fmla="*/ 2 w 640"/>
                <a:gd name="T19" fmla="*/ 32 h 478"/>
                <a:gd name="T20" fmla="*/ 0 w 640"/>
                <a:gd name="T21" fmla="*/ 40 h 478"/>
                <a:gd name="T22" fmla="*/ 58 w 640"/>
                <a:gd name="T23" fmla="*/ 40 h 478"/>
                <a:gd name="T24" fmla="*/ 58 w 640"/>
                <a:gd name="T25" fmla="*/ 40 h 478"/>
                <a:gd name="T26" fmla="*/ 67 w 640"/>
                <a:gd name="T27" fmla="*/ 42 h 478"/>
                <a:gd name="T28" fmla="*/ 77 w 640"/>
                <a:gd name="T29" fmla="*/ 45 h 478"/>
                <a:gd name="T30" fmla="*/ 87 w 640"/>
                <a:gd name="T31" fmla="*/ 50 h 478"/>
                <a:gd name="T32" fmla="*/ 95 w 640"/>
                <a:gd name="T33" fmla="*/ 55 h 478"/>
                <a:gd name="T34" fmla="*/ 100 w 640"/>
                <a:gd name="T35" fmla="*/ 63 h 478"/>
                <a:gd name="T36" fmla="*/ 105 w 640"/>
                <a:gd name="T37" fmla="*/ 73 h 478"/>
                <a:gd name="T38" fmla="*/ 108 w 640"/>
                <a:gd name="T39" fmla="*/ 83 h 478"/>
                <a:gd name="T40" fmla="*/ 110 w 640"/>
                <a:gd name="T41" fmla="*/ 93 h 478"/>
                <a:gd name="T42" fmla="*/ 110 w 640"/>
                <a:gd name="T43" fmla="*/ 478 h 478"/>
                <a:gd name="T44" fmla="*/ 598 w 640"/>
                <a:gd name="T45" fmla="*/ 478 h 478"/>
                <a:gd name="T46" fmla="*/ 598 w 640"/>
                <a:gd name="T47" fmla="*/ 478 h 478"/>
                <a:gd name="T48" fmla="*/ 607 w 640"/>
                <a:gd name="T49" fmla="*/ 478 h 478"/>
                <a:gd name="T50" fmla="*/ 614 w 640"/>
                <a:gd name="T51" fmla="*/ 474 h 478"/>
                <a:gd name="T52" fmla="*/ 622 w 640"/>
                <a:gd name="T53" fmla="*/ 471 h 478"/>
                <a:gd name="T54" fmla="*/ 629 w 640"/>
                <a:gd name="T55" fmla="*/ 466 h 478"/>
                <a:gd name="T56" fmla="*/ 633 w 640"/>
                <a:gd name="T57" fmla="*/ 460 h 478"/>
                <a:gd name="T58" fmla="*/ 637 w 640"/>
                <a:gd name="T59" fmla="*/ 451 h 478"/>
                <a:gd name="T60" fmla="*/ 640 w 640"/>
                <a:gd name="T61" fmla="*/ 443 h 478"/>
                <a:gd name="T62" fmla="*/ 640 w 640"/>
                <a:gd name="T63" fmla="*/ 435 h 478"/>
                <a:gd name="T64" fmla="*/ 640 w 640"/>
                <a:gd name="T65" fmla="*/ 42 h 478"/>
                <a:gd name="T66" fmla="*/ 640 w 640"/>
                <a:gd name="T67" fmla="*/ 42 h 478"/>
                <a:gd name="T68" fmla="*/ 640 w 640"/>
                <a:gd name="T69" fmla="*/ 34 h 478"/>
                <a:gd name="T70" fmla="*/ 637 w 640"/>
                <a:gd name="T71" fmla="*/ 26 h 478"/>
                <a:gd name="T72" fmla="*/ 633 w 640"/>
                <a:gd name="T73" fmla="*/ 18 h 478"/>
                <a:gd name="T74" fmla="*/ 629 w 640"/>
                <a:gd name="T75" fmla="*/ 13 h 478"/>
                <a:gd name="T76" fmla="*/ 622 w 640"/>
                <a:gd name="T77" fmla="*/ 6 h 478"/>
                <a:gd name="T78" fmla="*/ 614 w 640"/>
                <a:gd name="T79" fmla="*/ 3 h 478"/>
                <a:gd name="T80" fmla="*/ 607 w 640"/>
                <a:gd name="T81" fmla="*/ 0 h 478"/>
                <a:gd name="T82" fmla="*/ 598 w 640"/>
                <a:gd name="T83" fmla="*/ 0 h 478"/>
                <a:gd name="T84" fmla="*/ 598 w 640"/>
                <a:gd name="T85"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0" h="478">
                  <a:moveTo>
                    <a:pt x="598" y="0"/>
                  </a:moveTo>
                  <a:lnTo>
                    <a:pt x="43" y="0"/>
                  </a:lnTo>
                  <a:lnTo>
                    <a:pt x="43" y="0"/>
                  </a:lnTo>
                  <a:lnTo>
                    <a:pt x="35" y="0"/>
                  </a:lnTo>
                  <a:lnTo>
                    <a:pt x="27" y="3"/>
                  </a:lnTo>
                  <a:lnTo>
                    <a:pt x="20" y="6"/>
                  </a:lnTo>
                  <a:lnTo>
                    <a:pt x="14" y="11"/>
                  </a:lnTo>
                  <a:lnTo>
                    <a:pt x="9" y="18"/>
                  </a:lnTo>
                  <a:lnTo>
                    <a:pt x="5" y="24"/>
                  </a:lnTo>
                  <a:lnTo>
                    <a:pt x="2" y="32"/>
                  </a:lnTo>
                  <a:lnTo>
                    <a:pt x="0" y="40"/>
                  </a:lnTo>
                  <a:lnTo>
                    <a:pt x="58" y="40"/>
                  </a:lnTo>
                  <a:lnTo>
                    <a:pt x="58" y="40"/>
                  </a:lnTo>
                  <a:lnTo>
                    <a:pt x="67" y="42"/>
                  </a:lnTo>
                  <a:lnTo>
                    <a:pt x="77" y="45"/>
                  </a:lnTo>
                  <a:lnTo>
                    <a:pt x="87" y="50"/>
                  </a:lnTo>
                  <a:lnTo>
                    <a:pt x="95" y="55"/>
                  </a:lnTo>
                  <a:lnTo>
                    <a:pt x="100" y="63"/>
                  </a:lnTo>
                  <a:lnTo>
                    <a:pt x="105" y="73"/>
                  </a:lnTo>
                  <a:lnTo>
                    <a:pt x="108" y="83"/>
                  </a:lnTo>
                  <a:lnTo>
                    <a:pt x="110" y="93"/>
                  </a:lnTo>
                  <a:lnTo>
                    <a:pt x="110" y="478"/>
                  </a:lnTo>
                  <a:lnTo>
                    <a:pt x="598" y="478"/>
                  </a:lnTo>
                  <a:lnTo>
                    <a:pt x="598" y="478"/>
                  </a:lnTo>
                  <a:lnTo>
                    <a:pt x="607" y="478"/>
                  </a:lnTo>
                  <a:lnTo>
                    <a:pt x="614" y="474"/>
                  </a:lnTo>
                  <a:lnTo>
                    <a:pt x="622" y="471"/>
                  </a:lnTo>
                  <a:lnTo>
                    <a:pt x="629" y="466"/>
                  </a:lnTo>
                  <a:lnTo>
                    <a:pt x="633" y="460"/>
                  </a:lnTo>
                  <a:lnTo>
                    <a:pt x="637" y="451"/>
                  </a:lnTo>
                  <a:lnTo>
                    <a:pt x="640" y="443"/>
                  </a:lnTo>
                  <a:lnTo>
                    <a:pt x="640" y="435"/>
                  </a:lnTo>
                  <a:lnTo>
                    <a:pt x="640" y="42"/>
                  </a:lnTo>
                  <a:lnTo>
                    <a:pt x="640" y="42"/>
                  </a:lnTo>
                  <a:lnTo>
                    <a:pt x="640" y="34"/>
                  </a:lnTo>
                  <a:lnTo>
                    <a:pt x="637" y="26"/>
                  </a:lnTo>
                  <a:lnTo>
                    <a:pt x="633" y="18"/>
                  </a:lnTo>
                  <a:lnTo>
                    <a:pt x="629" y="13"/>
                  </a:lnTo>
                  <a:lnTo>
                    <a:pt x="622" y="6"/>
                  </a:lnTo>
                  <a:lnTo>
                    <a:pt x="614" y="3"/>
                  </a:lnTo>
                  <a:lnTo>
                    <a:pt x="607" y="0"/>
                  </a:lnTo>
                  <a:lnTo>
                    <a:pt x="598" y="0"/>
                  </a:lnTo>
                  <a:lnTo>
                    <a:pt x="5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Rectangle 19">
              <a:extLst>
                <a:ext uri="{FF2B5EF4-FFF2-40B4-BE49-F238E27FC236}">
                  <a16:creationId xmlns:a16="http://schemas.microsoft.com/office/drawing/2014/main" id="{0E3C7EC6-2E55-465B-ADFC-FA029029FE3D}"/>
                </a:ext>
              </a:extLst>
            </p:cNvPr>
            <p:cNvSpPr>
              <a:spLocks noChangeArrowheads="1"/>
            </p:cNvSpPr>
            <p:nvPr/>
          </p:nvSpPr>
          <p:spPr bwMode="auto">
            <a:xfrm>
              <a:off x="3554413" y="882650"/>
              <a:ext cx="125413"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3" name="TextBox 27"/>
          <p:cNvSpPr txBox="1">
            <a:spLocks noChangeArrowheads="1"/>
          </p:cNvSpPr>
          <p:nvPr userDrawn="1"/>
        </p:nvSpPr>
        <p:spPr bwMode="auto">
          <a:xfrm>
            <a:off x="310377" y="6506522"/>
            <a:ext cx="999245"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puter</a:t>
            </a:r>
          </a:p>
        </p:txBody>
      </p:sp>
      <p:sp>
        <p:nvSpPr>
          <p:cNvPr id="84" name="TextBox 27"/>
          <p:cNvSpPr txBox="1">
            <a:spLocks noChangeArrowheads="1"/>
          </p:cNvSpPr>
          <p:nvPr userDrawn="1"/>
        </p:nvSpPr>
        <p:spPr bwMode="auto">
          <a:xfrm>
            <a:off x="1627721" y="6512871"/>
            <a:ext cx="999248"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er</a:t>
            </a:r>
          </a:p>
        </p:txBody>
      </p:sp>
      <p:sp>
        <p:nvSpPr>
          <p:cNvPr id="85" name="TextBox 27"/>
          <p:cNvSpPr txBox="1">
            <a:spLocks noChangeArrowheads="1"/>
          </p:cNvSpPr>
          <p:nvPr userDrawn="1"/>
        </p:nvSpPr>
        <p:spPr bwMode="auto">
          <a:xfrm>
            <a:off x="2950784" y="6511657"/>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Radio</a:t>
            </a:r>
            <a:endParaRPr lang="en-GB" altLang="en-US" sz="900" dirty="0">
              <a:solidFill>
                <a:schemeClr val="bg1"/>
              </a:solidFill>
            </a:endParaRPr>
          </a:p>
        </p:txBody>
      </p:sp>
      <p:sp>
        <p:nvSpPr>
          <p:cNvPr id="86" name="TextBox 27"/>
          <p:cNvSpPr txBox="1">
            <a:spLocks noChangeArrowheads="1"/>
          </p:cNvSpPr>
          <p:nvPr userDrawn="1"/>
        </p:nvSpPr>
        <p:spPr bwMode="auto">
          <a:xfrm>
            <a:off x="4247400" y="6506522"/>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rtising</a:t>
            </a:r>
          </a:p>
        </p:txBody>
      </p:sp>
      <p:sp>
        <p:nvSpPr>
          <p:cNvPr id="87" name="TextBox 27"/>
          <p:cNvSpPr txBox="1">
            <a:spLocks noChangeArrowheads="1"/>
          </p:cNvSpPr>
          <p:nvPr userDrawn="1"/>
        </p:nvSpPr>
        <p:spPr bwMode="auto">
          <a:xfrm>
            <a:off x="5572231" y="6506855"/>
            <a:ext cx="1008003"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6 sheet</a:t>
            </a:r>
            <a:endParaRPr lang="en-GB" altLang="en-US" sz="900" dirty="0">
              <a:solidFill>
                <a:schemeClr val="bg1"/>
              </a:solidFill>
            </a:endParaRPr>
          </a:p>
        </p:txBody>
      </p:sp>
      <p:sp>
        <p:nvSpPr>
          <p:cNvPr id="88" name="TextBox 27"/>
          <p:cNvSpPr txBox="1">
            <a:spLocks noChangeArrowheads="1"/>
          </p:cNvSpPr>
          <p:nvPr userDrawn="1"/>
        </p:nvSpPr>
        <p:spPr bwMode="auto">
          <a:xfrm>
            <a:off x="6868850" y="6506521"/>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 screen</a:t>
            </a:r>
          </a:p>
        </p:txBody>
      </p:sp>
      <p:sp>
        <p:nvSpPr>
          <p:cNvPr id="89" name="Freeform 5">
            <a:extLst>
              <a:ext uri="{FF2B5EF4-FFF2-40B4-BE49-F238E27FC236}">
                <a16:creationId xmlns:a16="http://schemas.microsoft.com/office/drawing/2014/main" id="{BC1A31C5-9754-4E4E-8F04-B53763CA271F}"/>
              </a:ext>
            </a:extLst>
          </p:cNvPr>
          <p:cNvSpPr>
            <a:spLocks noEditPoints="1"/>
          </p:cNvSpPr>
          <p:nvPr userDrawn="1"/>
        </p:nvSpPr>
        <p:spPr bwMode="auto">
          <a:xfrm>
            <a:off x="8152808" y="5415123"/>
            <a:ext cx="1080000" cy="1080000"/>
          </a:xfrm>
          <a:custGeom>
            <a:avLst/>
            <a:gdLst>
              <a:gd name="T0" fmla="*/ 838 w 1768"/>
              <a:gd name="T1" fmla="*/ 0 h 1768"/>
              <a:gd name="T2" fmla="*/ 706 w 1768"/>
              <a:gd name="T3" fmla="*/ 18 h 1768"/>
              <a:gd name="T4" fmla="*/ 580 w 1768"/>
              <a:gd name="T5" fmla="*/ 54 h 1768"/>
              <a:gd name="T6" fmla="*/ 462 w 1768"/>
              <a:gd name="T7" fmla="*/ 106 h 1768"/>
              <a:gd name="T8" fmla="*/ 356 w 1768"/>
              <a:gd name="T9" fmla="*/ 176 h 1768"/>
              <a:gd name="T10" fmla="*/ 258 w 1768"/>
              <a:gd name="T11" fmla="*/ 258 h 1768"/>
              <a:gd name="T12" fmla="*/ 176 w 1768"/>
              <a:gd name="T13" fmla="*/ 354 h 1768"/>
              <a:gd name="T14" fmla="*/ 106 w 1768"/>
              <a:gd name="T15" fmla="*/ 462 h 1768"/>
              <a:gd name="T16" fmla="*/ 54 w 1768"/>
              <a:gd name="T17" fmla="*/ 580 h 1768"/>
              <a:gd name="T18" fmla="*/ 18 w 1768"/>
              <a:gd name="T19" fmla="*/ 706 h 1768"/>
              <a:gd name="T20" fmla="*/ 2 w 1768"/>
              <a:gd name="T21" fmla="*/ 838 h 1768"/>
              <a:gd name="T22" fmla="*/ 2 w 1768"/>
              <a:gd name="T23" fmla="*/ 930 h 1768"/>
              <a:gd name="T24" fmla="*/ 18 w 1768"/>
              <a:gd name="T25" fmla="*/ 1062 h 1768"/>
              <a:gd name="T26" fmla="*/ 54 w 1768"/>
              <a:gd name="T27" fmla="*/ 1188 h 1768"/>
              <a:gd name="T28" fmla="*/ 106 w 1768"/>
              <a:gd name="T29" fmla="*/ 1306 h 1768"/>
              <a:gd name="T30" fmla="*/ 176 w 1768"/>
              <a:gd name="T31" fmla="*/ 1412 h 1768"/>
              <a:gd name="T32" fmla="*/ 258 w 1768"/>
              <a:gd name="T33" fmla="*/ 1510 h 1768"/>
              <a:gd name="T34" fmla="*/ 356 w 1768"/>
              <a:gd name="T35" fmla="*/ 1592 h 1768"/>
              <a:gd name="T36" fmla="*/ 462 w 1768"/>
              <a:gd name="T37" fmla="*/ 1662 h 1768"/>
              <a:gd name="T38" fmla="*/ 580 w 1768"/>
              <a:gd name="T39" fmla="*/ 1714 h 1768"/>
              <a:gd name="T40" fmla="*/ 706 w 1768"/>
              <a:gd name="T41" fmla="*/ 1750 h 1768"/>
              <a:gd name="T42" fmla="*/ 838 w 1768"/>
              <a:gd name="T43" fmla="*/ 1766 h 1768"/>
              <a:gd name="T44" fmla="*/ 930 w 1768"/>
              <a:gd name="T45" fmla="*/ 1766 h 1768"/>
              <a:gd name="T46" fmla="*/ 1062 w 1768"/>
              <a:gd name="T47" fmla="*/ 1750 h 1768"/>
              <a:gd name="T48" fmla="*/ 1188 w 1768"/>
              <a:gd name="T49" fmla="*/ 1714 h 1768"/>
              <a:gd name="T50" fmla="*/ 1306 w 1768"/>
              <a:gd name="T51" fmla="*/ 1662 h 1768"/>
              <a:gd name="T52" fmla="*/ 1414 w 1768"/>
              <a:gd name="T53" fmla="*/ 1592 h 1768"/>
              <a:gd name="T54" fmla="*/ 1510 w 1768"/>
              <a:gd name="T55" fmla="*/ 1510 h 1768"/>
              <a:gd name="T56" fmla="*/ 1592 w 1768"/>
              <a:gd name="T57" fmla="*/ 1412 h 1768"/>
              <a:gd name="T58" fmla="*/ 1662 w 1768"/>
              <a:gd name="T59" fmla="*/ 1306 h 1768"/>
              <a:gd name="T60" fmla="*/ 1714 w 1768"/>
              <a:gd name="T61" fmla="*/ 1188 h 1768"/>
              <a:gd name="T62" fmla="*/ 1750 w 1768"/>
              <a:gd name="T63" fmla="*/ 1062 h 1768"/>
              <a:gd name="T64" fmla="*/ 1768 w 1768"/>
              <a:gd name="T65" fmla="*/ 930 h 1768"/>
              <a:gd name="T66" fmla="*/ 1768 w 1768"/>
              <a:gd name="T67" fmla="*/ 838 h 1768"/>
              <a:gd name="T68" fmla="*/ 1750 w 1768"/>
              <a:gd name="T69" fmla="*/ 706 h 1768"/>
              <a:gd name="T70" fmla="*/ 1714 w 1768"/>
              <a:gd name="T71" fmla="*/ 580 h 1768"/>
              <a:gd name="T72" fmla="*/ 1662 w 1768"/>
              <a:gd name="T73" fmla="*/ 462 h 1768"/>
              <a:gd name="T74" fmla="*/ 1592 w 1768"/>
              <a:gd name="T75" fmla="*/ 354 h 1768"/>
              <a:gd name="T76" fmla="*/ 1510 w 1768"/>
              <a:gd name="T77" fmla="*/ 258 h 1768"/>
              <a:gd name="T78" fmla="*/ 1414 w 1768"/>
              <a:gd name="T79" fmla="*/ 176 h 1768"/>
              <a:gd name="T80" fmla="*/ 1306 w 1768"/>
              <a:gd name="T81" fmla="*/ 106 h 1768"/>
              <a:gd name="T82" fmla="*/ 1188 w 1768"/>
              <a:gd name="T83" fmla="*/ 54 h 1768"/>
              <a:gd name="T84" fmla="*/ 1062 w 1768"/>
              <a:gd name="T85" fmla="*/ 18 h 1768"/>
              <a:gd name="T86" fmla="*/ 930 w 1768"/>
              <a:gd name="T87" fmla="*/ 0 h 1768"/>
              <a:gd name="T88" fmla="*/ 670 w 1768"/>
              <a:gd name="T89" fmla="*/ 1318 h 1768"/>
              <a:gd name="T90" fmla="*/ 670 w 1768"/>
              <a:gd name="T91" fmla="*/ 131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6"/>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6"/>
                </a:lnTo>
                <a:lnTo>
                  <a:pt x="1228" y="70"/>
                </a:lnTo>
                <a:lnTo>
                  <a:pt x="1188" y="54"/>
                </a:lnTo>
                <a:lnTo>
                  <a:pt x="1146" y="40"/>
                </a:lnTo>
                <a:lnTo>
                  <a:pt x="1106" y="28"/>
                </a:lnTo>
                <a:lnTo>
                  <a:pt x="1062" y="18"/>
                </a:lnTo>
                <a:lnTo>
                  <a:pt x="1018" y="10"/>
                </a:lnTo>
                <a:lnTo>
                  <a:pt x="974" y="4"/>
                </a:lnTo>
                <a:lnTo>
                  <a:pt x="930" y="0"/>
                </a:lnTo>
                <a:lnTo>
                  <a:pt x="884" y="0"/>
                </a:lnTo>
                <a:lnTo>
                  <a:pt x="884" y="0"/>
                </a:lnTo>
                <a:close/>
                <a:moveTo>
                  <a:pt x="670" y="1318"/>
                </a:moveTo>
                <a:lnTo>
                  <a:pt x="670" y="448"/>
                </a:lnTo>
                <a:lnTo>
                  <a:pt x="1418" y="884"/>
                </a:lnTo>
                <a:lnTo>
                  <a:pt x="670" y="13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1" name="TextBox 27"/>
          <p:cNvSpPr txBox="1">
            <a:spLocks noChangeArrowheads="1"/>
          </p:cNvSpPr>
          <p:nvPr userDrawn="1"/>
        </p:nvSpPr>
        <p:spPr bwMode="auto">
          <a:xfrm>
            <a:off x="8203366" y="6512871"/>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y</a:t>
            </a:r>
          </a:p>
        </p:txBody>
      </p:sp>
      <p:sp>
        <p:nvSpPr>
          <p:cNvPr id="114" name="TextBox 113"/>
          <p:cNvSpPr txBox="1"/>
          <p:nvPr userDrawn="1"/>
        </p:nvSpPr>
        <p:spPr>
          <a:xfrm>
            <a:off x="271148" y="196754"/>
            <a:ext cx="11036932" cy="430887"/>
          </a:xfrm>
          <a:prstGeom prst="rect">
            <a:avLst/>
          </a:prstGeom>
          <a:noFill/>
          <a:ln>
            <a:noFill/>
          </a:ln>
        </p:spPr>
        <p:txBody>
          <a:bodyPr wrap="square" lIns="0" tIns="0" rIns="0" bIns="0" rtlCol="0">
            <a:spAutoFit/>
          </a:bodyPr>
          <a:lstStyle/>
          <a:p>
            <a:r>
              <a:rPr lang="en-US" sz="2800" b="0" kern="1200" cap="all" spc="50" dirty="0">
                <a:ln w="22225">
                  <a:noFill/>
                  <a:prstDash val="solid"/>
                </a:ln>
                <a:solidFill>
                  <a:srgbClr val="000000"/>
                </a:solidFill>
                <a:effectLst/>
                <a:latin typeface="+mj-lt"/>
                <a:ea typeface="+mj-ea"/>
                <a:cs typeface="+mj-cs"/>
              </a:rPr>
              <a:t>ICONS – TECHNOLOGY,</a:t>
            </a:r>
            <a:r>
              <a:rPr lang="en-US" sz="2800" b="0" kern="1200" cap="all" spc="50" baseline="0" dirty="0">
                <a:ln w="22225">
                  <a:noFill/>
                  <a:prstDash val="solid"/>
                </a:ln>
                <a:solidFill>
                  <a:srgbClr val="000000"/>
                </a:solidFill>
                <a:effectLst/>
                <a:latin typeface="+mj-lt"/>
                <a:ea typeface="+mj-ea"/>
                <a:cs typeface="+mj-cs"/>
              </a:rPr>
              <a:t> SOCIAL MEDIA, PRE/POST-SCREEN ACTIVITIES</a:t>
            </a:r>
            <a:endParaRPr lang="en-US" sz="2800" b="0" kern="1200" cap="all" spc="5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1021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cons_3">
    <p:spTree>
      <p:nvGrpSpPr>
        <p:cNvPr id="1" name=""/>
        <p:cNvGrpSpPr/>
        <p:nvPr/>
      </p:nvGrpSpPr>
      <p:grpSpPr>
        <a:xfrm>
          <a:off x="0" y="0"/>
          <a:ext cx="0" cy="0"/>
          <a:chOff x="0" y="0"/>
          <a:chExt cx="0" cy="0"/>
        </a:xfrm>
      </p:grpSpPr>
      <p:sp>
        <p:nvSpPr>
          <p:cNvPr id="6" name="Freeform 56"/>
          <p:cNvSpPr>
            <a:spLocks noEditPoints="1"/>
          </p:cNvSpPr>
          <p:nvPr userDrawn="1"/>
        </p:nvSpPr>
        <p:spPr bwMode="auto">
          <a:xfrm>
            <a:off x="3234709"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114 w 726"/>
              <a:gd name="T27" fmla="*/ 314 h 726"/>
              <a:gd name="T28" fmla="*/ 94 w 726"/>
              <a:gd name="T29" fmla="*/ 294 h 726"/>
              <a:gd name="T30" fmla="*/ 114 w 726"/>
              <a:gd name="T31" fmla="*/ 274 h 726"/>
              <a:gd name="T32" fmla="*/ 132 w 726"/>
              <a:gd name="T33" fmla="*/ 294 h 726"/>
              <a:gd name="T34" fmla="*/ 114 w 726"/>
              <a:gd name="T35" fmla="*/ 314 h 726"/>
              <a:gd name="T36" fmla="*/ 160 w 726"/>
              <a:gd name="T37" fmla="*/ 340 h 726"/>
              <a:gd name="T38" fmla="*/ 144 w 726"/>
              <a:gd name="T39" fmla="*/ 332 h 726"/>
              <a:gd name="T40" fmla="*/ 148 w 726"/>
              <a:gd name="T41" fmla="*/ 250 h 726"/>
              <a:gd name="T42" fmla="*/ 164 w 726"/>
              <a:gd name="T43" fmla="*/ 250 h 726"/>
              <a:gd name="T44" fmla="*/ 208 w 726"/>
              <a:gd name="T45" fmla="*/ 344 h 726"/>
              <a:gd name="T46" fmla="*/ 196 w 726"/>
              <a:gd name="T47" fmla="*/ 358 h 726"/>
              <a:gd name="T48" fmla="*/ 184 w 726"/>
              <a:gd name="T49" fmla="*/ 242 h 726"/>
              <a:gd name="T50" fmla="*/ 196 w 726"/>
              <a:gd name="T51" fmla="*/ 230 h 726"/>
              <a:gd name="T52" fmla="*/ 208 w 726"/>
              <a:gd name="T53" fmla="*/ 242 h 726"/>
              <a:gd name="T54" fmla="*/ 244 w 726"/>
              <a:gd name="T55" fmla="*/ 370 h 726"/>
              <a:gd name="T56" fmla="*/ 226 w 726"/>
              <a:gd name="T57" fmla="*/ 370 h 726"/>
              <a:gd name="T58" fmla="*/ 224 w 726"/>
              <a:gd name="T59" fmla="*/ 220 h 726"/>
              <a:gd name="T60" fmla="*/ 240 w 726"/>
              <a:gd name="T61" fmla="*/ 214 h 726"/>
              <a:gd name="T62" fmla="*/ 588 w 726"/>
              <a:gd name="T63" fmla="*/ 522 h 726"/>
              <a:gd name="T64" fmla="*/ 564 w 726"/>
              <a:gd name="T65" fmla="*/ 546 h 726"/>
              <a:gd name="T66" fmla="*/ 514 w 726"/>
              <a:gd name="T67" fmla="*/ 554 h 726"/>
              <a:gd name="T68" fmla="*/ 450 w 726"/>
              <a:gd name="T69" fmla="*/ 502 h 726"/>
              <a:gd name="T70" fmla="*/ 448 w 726"/>
              <a:gd name="T71" fmla="*/ 440 h 726"/>
              <a:gd name="T72" fmla="*/ 380 w 726"/>
              <a:gd name="T73" fmla="*/ 428 h 726"/>
              <a:gd name="T74" fmla="*/ 344 w 726"/>
              <a:gd name="T75" fmla="*/ 364 h 726"/>
              <a:gd name="T76" fmla="*/ 306 w 726"/>
              <a:gd name="T77" fmla="*/ 350 h 726"/>
              <a:gd name="T78" fmla="*/ 266 w 726"/>
              <a:gd name="T79" fmla="*/ 318 h 726"/>
              <a:gd name="T80" fmla="*/ 266 w 726"/>
              <a:gd name="T81" fmla="*/ 280 h 726"/>
              <a:gd name="T82" fmla="*/ 316 w 726"/>
              <a:gd name="T83" fmla="*/ 242 h 726"/>
              <a:gd name="T84" fmla="*/ 434 w 726"/>
              <a:gd name="T85" fmla="*/ 222 h 726"/>
              <a:gd name="T86" fmla="*/ 526 w 726"/>
              <a:gd name="T87" fmla="*/ 234 h 726"/>
              <a:gd name="T88" fmla="*/ 588 w 726"/>
              <a:gd name="T89" fmla="*/ 264 h 726"/>
              <a:gd name="T90" fmla="*/ 604 w 726"/>
              <a:gd name="T91" fmla="*/ 298 h 726"/>
              <a:gd name="T92" fmla="*/ 588 w 726"/>
              <a:gd name="T93" fmla="*/ 332 h 726"/>
              <a:gd name="T94" fmla="*/ 580 w 726"/>
              <a:gd name="T95" fmla="*/ 348 h 726"/>
              <a:gd name="T96" fmla="*/ 600 w 726"/>
              <a:gd name="T97" fmla="*/ 398 h 726"/>
              <a:gd name="T98" fmla="*/ 602 w 726"/>
              <a:gd name="T99" fmla="*/ 486 h 726"/>
              <a:gd name="T100" fmla="*/ 448 w 726"/>
              <a:gd name="T101" fmla="*/ 374 h 726"/>
              <a:gd name="T102" fmla="*/ 446 w 726"/>
              <a:gd name="T103" fmla="*/ 380 h 726"/>
              <a:gd name="T104" fmla="*/ 430 w 726"/>
              <a:gd name="T105" fmla="*/ 404 h 726"/>
              <a:gd name="T106" fmla="*/ 412 w 726"/>
              <a:gd name="T107" fmla="*/ 398 h 726"/>
              <a:gd name="T108" fmla="*/ 418 w 726"/>
              <a:gd name="T109" fmla="*/ 382 h 726"/>
              <a:gd name="T110" fmla="*/ 422 w 726"/>
              <a:gd name="T111" fmla="*/ 374 h 726"/>
              <a:gd name="T112" fmla="*/ 368 w 726"/>
              <a:gd name="T113" fmla="*/ 370 h 726"/>
              <a:gd name="T114" fmla="*/ 388 w 726"/>
              <a:gd name="T115" fmla="*/ 402 h 726"/>
              <a:gd name="T116" fmla="*/ 460 w 726"/>
              <a:gd name="T117" fmla="*/ 416 h 726"/>
              <a:gd name="T118" fmla="*/ 466 w 726"/>
              <a:gd name="T119" fmla="*/ 410 h 726"/>
              <a:gd name="T120" fmla="*/ 472 w 726"/>
              <a:gd name="T121" fmla="*/ 394 h 726"/>
              <a:gd name="T122" fmla="*/ 452 w 726"/>
              <a:gd name="T123" fmla="*/ 37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114" y="314"/>
                </a:moveTo>
                <a:lnTo>
                  <a:pt x="114" y="314"/>
                </a:lnTo>
                <a:lnTo>
                  <a:pt x="106" y="312"/>
                </a:lnTo>
                <a:lnTo>
                  <a:pt x="100" y="308"/>
                </a:lnTo>
                <a:lnTo>
                  <a:pt x="94" y="302"/>
                </a:lnTo>
                <a:lnTo>
                  <a:pt x="94" y="294"/>
                </a:lnTo>
                <a:lnTo>
                  <a:pt x="94" y="286"/>
                </a:lnTo>
                <a:lnTo>
                  <a:pt x="100" y="280"/>
                </a:lnTo>
                <a:lnTo>
                  <a:pt x="106" y="276"/>
                </a:lnTo>
                <a:lnTo>
                  <a:pt x="114" y="274"/>
                </a:lnTo>
                <a:lnTo>
                  <a:pt x="120" y="276"/>
                </a:lnTo>
                <a:lnTo>
                  <a:pt x="126" y="280"/>
                </a:lnTo>
                <a:lnTo>
                  <a:pt x="132" y="286"/>
                </a:lnTo>
                <a:lnTo>
                  <a:pt x="132" y="294"/>
                </a:lnTo>
                <a:lnTo>
                  <a:pt x="132" y="302"/>
                </a:lnTo>
                <a:lnTo>
                  <a:pt x="126" y="308"/>
                </a:lnTo>
                <a:lnTo>
                  <a:pt x="120" y="312"/>
                </a:lnTo>
                <a:lnTo>
                  <a:pt x="114" y="314"/>
                </a:lnTo>
                <a:close/>
                <a:moveTo>
                  <a:pt x="168" y="328"/>
                </a:moveTo>
                <a:lnTo>
                  <a:pt x="168" y="328"/>
                </a:lnTo>
                <a:lnTo>
                  <a:pt x="168" y="332"/>
                </a:lnTo>
                <a:lnTo>
                  <a:pt x="164" y="336"/>
                </a:lnTo>
                <a:lnTo>
                  <a:pt x="160" y="340"/>
                </a:lnTo>
                <a:lnTo>
                  <a:pt x="156" y="340"/>
                </a:lnTo>
                <a:lnTo>
                  <a:pt x="152" y="340"/>
                </a:lnTo>
                <a:lnTo>
                  <a:pt x="148" y="336"/>
                </a:lnTo>
                <a:lnTo>
                  <a:pt x="144" y="332"/>
                </a:lnTo>
                <a:lnTo>
                  <a:pt x="144" y="328"/>
                </a:lnTo>
                <a:lnTo>
                  <a:pt x="144" y="260"/>
                </a:lnTo>
                <a:lnTo>
                  <a:pt x="144" y="254"/>
                </a:lnTo>
                <a:lnTo>
                  <a:pt x="148" y="250"/>
                </a:lnTo>
                <a:lnTo>
                  <a:pt x="152" y="248"/>
                </a:lnTo>
                <a:lnTo>
                  <a:pt x="156" y="248"/>
                </a:lnTo>
                <a:lnTo>
                  <a:pt x="160" y="248"/>
                </a:lnTo>
                <a:lnTo>
                  <a:pt x="164" y="250"/>
                </a:lnTo>
                <a:lnTo>
                  <a:pt x="168" y="254"/>
                </a:lnTo>
                <a:lnTo>
                  <a:pt x="168" y="260"/>
                </a:lnTo>
                <a:lnTo>
                  <a:pt x="168" y="328"/>
                </a:lnTo>
                <a:close/>
                <a:moveTo>
                  <a:pt x="208" y="344"/>
                </a:moveTo>
                <a:lnTo>
                  <a:pt x="208" y="344"/>
                </a:lnTo>
                <a:lnTo>
                  <a:pt x="206" y="350"/>
                </a:lnTo>
                <a:lnTo>
                  <a:pt x="204" y="354"/>
                </a:lnTo>
                <a:lnTo>
                  <a:pt x="200" y="356"/>
                </a:lnTo>
                <a:lnTo>
                  <a:pt x="196" y="358"/>
                </a:lnTo>
                <a:lnTo>
                  <a:pt x="190" y="356"/>
                </a:lnTo>
                <a:lnTo>
                  <a:pt x="186" y="354"/>
                </a:lnTo>
                <a:lnTo>
                  <a:pt x="184" y="350"/>
                </a:lnTo>
                <a:lnTo>
                  <a:pt x="184" y="344"/>
                </a:lnTo>
                <a:lnTo>
                  <a:pt x="184" y="242"/>
                </a:lnTo>
                <a:lnTo>
                  <a:pt x="184" y="238"/>
                </a:lnTo>
                <a:lnTo>
                  <a:pt x="186" y="234"/>
                </a:lnTo>
                <a:lnTo>
                  <a:pt x="190" y="230"/>
                </a:lnTo>
                <a:lnTo>
                  <a:pt x="196" y="230"/>
                </a:lnTo>
                <a:lnTo>
                  <a:pt x="200" y="230"/>
                </a:lnTo>
                <a:lnTo>
                  <a:pt x="204" y="234"/>
                </a:lnTo>
                <a:lnTo>
                  <a:pt x="206" y="238"/>
                </a:lnTo>
                <a:lnTo>
                  <a:pt x="208" y="242"/>
                </a:lnTo>
                <a:lnTo>
                  <a:pt x="208" y="344"/>
                </a:lnTo>
                <a:close/>
                <a:moveTo>
                  <a:pt x="248" y="362"/>
                </a:moveTo>
                <a:lnTo>
                  <a:pt x="248" y="362"/>
                </a:lnTo>
                <a:lnTo>
                  <a:pt x="246" y="366"/>
                </a:lnTo>
                <a:lnTo>
                  <a:pt x="244" y="370"/>
                </a:lnTo>
                <a:lnTo>
                  <a:pt x="240" y="374"/>
                </a:lnTo>
                <a:lnTo>
                  <a:pt x="234" y="374"/>
                </a:lnTo>
                <a:lnTo>
                  <a:pt x="230" y="374"/>
                </a:lnTo>
                <a:lnTo>
                  <a:pt x="226" y="370"/>
                </a:lnTo>
                <a:lnTo>
                  <a:pt x="224" y="366"/>
                </a:lnTo>
                <a:lnTo>
                  <a:pt x="222" y="362"/>
                </a:lnTo>
                <a:lnTo>
                  <a:pt x="222" y="224"/>
                </a:lnTo>
                <a:lnTo>
                  <a:pt x="224" y="220"/>
                </a:lnTo>
                <a:lnTo>
                  <a:pt x="226" y="216"/>
                </a:lnTo>
                <a:lnTo>
                  <a:pt x="230" y="214"/>
                </a:lnTo>
                <a:lnTo>
                  <a:pt x="234" y="212"/>
                </a:lnTo>
                <a:lnTo>
                  <a:pt x="240" y="214"/>
                </a:lnTo>
                <a:lnTo>
                  <a:pt x="244" y="216"/>
                </a:lnTo>
                <a:lnTo>
                  <a:pt x="246" y="220"/>
                </a:lnTo>
                <a:lnTo>
                  <a:pt x="248" y="224"/>
                </a:lnTo>
                <a:lnTo>
                  <a:pt x="248" y="362"/>
                </a:lnTo>
                <a:close/>
                <a:moveTo>
                  <a:pt x="588" y="522"/>
                </a:moveTo>
                <a:lnTo>
                  <a:pt x="588" y="522"/>
                </a:lnTo>
                <a:lnTo>
                  <a:pt x="588" y="524"/>
                </a:lnTo>
                <a:lnTo>
                  <a:pt x="578" y="536"/>
                </a:lnTo>
                <a:lnTo>
                  <a:pt x="564" y="546"/>
                </a:lnTo>
                <a:lnTo>
                  <a:pt x="548" y="554"/>
                </a:lnTo>
                <a:lnTo>
                  <a:pt x="540" y="554"/>
                </a:lnTo>
                <a:lnTo>
                  <a:pt x="532" y="556"/>
                </a:lnTo>
                <a:lnTo>
                  <a:pt x="514" y="554"/>
                </a:lnTo>
                <a:lnTo>
                  <a:pt x="498" y="548"/>
                </a:lnTo>
                <a:lnTo>
                  <a:pt x="482" y="540"/>
                </a:lnTo>
                <a:lnTo>
                  <a:pt x="470" y="530"/>
                </a:lnTo>
                <a:lnTo>
                  <a:pt x="458" y="516"/>
                </a:lnTo>
                <a:lnTo>
                  <a:pt x="450" y="502"/>
                </a:lnTo>
                <a:lnTo>
                  <a:pt x="446" y="486"/>
                </a:lnTo>
                <a:lnTo>
                  <a:pt x="444" y="468"/>
                </a:lnTo>
                <a:lnTo>
                  <a:pt x="444" y="454"/>
                </a:lnTo>
                <a:lnTo>
                  <a:pt x="448" y="440"/>
                </a:lnTo>
                <a:lnTo>
                  <a:pt x="424" y="440"/>
                </a:lnTo>
                <a:lnTo>
                  <a:pt x="408" y="438"/>
                </a:lnTo>
                <a:lnTo>
                  <a:pt x="394" y="434"/>
                </a:lnTo>
                <a:lnTo>
                  <a:pt x="380" y="428"/>
                </a:lnTo>
                <a:lnTo>
                  <a:pt x="368" y="418"/>
                </a:lnTo>
                <a:lnTo>
                  <a:pt x="358" y="406"/>
                </a:lnTo>
                <a:lnTo>
                  <a:pt x="350" y="394"/>
                </a:lnTo>
                <a:lnTo>
                  <a:pt x="346" y="380"/>
                </a:lnTo>
                <a:lnTo>
                  <a:pt x="344" y="364"/>
                </a:lnTo>
                <a:lnTo>
                  <a:pt x="342" y="364"/>
                </a:lnTo>
                <a:lnTo>
                  <a:pt x="322" y="358"/>
                </a:lnTo>
                <a:lnTo>
                  <a:pt x="306" y="350"/>
                </a:lnTo>
                <a:lnTo>
                  <a:pt x="290" y="342"/>
                </a:lnTo>
                <a:lnTo>
                  <a:pt x="278" y="332"/>
                </a:lnTo>
                <a:lnTo>
                  <a:pt x="272" y="326"/>
                </a:lnTo>
                <a:lnTo>
                  <a:pt x="266" y="318"/>
                </a:lnTo>
                <a:lnTo>
                  <a:pt x="264" y="308"/>
                </a:lnTo>
                <a:lnTo>
                  <a:pt x="262" y="298"/>
                </a:lnTo>
                <a:lnTo>
                  <a:pt x="264" y="290"/>
                </a:lnTo>
                <a:lnTo>
                  <a:pt x="266" y="280"/>
                </a:lnTo>
                <a:lnTo>
                  <a:pt x="272" y="272"/>
                </a:lnTo>
                <a:lnTo>
                  <a:pt x="278" y="264"/>
                </a:lnTo>
                <a:lnTo>
                  <a:pt x="296" y="252"/>
                </a:lnTo>
                <a:lnTo>
                  <a:pt x="316" y="242"/>
                </a:lnTo>
                <a:lnTo>
                  <a:pt x="342" y="234"/>
                </a:lnTo>
                <a:lnTo>
                  <a:pt x="370" y="228"/>
                </a:lnTo>
                <a:lnTo>
                  <a:pt x="400" y="224"/>
                </a:lnTo>
                <a:lnTo>
                  <a:pt x="434" y="222"/>
                </a:lnTo>
                <a:lnTo>
                  <a:pt x="458" y="224"/>
                </a:lnTo>
                <a:lnTo>
                  <a:pt x="482" y="226"/>
                </a:lnTo>
                <a:lnTo>
                  <a:pt x="504" y="230"/>
                </a:lnTo>
                <a:lnTo>
                  <a:pt x="526" y="234"/>
                </a:lnTo>
                <a:lnTo>
                  <a:pt x="544" y="240"/>
                </a:lnTo>
                <a:lnTo>
                  <a:pt x="562" y="248"/>
                </a:lnTo>
                <a:lnTo>
                  <a:pt x="576" y="256"/>
                </a:lnTo>
                <a:lnTo>
                  <a:pt x="588" y="264"/>
                </a:lnTo>
                <a:lnTo>
                  <a:pt x="596" y="272"/>
                </a:lnTo>
                <a:lnTo>
                  <a:pt x="600" y="280"/>
                </a:lnTo>
                <a:lnTo>
                  <a:pt x="604" y="290"/>
                </a:lnTo>
                <a:lnTo>
                  <a:pt x="604" y="298"/>
                </a:lnTo>
                <a:lnTo>
                  <a:pt x="604" y="308"/>
                </a:lnTo>
                <a:lnTo>
                  <a:pt x="600" y="318"/>
                </a:lnTo>
                <a:lnTo>
                  <a:pt x="596" y="326"/>
                </a:lnTo>
                <a:lnTo>
                  <a:pt x="588" y="332"/>
                </a:lnTo>
                <a:lnTo>
                  <a:pt x="586" y="336"/>
                </a:lnTo>
                <a:lnTo>
                  <a:pt x="582" y="342"/>
                </a:lnTo>
                <a:lnTo>
                  <a:pt x="580" y="348"/>
                </a:lnTo>
                <a:lnTo>
                  <a:pt x="582" y="356"/>
                </a:lnTo>
                <a:lnTo>
                  <a:pt x="592" y="376"/>
                </a:lnTo>
                <a:lnTo>
                  <a:pt x="600" y="398"/>
                </a:lnTo>
                <a:lnTo>
                  <a:pt x="606" y="420"/>
                </a:lnTo>
                <a:lnTo>
                  <a:pt x="608" y="444"/>
                </a:lnTo>
                <a:lnTo>
                  <a:pt x="606" y="466"/>
                </a:lnTo>
                <a:lnTo>
                  <a:pt x="602" y="486"/>
                </a:lnTo>
                <a:lnTo>
                  <a:pt x="596" y="504"/>
                </a:lnTo>
                <a:lnTo>
                  <a:pt x="588" y="522"/>
                </a:lnTo>
                <a:close/>
                <a:moveTo>
                  <a:pt x="452" y="374"/>
                </a:moveTo>
                <a:lnTo>
                  <a:pt x="452" y="374"/>
                </a:lnTo>
                <a:lnTo>
                  <a:pt x="448" y="374"/>
                </a:lnTo>
                <a:lnTo>
                  <a:pt x="446" y="380"/>
                </a:lnTo>
                <a:lnTo>
                  <a:pt x="444" y="388"/>
                </a:lnTo>
                <a:lnTo>
                  <a:pt x="440" y="394"/>
                </a:lnTo>
                <a:lnTo>
                  <a:pt x="436" y="400"/>
                </a:lnTo>
                <a:lnTo>
                  <a:pt x="430" y="404"/>
                </a:lnTo>
                <a:lnTo>
                  <a:pt x="424" y="406"/>
                </a:lnTo>
                <a:lnTo>
                  <a:pt x="418" y="404"/>
                </a:lnTo>
                <a:lnTo>
                  <a:pt x="412" y="398"/>
                </a:lnTo>
                <a:lnTo>
                  <a:pt x="412" y="394"/>
                </a:lnTo>
                <a:lnTo>
                  <a:pt x="412" y="388"/>
                </a:lnTo>
                <a:lnTo>
                  <a:pt x="414" y="384"/>
                </a:lnTo>
                <a:lnTo>
                  <a:pt x="418" y="382"/>
                </a:lnTo>
                <a:lnTo>
                  <a:pt x="422" y="380"/>
                </a:lnTo>
                <a:lnTo>
                  <a:pt x="422" y="376"/>
                </a:lnTo>
                <a:lnTo>
                  <a:pt x="422" y="374"/>
                </a:lnTo>
                <a:lnTo>
                  <a:pt x="416" y="374"/>
                </a:lnTo>
                <a:lnTo>
                  <a:pt x="392" y="372"/>
                </a:lnTo>
                <a:lnTo>
                  <a:pt x="368" y="370"/>
                </a:lnTo>
                <a:lnTo>
                  <a:pt x="372" y="378"/>
                </a:lnTo>
                <a:lnTo>
                  <a:pt x="376" y="388"/>
                </a:lnTo>
                <a:lnTo>
                  <a:pt x="380" y="396"/>
                </a:lnTo>
                <a:lnTo>
                  <a:pt x="388" y="402"/>
                </a:lnTo>
                <a:lnTo>
                  <a:pt x="396" y="408"/>
                </a:lnTo>
                <a:lnTo>
                  <a:pt x="404" y="412"/>
                </a:lnTo>
                <a:lnTo>
                  <a:pt x="414" y="414"/>
                </a:lnTo>
                <a:lnTo>
                  <a:pt x="424" y="416"/>
                </a:lnTo>
                <a:lnTo>
                  <a:pt x="460" y="416"/>
                </a:lnTo>
                <a:lnTo>
                  <a:pt x="466" y="410"/>
                </a:lnTo>
                <a:lnTo>
                  <a:pt x="470" y="402"/>
                </a:lnTo>
                <a:lnTo>
                  <a:pt x="472" y="394"/>
                </a:lnTo>
                <a:lnTo>
                  <a:pt x="470" y="386"/>
                </a:lnTo>
                <a:lnTo>
                  <a:pt x="466" y="380"/>
                </a:lnTo>
                <a:lnTo>
                  <a:pt x="460" y="376"/>
                </a:lnTo>
                <a:lnTo>
                  <a:pt x="452"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7" name="Freeform 82"/>
          <p:cNvSpPr>
            <a:spLocks noEditPoints="1"/>
          </p:cNvSpPr>
          <p:nvPr userDrawn="1"/>
        </p:nvSpPr>
        <p:spPr bwMode="auto">
          <a:xfrm>
            <a:off x="282765" y="3983222"/>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50 w 726"/>
              <a:gd name="T47" fmla="*/ 362 h 726"/>
              <a:gd name="T48" fmla="*/ 542 w 726"/>
              <a:gd name="T49" fmla="*/ 374 h 726"/>
              <a:gd name="T50" fmla="*/ 372 w 726"/>
              <a:gd name="T51" fmla="*/ 546 h 726"/>
              <a:gd name="T52" fmla="*/ 364 w 726"/>
              <a:gd name="T53" fmla="*/ 550 h 726"/>
              <a:gd name="T54" fmla="*/ 186 w 726"/>
              <a:gd name="T55" fmla="*/ 374 h 726"/>
              <a:gd name="T56" fmla="*/ 180 w 726"/>
              <a:gd name="T57" fmla="*/ 366 h 726"/>
              <a:gd name="T58" fmla="*/ 178 w 726"/>
              <a:gd name="T59" fmla="*/ 362 h 726"/>
              <a:gd name="T60" fmla="*/ 164 w 726"/>
              <a:gd name="T61" fmla="*/ 332 h 726"/>
              <a:gd name="T62" fmla="*/ 160 w 726"/>
              <a:gd name="T63" fmla="*/ 298 h 726"/>
              <a:gd name="T64" fmla="*/ 166 w 726"/>
              <a:gd name="T65" fmla="*/ 262 h 726"/>
              <a:gd name="T66" fmla="*/ 196 w 726"/>
              <a:gd name="T67" fmla="*/ 212 h 726"/>
              <a:gd name="T68" fmla="*/ 246 w 726"/>
              <a:gd name="T69" fmla="*/ 182 h 726"/>
              <a:gd name="T70" fmla="*/ 282 w 726"/>
              <a:gd name="T71" fmla="*/ 176 h 726"/>
              <a:gd name="T72" fmla="*/ 326 w 726"/>
              <a:gd name="T73" fmla="*/ 184 h 726"/>
              <a:gd name="T74" fmla="*/ 364 w 726"/>
              <a:gd name="T75" fmla="*/ 206 h 726"/>
              <a:gd name="T76" fmla="*/ 422 w 726"/>
              <a:gd name="T77" fmla="*/ 178 h 726"/>
              <a:gd name="T78" fmla="*/ 458 w 726"/>
              <a:gd name="T79" fmla="*/ 176 h 726"/>
              <a:gd name="T80" fmla="*/ 492 w 726"/>
              <a:gd name="T81" fmla="*/ 186 h 726"/>
              <a:gd name="T82" fmla="*/ 546 w 726"/>
              <a:gd name="T83" fmla="*/ 230 h 726"/>
              <a:gd name="T84" fmla="*/ 564 w 726"/>
              <a:gd name="T85" fmla="*/ 274 h 726"/>
              <a:gd name="T86" fmla="*/ 568 w 726"/>
              <a:gd name="T87" fmla="*/ 298 h 726"/>
              <a:gd name="T88" fmla="*/ 558 w 726"/>
              <a:gd name="T89" fmla="*/ 3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0" y="362"/>
                </a:moveTo>
                <a:lnTo>
                  <a:pt x="550" y="362"/>
                </a:lnTo>
                <a:lnTo>
                  <a:pt x="546" y="366"/>
                </a:lnTo>
                <a:lnTo>
                  <a:pt x="542" y="374"/>
                </a:lnTo>
                <a:lnTo>
                  <a:pt x="372" y="546"/>
                </a:lnTo>
                <a:lnTo>
                  <a:pt x="368" y="548"/>
                </a:lnTo>
                <a:lnTo>
                  <a:pt x="364" y="550"/>
                </a:lnTo>
                <a:lnTo>
                  <a:pt x="358" y="548"/>
                </a:lnTo>
                <a:lnTo>
                  <a:pt x="354" y="546"/>
                </a:lnTo>
                <a:lnTo>
                  <a:pt x="186" y="374"/>
                </a:lnTo>
                <a:lnTo>
                  <a:pt x="184" y="374"/>
                </a:lnTo>
                <a:lnTo>
                  <a:pt x="180" y="366"/>
                </a:lnTo>
                <a:lnTo>
                  <a:pt x="178" y="362"/>
                </a:lnTo>
                <a:lnTo>
                  <a:pt x="170" y="348"/>
                </a:lnTo>
                <a:lnTo>
                  <a:pt x="164" y="332"/>
                </a:lnTo>
                <a:lnTo>
                  <a:pt x="160" y="316"/>
                </a:lnTo>
                <a:lnTo>
                  <a:pt x="160" y="298"/>
                </a:lnTo>
                <a:lnTo>
                  <a:pt x="160" y="286"/>
                </a:lnTo>
                <a:lnTo>
                  <a:pt x="162" y="274"/>
                </a:lnTo>
                <a:lnTo>
                  <a:pt x="166" y="262"/>
                </a:lnTo>
                <a:lnTo>
                  <a:pt x="170" y="250"/>
                </a:lnTo>
                <a:lnTo>
                  <a:pt x="180" y="230"/>
                </a:lnTo>
                <a:lnTo>
                  <a:pt x="196" y="212"/>
                </a:lnTo>
                <a:lnTo>
                  <a:pt x="214" y="196"/>
                </a:lnTo>
                <a:lnTo>
                  <a:pt x="234" y="186"/>
                </a:lnTo>
                <a:lnTo>
                  <a:pt x="246" y="182"/>
                </a:lnTo>
                <a:lnTo>
                  <a:pt x="258" y="178"/>
                </a:lnTo>
                <a:lnTo>
                  <a:pt x="270" y="176"/>
                </a:lnTo>
                <a:lnTo>
                  <a:pt x="282" y="176"/>
                </a:lnTo>
                <a:lnTo>
                  <a:pt x="306" y="178"/>
                </a:lnTo>
                <a:lnTo>
                  <a:pt x="326" y="184"/>
                </a:lnTo>
                <a:lnTo>
                  <a:pt x="346" y="194"/>
                </a:lnTo>
                <a:lnTo>
                  <a:pt x="364" y="206"/>
                </a:lnTo>
                <a:lnTo>
                  <a:pt x="382" y="194"/>
                </a:lnTo>
                <a:lnTo>
                  <a:pt x="400" y="184"/>
                </a:lnTo>
                <a:lnTo>
                  <a:pt x="422" y="178"/>
                </a:lnTo>
                <a:lnTo>
                  <a:pt x="444" y="176"/>
                </a:lnTo>
                <a:lnTo>
                  <a:pt x="458" y="176"/>
                </a:lnTo>
                <a:lnTo>
                  <a:pt x="470" y="178"/>
                </a:lnTo>
                <a:lnTo>
                  <a:pt x="482" y="182"/>
                </a:lnTo>
                <a:lnTo>
                  <a:pt x="492" y="186"/>
                </a:lnTo>
                <a:lnTo>
                  <a:pt x="514" y="196"/>
                </a:lnTo>
                <a:lnTo>
                  <a:pt x="532" y="212"/>
                </a:lnTo>
                <a:lnTo>
                  <a:pt x="546" y="230"/>
                </a:lnTo>
                <a:lnTo>
                  <a:pt x="558" y="250"/>
                </a:lnTo>
                <a:lnTo>
                  <a:pt x="562" y="262"/>
                </a:lnTo>
                <a:lnTo>
                  <a:pt x="564" y="274"/>
                </a:lnTo>
                <a:lnTo>
                  <a:pt x="566" y="286"/>
                </a:lnTo>
                <a:lnTo>
                  <a:pt x="568" y="298"/>
                </a:lnTo>
                <a:lnTo>
                  <a:pt x="566" y="316"/>
                </a:lnTo>
                <a:lnTo>
                  <a:pt x="562" y="332"/>
                </a:lnTo>
                <a:lnTo>
                  <a:pt x="558" y="348"/>
                </a:lnTo>
                <a:lnTo>
                  <a:pt x="550" y="36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 name="Freeform 94"/>
          <p:cNvSpPr>
            <a:spLocks noEditPoints="1"/>
          </p:cNvSpPr>
          <p:nvPr userDrawn="1"/>
        </p:nvSpPr>
        <p:spPr bwMode="auto">
          <a:xfrm>
            <a:off x="1758737"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4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4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482 w 726"/>
              <a:gd name="T87" fmla="*/ 284 h 726"/>
              <a:gd name="T88" fmla="*/ 486 w 726"/>
              <a:gd name="T89" fmla="*/ 268 h 726"/>
              <a:gd name="T90" fmla="*/ 462 w 726"/>
              <a:gd name="T91" fmla="*/ 246 h 726"/>
              <a:gd name="T92" fmla="*/ 428 w 726"/>
              <a:gd name="T93" fmla="*/ 246 h 726"/>
              <a:gd name="T94" fmla="*/ 404 w 726"/>
              <a:gd name="T95" fmla="*/ 268 h 726"/>
              <a:gd name="T96" fmla="*/ 410 w 726"/>
              <a:gd name="T97" fmla="*/ 284 h 726"/>
              <a:gd name="T98" fmla="*/ 318 w 726"/>
              <a:gd name="T99" fmla="*/ 280 h 726"/>
              <a:gd name="T100" fmla="*/ 320 w 726"/>
              <a:gd name="T101" fmla="*/ 260 h 726"/>
              <a:gd name="T102" fmla="*/ 288 w 726"/>
              <a:gd name="T103" fmla="*/ 248 h 726"/>
              <a:gd name="T104" fmla="*/ 264 w 726"/>
              <a:gd name="T105" fmla="*/ 246 h 726"/>
              <a:gd name="T106" fmla="*/ 240 w 726"/>
              <a:gd name="T107" fmla="*/ 26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0"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4" y="342"/>
                </a:lnTo>
                <a:lnTo>
                  <a:pt x="576" y="362"/>
                </a:lnTo>
                <a:lnTo>
                  <a:pt x="574"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0" y="412"/>
                </a:lnTo>
                <a:lnTo>
                  <a:pt x="524" y="396"/>
                </a:lnTo>
                <a:lnTo>
                  <a:pt x="528" y="380"/>
                </a:lnTo>
                <a:lnTo>
                  <a:pt x="528" y="362"/>
                </a:lnTo>
                <a:lnTo>
                  <a:pt x="528" y="358"/>
                </a:lnTo>
                <a:lnTo>
                  <a:pt x="524" y="354"/>
                </a:lnTo>
                <a:lnTo>
                  <a:pt x="520" y="352"/>
                </a:lnTo>
                <a:lnTo>
                  <a:pt x="516" y="350"/>
                </a:lnTo>
                <a:lnTo>
                  <a:pt x="210" y="350"/>
                </a:lnTo>
                <a:lnTo>
                  <a:pt x="206" y="352"/>
                </a:lnTo>
                <a:lnTo>
                  <a:pt x="202" y="354"/>
                </a:lnTo>
                <a:close/>
                <a:moveTo>
                  <a:pt x="504" y="376"/>
                </a:moveTo>
                <a:lnTo>
                  <a:pt x="504" y="376"/>
                </a:lnTo>
                <a:lnTo>
                  <a:pt x="498"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48" y="502"/>
                </a:lnTo>
                <a:lnTo>
                  <a:pt x="334" y="500"/>
                </a:lnTo>
                <a:lnTo>
                  <a:pt x="322" y="496"/>
                </a:lnTo>
                <a:lnTo>
                  <a:pt x="308" y="492"/>
                </a:lnTo>
                <a:lnTo>
                  <a:pt x="296" y="486"/>
                </a:lnTo>
                <a:lnTo>
                  <a:pt x="284" y="480"/>
                </a:lnTo>
                <a:lnTo>
                  <a:pt x="274" y="472"/>
                </a:lnTo>
                <a:lnTo>
                  <a:pt x="264" y="462"/>
                </a:lnTo>
                <a:lnTo>
                  <a:pt x="248" y="444"/>
                </a:lnTo>
                <a:lnTo>
                  <a:pt x="236" y="422"/>
                </a:lnTo>
                <a:lnTo>
                  <a:pt x="228" y="400"/>
                </a:lnTo>
                <a:lnTo>
                  <a:pt x="224" y="376"/>
                </a:lnTo>
                <a:lnTo>
                  <a:pt x="504" y="376"/>
                </a:lnTo>
                <a:close/>
                <a:moveTo>
                  <a:pt x="410" y="284"/>
                </a:moveTo>
                <a:lnTo>
                  <a:pt x="446" y="320"/>
                </a:lnTo>
                <a:lnTo>
                  <a:pt x="482" y="284"/>
                </a:lnTo>
                <a:lnTo>
                  <a:pt x="482" y="280"/>
                </a:lnTo>
                <a:lnTo>
                  <a:pt x="486" y="276"/>
                </a:lnTo>
                <a:lnTo>
                  <a:pt x="486" y="268"/>
                </a:lnTo>
                <a:lnTo>
                  <a:pt x="484" y="260"/>
                </a:lnTo>
                <a:lnTo>
                  <a:pt x="480" y="252"/>
                </a:lnTo>
                <a:lnTo>
                  <a:pt x="472" y="248"/>
                </a:lnTo>
                <a:lnTo>
                  <a:pt x="462" y="246"/>
                </a:lnTo>
                <a:lnTo>
                  <a:pt x="454" y="248"/>
                </a:lnTo>
                <a:lnTo>
                  <a:pt x="446" y="252"/>
                </a:lnTo>
                <a:lnTo>
                  <a:pt x="438" y="248"/>
                </a:lnTo>
                <a:lnTo>
                  <a:pt x="428" y="246"/>
                </a:lnTo>
                <a:lnTo>
                  <a:pt x="420" y="248"/>
                </a:lnTo>
                <a:lnTo>
                  <a:pt x="412" y="252"/>
                </a:lnTo>
                <a:lnTo>
                  <a:pt x="406" y="260"/>
                </a:lnTo>
                <a:lnTo>
                  <a:pt x="404" y="268"/>
                </a:lnTo>
                <a:lnTo>
                  <a:pt x="406" y="276"/>
                </a:lnTo>
                <a:lnTo>
                  <a:pt x="408" y="280"/>
                </a:lnTo>
                <a:lnTo>
                  <a:pt x="410" y="284"/>
                </a:lnTo>
                <a:close/>
                <a:moveTo>
                  <a:pt x="246" y="284"/>
                </a:moveTo>
                <a:lnTo>
                  <a:pt x="282" y="320"/>
                </a:lnTo>
                <a:lnTo>
                  <a:pt x="318" y="284"/>
                </a:lnTo>
                <a:lnTo>
                  <a:pt x="318" y="280"/>
                </a:lnTo>
                <a:lnTo>
                  <a:pt x="322" y="276"/>
                </a:lnTo>
                <a:lnTo>
                  <a:pt x="322" y="268"/>
                </a:lnTo>
                <a:lnTo>
                  <a:pt x="320" y="260"/>
                </a:lnTo>
                <a:lnTo>
                  <a:pt x="316" y="252"/>
                </a:lnTo>
                <a:lnTo>
                  <a:pt x="308" y="248"/>
                </a:lnTo>
                <a:lnTo>
                  <a:pt x="298" y="246"/>
                </a:lnTo>
                <a:lnTo>
                  <a:pt x="288" y="248"/>
                </a:lnTo>
                <a:lnTo>
                  <a:pt x="282" y="252"/>
                </a:lnTo>
                <a:lnTo>
                  <a:pt x="274" y="248"/>
                </a:lnTo>
                <a:lnTo>
                  <a:pt x="264" y="246"/>
                </a:lnTo>
                <a:lnTo>
                  <a:pt x="254" y="248"/>
                </a:lnTo>
                <a:lnTo>
                  <a:pt x="248" y="252"/>
                </a:lnTo>
                <a:lnTo>
                  <a:pt x="242" y="260"/>
                </a:lnTo>
                <a:lnTo>
                  <a:pt x="240" y="268"/>
                </a:lnTo>
                <a:lnTo>
                  <a:pt x="242" y="276"/>
                </a:lnTo>
                <a:lnTo>
                  <a:pt x="244" y="280"/>
                </a:lnTo>
                <a:lnTo>
                  <a:pt x="246" y="2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 name="Freeform 187"/>
          <p:cNvSpPr>
            <a:spLocks noEditPoints="1"/>
          </p:cNvSpPr>
          <p:nvPr userDrawn="1"/>
        </p:nvSpPr>
        <p:spPr bwMode="auto">
          <a:xfrm>
            <a:off x="12090544" y="2536609"/>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20 w 726"/>
              <a:gd name="T29" fmla="*/ 620 h 726"/>
              <a:gd name="T30" fmla="*/ 682 w 726"/>
              <a:gd name="T31" fmla="*/ 536 h 726"/>
              <a:gd name="T32" fmla="*/ 718 w 726"/>
              <a:gd name="T33" fmla="*/ 436 h 726"/>
              <a:gd name="T34" fmla="*/ 726 w 726"/>
              <a:gd name="T35" fmla="*/ 362 h 726"/>
              <a:gd name="T36" fmla="*/ 710 w 726"/>
              <a:gd name="T37" fmla="*/ 254 h 726"/>
              <a:gd name="T38" fmla="*/ 664 w 726"/>
              <a:gd name="T39" fmla="*/ 160 h 726"/>
              <a:gd name="T40" fmla="*/ 594 w 726"/>
              <a:gd name="T41" fmla="*/ 82 h 726"/>
              <a:gd name="T42" fmla="*/ 504 w 726"/>
              <a:gd name="T43" fmla="*/ 28 h 726"/>
              <a:gd name="T44" fmla="*/ 400 w 726"/>
              <a:gd name="T45" fmla="*/ 2 h 726"/>
              <a:gd name="T46" fmla="*/ 162 w 726"/>
              <a:gd name="T47" fmla="*/ 266 h 726"/>
              <a:gd name="T48" fmla="*/ 178 w 726"/>
              <a:gd name="T49" fmla="*/ 252 h 726"/>
              <a:gd name="T50" fmla="*/ 198 w 726"/>
              <a:gd name="T51" fmla="*/ 250 h 726"/>
              <a:gd name="T52" fmla="*/ 162 w 726"/>
              <a:gd name="T53" fmla="*/ 266 h 726"/>
              <a:gd name="T54" fmla="*/ 304 w 726"/>
              <a:gd name="T55" fmla="*/ 364 h 726"/>
              <a:gd name="T56" fmla="*/ 186 w 726"/>
              <a:gd name="T57" fmla="*/ 192 h 726"/>
              <a:gd name="T58" fmla="*/ 210 w 726"/>
              <a:gd name="T59" fmla="*/ 184 h 726"/>
              <a:gd name="T60" fmla="*/ 230 w 726"/>
              <a:gd name="T61" fmla="*/ 194 h 726"/>
              <a:gd name="T62" fmla="*/ 262 w 726"/>
              <a:gd name="T63" fmla="*/ 236 h 726"/>
              <a:gd name="T64" fmla="*/ 302 w 726"/>
              <a:gd name="T65" fmla="*/ 350 h 726"/>
              <a:gd name="T66" fmla="*/ 302 w 726"/>
              <a:gd name="T67" fmla="*/ 362 h 726"/>
              <a:gd name="T68" fmla="*/ 236 w 726"/>
              <a:gd name="T69" fmla="*/ 142 h 726"/>
              <a:gd name="T70" fmla="*/ 262 w 726"/>
              <a:gd name="T71" fmla="*/ 138 h 726"/>
              <a:gd name="T72" fmla="*/ 280 w 726"/>
              <a:gd name="T73" fmla="*/ 154 h 726"/>
              <a:gd name="T74" fmla="*/ 336 w 726"/>
              <a:gd name="T75" fmla="*/ 282 h 726"/>
              <a:gd name="T76" fmla="*/ 314 w 726"/>
              <a:gd name="T77" fmla="*/ 326 h 726"/>
              <a:gd name="T78" fmla="*/ 432 w 726"/>
              <a:gd name="T79" fmla="*/ 454 h 726"/>
              <a:gd name="T80" fmla="*/ 322 w 726"/>
              <a:gd name="T81" fmla="*/ 378 h 726"/>
              <a:gd name="T82" fmla="*/ 316 w 726"/>
              <a:gd name="T83" fmla="*/ 360 h 726"/>
              <a:gd name="T84" fmla="*/ 316 w 726"/>
              <a:gd name="T85" fmla="*/ 350 h 726"/>
              <a:gd name="T86" fmla="*/ 420 w 726"/>
              <a:gd name="T87" fmla="*/ 166 h 726"/>
              <a:gd name="T88" fmla="*/ 438 w 726"/>
              <a:gd name="T89" fmla="*/ 184 h 726"/>
              <a:gd name="T90" fmla="*/ 436 w 726"/>
              <a:gd name="T91" fmla="*/ 208 h 726"/>
              <a:gd name="T92" fmla="*/ 382 w 726"/>
              <a:gd name="T93" fmla="*/ 308 h 726"/>
              <a:gd name="T94" fmla="*/ 380 w 726"/>
              <a:gd name="T95" fmla="*/ 328 h 726"/>
              <a:gd name="T96" fmla="*/ 392 w 726"/>
              <a:gd name="T97" fmla="*/ 344 h 726"/>
              <a:gd name="T98" fmla="*/ 424 w 726"/>
              <a:gd name="T99" fmla="*/ 342 h 726"/>
              <a:gd name="T100" fmla="*/ 434 w 726"/>
              <a:gd name="T101" fmla="*/ 324 h 726"/>
              <a:gd name="T102" fmla="*/ 426 w 726"/>
              <a:gd name="T103" fmla="*/ 270 h 726"/>
              <a:gd name="T104" fmla="*/ 440 w 726"/>
              <a:gd name="T105" fmla="*/ 236 h 726"/>
              <a:gd name="T106" fmla="*/ 462 w 726"/>
              <a:gd name="T107" fmla="*/ 228 h 726"/>
              <a:gd name="T108" fmla="*/ 490 w 726"/>
              <a:gd name="T109" fmla="*/ 580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2" y="266"/>
                </a:moveTo>
                <a:lnTo>
                  <a:pt x="162" y="266"/>
                </a:lnTo>
                <a:lnTo>
                  <a:pt x="166" y="260"/>
                </a:lnTo>
                <a:lnTo>
                  <a:pt x="172" y="256"/>
                </a:lnTo>
                <a:lnTo>
                  <a:pt x="178" y="252"/>
                </a:lnTo>
                <a:lnTo>
                  <a:pt x="184" y="250"/>
                </a:lnTo>
                <a:lnTo>
                  <a:pt x="190" y="250"/>
                </a:lnTo>
                <a:lnTo>
                  <a:pt x="198" y="250"/>
                </a:lnTo>
                <a:lnTo>
                  <a:pt x="214" y="258"/>
                </a:lnTo>
                <a:lnTo>
                  <a:pt x="272" y="344"/>
                </a:lnTo>
                <a:lnTo>
                  <a:pt x="162" y="266"/>
                </a:lnTo>
                <a:close/>
                <a:moveTo>
                  <a:pt x="302" y="362"/>
                </a:moveTo>
                <a:lnTo>
                  <a:pt x="302" y="362"/>
                </a:lnTo>
                <a:lnTo>
                  <a:pt x="304" y="364"/>
                </a:lnTo>
                <a:lnTo>
                  <a:pt x="302" y="364"/>
                </a:lnTo>
                <a:lnTo>
                  <a:pt x="186" y="192"/>
                </a:lnTo>
                <a:lnTo>
                  <a:pt x="194" y="186"/>
                </a:lnTo>
                <a:lnTo>
                  <a:pt x="202" y="184"/>
                </a:lnTo>
                <a:lnTo>
                  <a:pt x="210" y="184"/>
                </a:lnTo>
                <a:lnTo>
                  <a:pt x="216" y="184"/>
                </a:lnTo>
                <a:lnTo>
                  <a:pt x="224" y="188"/>
                </a:lnTo>
                <a:lnTo>
                  <a:pt x="230" y="194"/>
                </a:lnTo>
                <a:lnTo>
                  <a:pt x="238" y="202"/>
                </a:lnTo>
                <a:lnTo>
                  <a:pt x="246" y="212"/>
                </a:lnTo>
                <a:lnTo>
                  <a:pt x="262" y="236"/>
                </a:lnTo>
                <a:lnTo>
                  <a:pt x="306" y="342"/>
                </a:lnTo>
                <a:lnTo>
                  <a:pt x="302" y="350"/>
                </a:lnTo>
                <a:lnTo>
                  <a:pt x="302" y="358"/>
                </a:lnTo>
                <a:lnTo>
                  <a:pt x="302" y="362"/>
                </a:lnTo>
                <a:close/>
                <a:moveTo>
                  <a:pt x="312" y="322"/>
                </a:moveTo>
                <a:lnTo>
                  <a:pt x="236" y="142"/>
                </a:lnTo>
                <a:lnTo>
                  <a:pt x="246" y="138"/>
                </a:lnTo>
                <a:lnTo>
                  <a:pt x="254" y="138"/>
                </a:lnTo>
                <a:lnTo>
                  <a:pt x="262" y="138"/>
                </a:lnTo>
                <a:lnTo>
                  <a:pt x="268" y="142"/>
                </a:lnTo>
                <a:lnTo>
                  <a:pt x="274" y="146"/>
                </a:lnTo>
                <a:lnTo>
                  <a:pt x="280" y="154"/>
                </a:lnTo>
                <a:lnTo>
                  <a:pt x="286" y="162"/>
                </a:lnTo>
                <a:lnTo>
                  <a:pt x="292" y="174"/>
                </a:lnTo>
                <a:lnTo>
                  <a:pt x="336" y="282"/>
                </a:lnTo>
                <a:lnTo>
                  <a:pt x="336" y="284"/>
                </a:lnTo>
                <a:lnTo>
                  <a:pt x="314" y="326"/>
                </a:lnTo>
                <a:lnTo>
                  <a:pt x="312" y="322"/>
                </a:lnTo>
                <a:close/>
                <a:moveTo>
                  <a:pt x="386" y="580"/>
                </a:moveTo>
                <a:lnTo>
                  <a:pt x="432" y="454"/>
                </a:lnTo>
                <a:lnTo>
                  <a:pt x="328" y="382"/>
                </a:lnTo>
                <a:lnTo>
                  <a:pt x="322" y="378"/>
                </a:lnTo>
                <a:lnTo>
                  <a:pt x="320" y="372"/>
                </a:lnTo>
                <a:lnTo>
                  <a:pt x="316" y="360"/>
                </a:lnTo>
                <a:lnTo>
                  <a:pt x="316" y="358"/>
                </a:lnTo>
                <a:lnTo>
                  <a:pt x="316" y="350"/>
                </a:lnTo>
                <a:lnTo>
                  <a:pt x="320" y="342"/>
                </a:lnTo>
                <a:lnTo>
                  <a:pt x="420" y="166"/>
                </a:lnTo>
                <a:lnTo>
                  <a:pt x="428" y="172"/>
                </a:lnTo>
                <a:lnTo>
                  <a:pt x="434" y="178"/>
                </a:lnTo>
                <a:lnTo>
                  <a:pt x="438" y="184"/>
                </a:lnTo>
                <a:lnTo>
                  <a:pt x="440" y="192"/>
                </a:lnTo>
                <a:lnTo>
                  <a:pt x="438" y="200"/>
                </a:lnTo>
                <a:lnTo>
                  <a:pt x="436" y="208"/>
                </a:lnTo>
                <a:lnTo>
                  <a:pt x="432" y="218"/>
                </a:lnTo>
                <a:lnTo>
                  <a:pt x="426" y="230"/>
                </a:lnTo>
                <a:lnTo>
                  <a:pt x="382" y="308"/>
                </a:lnTo>
                <a:lnTo>
                  <a:pt x="380" y="318"/>
                </a:lnTo>
                <a:lnTo>
                  <a:pt x="380" y="328"/>
                </a:lnTo>
                <a:lnTo>
                  <a:pt x="384" y="338"/>
                </a:lnTo>
                <a:lnTo>
                  <a:pt x="392" y="344"/>
                </a:lnTo>
                <a:lnTo>
                  <a:pt x="404" y="348"/>
                </a:lnTo>
                <a:lnTo>
                  <a:pt x="414" y="348"/>
                </a:lnTo>
                <a:lnTo>
                  <a:pt x="424" y="342"/>
                </a:lnTo>
                <a:lnTo>
                  <a:pt x="430" y="334"/>
                </a:lnTo>
                <a:lnTo>
                  <a:pt x="434" y="324"/>
                </a:lnTo>
                <a:lnTo>
                  <a:pt x="432" y="314"/>
                </a:lnTo>
                <a:lnTo>
                  <a:pt x="426" y="270"/>
                </a:lnTo>
                <a:lnTo>
                  <a:pt x="426" y="256"/>
                </a:lnTo>
                <a:lnTo>
                  <a:pt x="432" y="246"/>
                </a:lnTo>
                <a:lnTo>
                  <a:pt x="440" y="236"/>
                </a:lnTo>
                <a:lnTo>
                  <a:pt x="452" y="230"/>
                </a:lnTo>
                <a:lnTo>
                  <a:pt x="462" y="228"/>
                </a:lnTo>
                <a:lnTo>
                  <a:pt x="490" y="388"/>
                </a:lnTo>
                <a:lnTo>
                  <a:pt x="490" y="580"/>
                </a:lnTo>
                <a:lnTo>
                  <a:pt x="386" y="5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0" name="Freeform 234"/>
          <p:cNvSpPr>
            <a:spLocks noEditPoints="1"/>
          </p:cNvSpPr>
          <p:nvPr userDrawn="1"/>
        </p:nvSpPr>
        <p:spPr bwMode="auto">
          <a:xfrm>
            <a:off x="4710681" y="3983222"/>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6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6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274 w 726"/>
              <a:gd name="T87" fmla="*/ 282 h 726"/>
              <a:gd name="T88" fmla="*/ 300 w 726"/>
              <a:gd name="T89" fmla="*/ 300 h 726"/>
              <a:gd name="T90" fmla="*/ 312 w 726"/>
              <a:gd name="T91" fmla="*/ 308 h 726"/>
              <a:gd name="T92" fmla="*/ 324 w 726"/>
              <a:gd name="T93" fmla="*/ 296 h 726"/>
              <a:gd name="T94" fmla="*/ 304 w 726"/>
              <a:gd name="T95" fmla="*/ 268 h 726"/>
              <a:gd name="T96" fmla="*/ 274 w 726"/>
              <a:gd name="T97" fmla="*/ 258 h 726"/>
              <a:gd name="T98" fmla="*/ 240 w 726"/>
              <a:gd name="T99" fmla="*/ 270 h 726"/>
              <a:gd name="T100" fmla="*/ 238 w 726"/>
              <a:gd name="T101" fmla="*/ 288 h 726"/>
              <a:gd name="T102" fmla="*/ 412 w 726"/>
              <a:gd name="T103" fmla="*/ 308 h 726"/>
              <a:gd name="T104" fmla="*/ 426 w 726"/>
              <a:gd name="T105" fmla="*/ 304 h 726"/>
              <a:gd name="T106" fmla="*/ 438 w 726"/>
              <a:gd name="T107" fmla="*/ 288 h 726"/>
              <a:gd name="T108" fmla="*/ 470 w 726"/>
              <a:gd name="T109" fmla="*/ 290 h 726"/>
              <a:gd name="T110" fmla="*/ 488 w 726"/>
              <a:gd name="T111" fmla="*/ 288 h 726"/>
              <a:gd name="T112" fmla="*/ 488 w 726"/>
              <a:gd name="T113" fmla="*/ 270 h 726"/>
              <a:gd name="T114" fmla="*/ 454 w 726"/>
              <a:gd name="T115" fmla="*/ 258 h 726"/>
              <a:gd name="T116" fmla="*/ 422 w 726"/>
              <a:gd name="T117" fmla="*/ 268 h 726"/>
              <a:gd name="T118" fmla="*/ 404 w 726"/>
              <a:gd name="T119" fmla="*/ 302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2"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6" y="342"/>
                </a:lnTo>
                <a:lnTo>
                  <a:pt x="576" y="362"/>
                </a:lnTo>
                <a:lnTo>
                  <a:pt x="576"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2" y="412"/>
                </a:lnTo>
                <a:lnTo>
                  <a:pt x="526" y="396"/>
                </a:lnTo>
                <a:lnTo>
                  <a:pt x="528" y="380"/>
                </a:lnTo>
                <a:lnTo>
                  <a:pt x="528" y="362"/>
                </a:lnTo>
                <a:lnTo>
                  <a:pt x="528" y="358"/>
                </a:lnTo>
                <a:lnTo>
                  <a:pt x="526" y="354"/>
                </a:lnTo>
                <a:lnTo>
                  <a:pt x="522" y="352"/>
                </a:lnTo>
                <a:lnTo>
                  <a:pt x="516" y="350"/>
                </a:lnTo>
                <a:lnTo>
                  <a:pt x="210" y="350"/>
                </a:lnTo>
                <a:lnTo>
                  <a:pt x="206" y="352"/>
                </a:lnTo>
                <a:lnTo>
                  <a:pt x="202" y="354"/>
                </a:lnTo>
                <a:close/>
                <a:moveTo>
                  <a:pt x="504" y="376"/>
                </a:moveTo>
                <a:lnTo>
                  <a:pt x="504" y="376"/>
                </a:lnTo>
                <a:lnTo>
                  <a:pt x="500"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50" y="502"/>
                </a:lnTo>
                <a:lnTo>
                  <a:pt x="336" y="500"/>
                </a:lnTo>
                <a:lnTo>
                  <a:pt x="322" y="496"/>
                </a:lnTo>
                <a:lnTo>
                  <a:pt x="308" y="492"/>
                </a:lnTo>
                <a:lnTo>
                  <a:pt x="296" y="486"/>
                </a:lnTo>
                <a:lnTo>
                  <a:pt x="286" y="480"/>
                </a:lnTo>
                <a:lnTo>
                  <a:pt x="274" y="472"/>
                </a:lnTo>
                <a:lnTo>
                  <a:pt x="264" y="462"/>
                </a:lnTo>
                <a:lnTo>
                  <a:pt x="248" y="444"/>
                </a:lnTo>
                <a:lnTo>
                  <a:pt x="236" y="422"/>
                </a:lnTo>
                <a:lnTo>
                  <a:pt x="228" y="400"/>
                </a:lnTo>
                <a:lnTo>
                  <a:pt x="224" y="376"/>
                </a:lnTo>
                <a:lnTo>
                  <a:pt x="504" y="376"/>
                </a:lnTo>
                <a:close/>
                <a:moveTo>
                  <a:pt x="256" y="290"/>
                </a:moveTo>
                <a:lnTo>
                  <a:pt x="256" y="290"/>
                </a:lnTo>
                <a:lnTo>
                  <a:pt x="264" y="284"/>
                </a:lnTo>
                <a:lnTo>
                  <a:pt x="274" y="282"/>
                </a:lnTo>
                <a:lnTo>
                  <a:pt x="282" y="284"/>
                </a:lnTo>
                <a:lnTo>
                  <a:pt x="290" y="288"/>
                </a:lnTo>
                <a:lnTo>
                  <a:pt x="296" y="294"/>
                </a:lnTo>
                <a:lnTo>
                  <a:pt x="300" y="300"/>
                </a:lnTo>
                <a:lnTo>
                  <a:pt x="302" y="304"/>
                </a:lnTo>
                <a:lnTo>
                  <a:pt x="304" y="306"/>
                </a:lnTo>
                <a:lnTo>
                  <a:pt x="312" y="308"/>
                </a:lnTo>
                <a:lnTo>
                  <a:pt x="316" y="308"/>
                </a:lnTo>
                <a:lnTo>
                  <a:pt x="320" y="306"/>
                </a:lnTo>
                <a:lnTo>
                  <a:pt x="322" y="302"/>
                </a:lnTo>
                <a:lnTo>
                  <a:pt x="324" y="296"/>
                </a:lnTo>
                <a:lnTo>
                  <a:pt x="324" y="292"/>
                </a:lnTo>
                <a:lnTo>
                  <a:pt x="316" y="278"/>
                </a:lnTo>
                <a:lnTo>
                  <a:pt x="304" y="268"/>
                </a:lnTo>
                <a:lnTo>
                  <a:pt x="298" y="264"/>
                </a:lnTo>
                <a:lnTo>
                  <a:pt x="290" y="260"/>
                </a:lnTo>
                <a:lnTo>
                  <a:pt x="282" y="258"/>
                </a:lnTo>
                <a:lnTo>
                  <a:pt x="274" y="258"/>
                </a:lnTo>
                <a:lnTo>
                  <a:pt x="264" y="258"/>
                </a:lnTo>
                <a:lnTo>
                  <a:pt x="256" y="262"/>
                </a:lnTo>
                <a:lnTo>
                  <a:pt x="248" y="266"/>
                </a:lnTo>
                <a:lnTo>
                  <a:pt x="240" y="270"/>
                </a:lnTo>
                <a:lnTo>
                  <a:pt x="238" y="274"/>
                </a:lnTo>
                <a:lnTo>
                  <a:pt x="236" y="278"/>
                </a:lnTo>
                <a:lnTo>
                  <a:pt x="236" y="284"/>
                </a:lnTo>
                <a:lnTo>
                  <a:pt x="238" y="288"/>
                </a:lnTo>
                <a:lnTo>
                  <a:pt x="242" y="290"/>
                </a:lnTo>
                <a:lnTo>
                  <a:pt x="248" y="292"/>
                </a:lnTo>
                <a:lnTo>
                  <a:pt x="252" y="292"/>
                </a:lnTo>
                <a:lnTo>
                  <a:pt x="256" y="290"/>
                </a:lnTo>
                <a:close/>
                <a:moveTo>
                  <a:pt x="412" y="308"/>
                </a:moveTo>
                <a:lnTo>
                  <a:pt x="412" y="308"/>
                </a:lnTo>
                <a:lnTo>
                  <a:pt x="416" y="308"/>
                </a:lnTo>
                <a:lnTo>
                  <a:pt x="422" y="306"/>
                </a:lnTo>
                <a:lnTo>
                  <a:pt x="426" y="304"/>
                </a:lnTo>
                <a:lnTo>
                  <a:pt x="428" y="300"/>
                </a:lnTo>
                <a:lnTo>
                  <a:pt x="432" y="294"/>
                </a:lnTo>
                <a:lnTo>
                  <a:pt x="438" y="288"/>
                </a:lnTo>
                <a:lnTo>
                  <a:pt x="444" y="284"/>
                </a:lnTo>
                <a:lnTo>
                  <a:pt x="454" y="282"/>
                </a:lnTo>
                <a:lnTo>
                  <a:pt x="462" y="284"/>
                </a:lnTo>
                <a:lnTo>
                  <a:pt x="470" y="290"/>
                </a:lnTo>
                <a:lnTo>
                  <a:pt x="476" y="292"/>
                </a:lnTo>
                <a:lnTo>
                  <a:pt x="480" y="292"/>
                </a:lnTo>
                <a:lnTo>
                  <a:pt x="484" y="290"/>
                </a:lnTo>
                <a:lnTo>
                  <a:pt x="488" y="288"/>
                </a:lnTo>
                <a:lnTo>
                  <a:pt x="490" y="284"/>
                </a:lnTo>
                <a:lnTo>
                  <a:pt x="492" y="278"/>
                </a:lnTo>
                <a:lnTo>
                  <a:pt x="490" y="274"/>
                </a:lnTo>
                <a:lnTo>
                  <a:pt x="488" y="270"/>
                </a:lnTo>
                <a:lnTo>
                  <a:pt x="480" y="266"/>
                </a:lnTo>
                <a:lnTo>
                  <a:pt x="472" y="262"/>
                </a:lnTo>
                <a:lnTo>
                  <a:pt x="462" y="258"/>
                </a:lnTo>
                <a:lnTo>
                  <a:pt x="454" y="258"/>
                </a:lnTo>
                <a:lnTo>
                  <a:pt x="444" y="258"/>
                </a:lnTo>
                <a:lnTo>
                  <a:pt x="436" y="260"/>
                </a:lnTo>
                <a:lnTo>
                  <a:pt x="430" y="264"/>
                </a:lnTo>
                <a:lnTo>
                  <a:pt x="422" y="268"/>
                </a:lnTo>
                <a:lnTo>
                  <a:pt x="412" y="278"/>
                </a:lnTo>
                <a:lnTo>
                  <a:pt x="404" y="292"/>
                </a:lnTo>
                <a:lnTo>
                  <a:pt x="404" y="296"/>
                </a:lnTo>
                <a:lnTo>
                  <a:pt x="404" y="302"/>
                </a:lnTo>
                <a:lnTo>
                  <a:pt x="408" y="306"/>
                </a:lnTo>
                <a:lnTo>
                  <a:pt x="412" y="3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1" name="Freeform 38"/>
          <p:cNvSpPr>
            <a:spLocks noEditPoints="1"/>
          </p:cNvSpPr>
          <p:nvPr userDrawn="1"/>
        </p:nvSpPr>
        <p:spPr bwMode="auto">
          <a:xfrm>
            <a:off x="7662625" y="3983222"/>
            <a:ext cx="1080000" cy="1080000"/>
          </a:xfrm>
          <a:custGeom>
            <a:avLst/>
            <a:gdLst>
              <a:gd name="T0" fmla="*/ 651 w 1450"/>
              <a:gd name="T1" fmla="*/ 694 h 1450"/>
              <a:gd name="T2" fmla="*/ 681 w 1450"/>
              <a:gd name="T3" fmla="*/ 791 h 1450"/>
              <a:gd name="T4" fmla="*/ 781 w 1450"/>
              <a:gd name="T5" fmla="*/ 781 h 1450"/>
              <a:gd name="T6" fmla="*/ 791 w 1450"/>
              <a:gd name="T7" fmla="*/ 681 h 1450"/>
              <a:gd name="T8" fmla="*/ 968 w 1450"/>
              <a:gd name="T9" fmla="*/ 358 h 1450"/>
              <a:gd name="T10" fmla="*/ 814 w 1450"/>
              <a:gd name="T11" fmla="*/ 292 h 1450"/>
              <a:gd name="T12" fmla="*/ 818 w 1450"/>
              <a:gd name="T13" fmla="*/ 554 h 1450"/>
              <a:gd name="T14" fmla="*/ 663 w 1450"/>
              <a:gd name="T15" fmla="*/ 577 h 1450"/>
              <a:gd name="T16" fmla="*/ 577 w 1450"/>
              <a:gd name="T17" fmla="*/ 663 h 1450"/>
              <a:gd name="T18" fmla="*/ 572 w 1450"/>
              <a:gd name="T19" fmla="*/ 773 h 1450"/>
              <a:gd name="T20" fmla="*/ 648 w 1450"/>
              <a:gd name="T21" fmla="*/ 866 h 1450"/>
              <a:gd name="T22" fmla="*/ 758 w 1450"/>
              <a:gd name="T23" fmla="*/ 882 h 1450"/>
              <a:gd name="T24" fmla="*/ 858 w 1450"/>
              <a:gd name="T25" fmla="*/ 815 h 1450"/>
              <a:gd name="T26" fmla="*/ 884 w 1450"/>
              <a:gd name="T27" fmla="*/ 709 h 1450"/>
              <a:gd name="T28" fmla="*/ 827 w 1450"/>
              <a:gd name="T29" fmla="*/ 602 h 1450"/>
              <a:gd name="T30" fmla="*/ 725 w 1450"/>
              <a:gd name="T31" fmla="*/ 564 h 1450"/>
              <a:gd name="T32" fmla="*/ 654 w 1450"/>
              <a:gd name="T33" fmla="*/ 830 h 1450"/>
              <a:gd name="T34" fmla="*/ 600 w 1450"/>
              <a:gd name="T35" fmla="*/ 751 h 1450"/>
              <a:gd name="T36" fmla="*/ 613 w 1450"/>
              <a:gd name="T37" fmla="*/ 664 h 1450"/>
              <a:gd name="T38" fmla="*/ 687 w 1450"/>
              <a:gd name="T39" fmla="*/ 604 h 1450"/>
              <a:gd name="T40" fmla="*/ 774 w 1450"/>
              <a:gd name="T41" fmla="*/ 607 h 1450"/>
              <a:gd name="T42" fmla="*/ 843 w 1450"/>
              <a:gd name="T43" fmla="*/ 676 h 1450"/>
              <a:gd name="T44" fmla="*/ 846 w 1450"/>
              <a:gd name="T45" fmla="*/ 763 h 1450"/>
              <a:gd name="T46" fmla="*/ 786 w 1450"/>
              <a:gd name="T47" fmla="*/ 837 h 1450"/>
              <a:gd name="T48" fmla="*/ 848 w 1450"/>
              <a:gd name="T49" fmla="*/ 576 h 1450"/>
              <a:gd name="T50" fmla="*/ 725 w 1450"/>
              <a:gd name="T51" fmla="*/ 0 h 1450"/>
              <a:gd name="T52" fmla="*/ 476 w 1450"/>
              <a:gd name="T53" fmla="*/ 44 h 1450"/>
              <a:gd name="T54" fmla="*/ 238 w 1450"/>
              <a:gd name="T55" fmla="*/ 189 h 1450"/>
              <a:gd name="T56" fmla="*/ 72 w 1450"/>
              <a:gd name="T57" fmla="*/ 410 h 1450"/>
              <a:gd name="T58" fmla="*/ 2 w 1450"/>
              <a:gd name="T59" fmla="*/ 687 h 1450"/>
              <a:gd name="T60" fmla="*/ 33 w 1450"/>
              <a:gd name="T61" fmla="*/ 940 h 1450"/>
              <a:gd name="T62" fmla="*/ 166 w 1450"/>
              <a:gd name="T63" fmla="*/ 1186 h 1450"/>
              <a:gd name="T64" fmla="*/ 379 w 1450"/>
              <a:gd name="T65" fmla="*/ 1363 h 1450"/>
              <a:gd name="T66" fmla="*/ 651 w 1450"/>
              <a:gd name="T67" fmla="*/ 1447 h 1450"/>
              <a:gd name="T68" fmla="*/ 905 w 1450"/>
              <a:gd name="T69" fmla="*/ 1427 h 1450"/>
              <a:gd name="T70" fmla="*/ 1160 w 1450"/>
              <a:gd name="T71" fmla="*/ 1306 h 1450"/>
              <a:gd name="T72" fmla="*/ 1345 w 1450"/>
              <a:gd name="T73" fmla="*/ 1101 h 1450"/>
              <a:gd name="T74" fmla="*/ 1442 w 1450"/>
              <a:gd name="T75" fmla="*/ 835 h 1450"/>
              <a:gd name="T76" fmla="*/ 1435 w 1450"/>
              <a:gd name="T77" fmla="*/ 579 h 1450"/>
              <a:gd name="T78" fmla="*/ 1327 w 1450"/>
              <a:gd name="T79" fmla="*/ 320 h 1450"/>
              <a:gd name="T80" fmla="*/ 1130 w 1450"/>
              <a:gd name="T81" fmla="*/ 123 h 1450"/>
              <a:gd name="T82" fmla="*/ 871 w 1450"/>
              <a:gd name="T83" fmla="*/ 15 h 1450"/>
              <a:gd name="T84" fmla="*/ 700 w 1450"/>
              <a:gd name="T85" fmla="*/ 1204 h 1450"/>
              <a:gd name="T86" fmla="*/ 517 w 1450"/>
              <a:gd name="T87" fmla="*/ 1158 h 1450"/>
              <a:gd name="T88" fmla="*/ 369 w 1450"/>
              <a:gd name="T89" fmla="*/ 1048 h 1450"/>
              <a:gd name="T90" fmla="*/ 274 w 1450"/>
              <a:gd name="T91" fmla="*/ 891 h 1450"/>
              <a:gd name="T92" fmla="*/ 244 w 1450"/>
              <a:gd name="T93" fmla="*/ 725 h 1450"/>
              <a:gd name="T94" fmla="*/ 282 w 1450"/>
              <a:gd name="T95" fmla="*/ 538 h 1450"/>
              <a:gd name="T96" fmla="*/ 385 w 1450"/>
              <a:gd name="T97" fmla="*/ 385 h 1450"/>
              <a:gd name="T98" fmla="*/ 538 w 1450"/>
              <a:gd name="T99" fmla="*/ 282 h 1450"/>
              <a:gd name="T100" fmla="*/ 725 w 1450"/>
              <a:gd name="T101" fmla="*/ 244 h 1450"/>
              <a:gd name="T102" fmla="*/ 891 w 1450"/>
              <a:gd name="T103" fmla="*/ 274 h 1450"/>
              <a:gd name="T104" fmla="*/ 1048 w 1450"/>
              <a:gd name="T105" fmla="*/ 369 h 1450"/>
              <a:gd name="T106" fmla="*/ 1158 w 1450"/>
              <a:gd name="T107" fmla="*/ 517 h 1450"/>
              <a:gd name="T108" fmla="*/ 1206 w 1450"/>
              <a:gd name="T109" fmla="*/ 700 h 1450"/>
              <a:gd name="T110" fmla="*/ 1184 w 1450"/>
              <a:gd name="T111" fmla="*/ 868 h 1450"/>
              <a:gd name="T112" fmla="*/ 1096 w 1450"/>
              <a:gd name="T113" fmla="*/ 1030 h 1450"/>
              <a:gd name="T114" fmla="*/ 955 w 1450"/>
              <a:gd name="T115" fmla="*/ 1148 h 1450"/>
              <a:gd name="T116" fmla="*/ 774 w 1450"/>
              <a:gd name="T117" fmla="*/ 1202 h 145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450" h="1450">
                <a:moveTo>
                  <a:pt x="725" y="646"/>
                </a:moveTo>
                <a:lnTo>
                  <a:pt x="725" y="646"/>
                </a:lnTo>
                <a:lnTo>
                  <a:pt x="709" y="648"/>
                </a:lnTo>
                <a:lnTo>
                  <a:pt x="694" y="651"/>
                </a:lnTo>
                <a:lnTo>
                  <a:pt x="681" y="659"/>
                </a:lnTo>
                <a:lnTo>
                  <a:pt x="669" y="669"/>
                </a:lnTo>
                <a:lnTo>
                  <a:pt x="659" y="681"/>
                </a:lnTo>
                <a:lnTo>
                  <a:pt x="651" y="694"/>
                </a:lnTo>
                <a:lnTo>
                  <a:pt x="648" y="709"/>
                </a:lnTo>
                <a:lnTo>
                  <a:pt x="646" y="725"/>
                </a:lnTo>
                <a:lnTo>
                  <a:pt x="648" y="741"/>
                </a:lnTo>
                <a:lnTo>
                  <a:pt x="651" y="756"/>
                </a:lnTo>
                <a:lnTo>
                  <a:pt x="659" y="769"/>
                </a:lnTo>
                <a:lnTo>
                  <a:pt x="669" y="781"/>
                </a:lnTo>
                <a:lnTo>
                  <a:pt x="681" y="791"/>
                </a:lnTo>
                <a:lnTo>
                  <a:pt x="694" y="799"/>
                </a:lnTo>
                <a:lnTo>
                  <a:pt x="709" y="802"/>
                </a:lnTo>
                <a:lnTo>
                  <a:pt x="725" y="804"/>
                </a:lnTo>
                <a:lnTo>
                  <a:pt x="741" y="802"/>
                </a:lnTo>
                <a:lnTo>
                  <a:pt x="756" y="799"/>
                </a:lnTo>
                <a:lnTo>
                  <a:pt x="769" y="791"/>
                </a:lnTo>
                <a:lnTo>
                  <a:pt x="781" y="781"/>
                </a:lnTo>
                <a:lnTo>
                  <a:pt x="791" y="769"/>
                </a:lnTo>
                <a:lnTo>
                  <a:pt x="799" y="756"/>
                </a:lnTo>
                <a:lnTo>
                  <a:pt x="802" y="741"/>
                </a:lnTo>
                <a:lnTo>
                  <a:pt x="804" y="725"/>
                </a:lnTo>
                <a:lnTo>
                  <a:pt x="802" y="709"/>
                </a:lnTo>
                <a:lnTo>
                  <a:pt x="799" y="694"/>
                </a:lnTo>
                <a:lnTo>
                  <a:pt x="791" y="681"/>
                </a:lnTo>
                <a:lnTo>
                  <a:pt x="781" y="669"/>
                </a:lnTo>
                <a:lnTo>
                  <a:pt x="769" y="659"/>
                </a:lnTo>
                <a:lnTo>
                  <a:pt x="756" y="651"/>
                </a:lnTo>
                <a:lnTo>
                  <a:pt x="741" y="648"/>
                </a:lnTo>
                <a:lnTo>
                  <a:pt x="725" y="646"/>
                </a:lnTo>
                <a:close/>
                <a:moveTo>
                  <a:pt x="968" y="358"/>
                </a:moveTo>
                <a:lnTo>
                  <a:pt x="968" y="358"/>
                </a:lnTo>
                <a:lnTo>
                  <a:pt x="932" y="336"/>
                </a:lnTo>
                <a:lnTo>
                  <a:pt x="914" y="326"/>
                </a:lnTo>
                <a:lnTo>
                  <a:pt x="896" y="317"/>
                </a:lnTo>
                <a:lnTo>
                  <a:pt x="876" y="308"/>
                </a:lnTo>
                <a:lnTo>
                  <a:pt x="856" y="302"/>
                </a:lnTo>
                <a:lnTo>
                  <a:pt x="835" y="297"/>
                </a:lnTo>
                <a:lnTo>
                  <a:pt x="814" y="292"/>
                </a:lnTo>
                <a:lnTo>
                  <a:pt x="810" y="302"/>
                </a:lnTo>
                <a:lnTo>
                  <a:pt x="805" y="330"/>
                </a:lnTo>
                <a:lnTo>
                  <a:pt x="787" y="413"/>
                </a:lnTo>
                <a:lnTo>
                  <a:pt x="764" y="535"/>
                </a:lnTo>
                <a:lnTo>
                  <a:pt x="784" y="540"/>
                </a:lnTo>
                <a:lnTo>
                  <a:pt x="802" y="546"/>
                </a:lnTo>
                <a:lnTo>
                  <a:pt x="818" y="554"/>
                </a:lnTo>
                <a:lnTo>
                  <a:pt x="835" y="564"/>
                </a:lnTo>
                <a:lnTo>
                  <a:pt x="968" y="358"/>
                </a:lnTo>
                <a:close/>
                <a:moveTo>
                  <a:pt x="725" y="564"/>
                </a:moveTo>
                <a:lnTo>
                  <a:pt x="725" y="564"/>
                </a:lnTo>
                <a:lnTo>
                  <a:pt x="709" y="566"/>
                </a:lnTo>
                <a:lnTo>
                  <a:pt x="692" y="568"/>
                </a:lnTo>
                <a:lnTo>
                  <a:pt x="677" y="572"/>
                </a:lnTo>
                <a:lnTo>
                  <a:pt x="663" y="577"/>
                </a:lnTo>
                <a:lnTo>
                  <a:pt x="648" y="584"/>
                </a:lnTo>
                <a:lnTo>
                  <a:pt x="635" y="592"/>
                </a:lnTo>
                <a:lnTo>
                  <a:pt x="623" y="602"/>
                </a:lnTo>
                <a:lnTo>
                  <a:pt x="612" y="612"/>
                </a:lnTo>
                <a:lnTo>
                  <a:pt x="602" y="623"/>
                </a:lnTo>
                <a:lnTo>
                  <a:pt x="592" y="635"/>
                </a:lnTo>
                <a:lnTo>
                  <a:pt x="584" y="648"/>
                </a:lnTo>
                <a:lnTo>
                  <a:pt x="577" y="663"/>
                </a:lnTo>
                <a:lnTo>
                  <a:pt x="572" y="677"/>
                </a:lnTo>
                <a:lnTo>
                  <a:pt x="568" y="692"/>
                </a:lnTo>
                <a:lnTo>
                  <a:pt x="566" y="709"/>
                </a:lnTo>
                <a:lnTo>
                  <a:pt x="564" y="725"/>
                </a:lnTo>
                <a:lnTo>
                  <a:pt x="566" y="741"/>
                </a:lnTo>
                <a:lnTo>
                  <a:pt x="568" y="758"/>
                </a:lnTo>
                <a:lnTo>
                  <a:pt x="572" y="773"/>
                </a:lnTo>
                <a:lnTo>
                  <a:pt x="577" y="787"/>
                </a:lnTo>
                <a:lnTo>
                  <a:pt x="584" y="802"/>
                </a:lnTo>
                <a:lnTo>
                  <a:pt x="592" y="815"/>
                </a:lnTo>
                <a:lnTo>
                  <a:pt x="602" y="827"/>
                </a:lnTo>
                <a:lnTo>
                  <a:pt x="612" y="838"/>
                </a:lnTo>
                <a:lnTo>
                  <a:pt x="623" y="848"/>
                </a:lnTo>
                <a:lnTo>
                  <a:pt x="635" y="858"/>
                </a:lnTo>
                <a:lnTo>
                  <a:pt x="648" y="866"/>
                </a:lnTo>
                <a:lnTo>
                  <a:pt x="663" y="873"/>
                </a:lnTo>
                <a:lnTo>
                  <a:pt x="677" y="878"/>
                </a:lnTo>
                <a:lnTo>
                  <a:pt x="692" y="882"/>
                </a:lnTo>
                <a:lnTo>
                  <a:pt x="709" y="884"/>
                </a:lnTo>
                <a:lnTo>
                  <a:pt x="725" y="886"/>
                </a:lnTo>
                <a:lnTo>
                  <a:pt x="741" y="884"/>
                </a:lnTo>
                <a:lnTo>
                  <a:pt x="758" y="882"/>
                </a:lnTo>
                <a:lnTo>
                  <a:pt x="773" y="878"/>
                </a:lnTo>
                <a:lnTo>
                  <a:pt x="787" y="873"/>
                </a:lnTo>
                <a:lnTo>
                  <a:pt x="802" y="866"/>
                </a:lnTo>
                <a:lnTo>
                  <a:pt x="815" y="858"/>
                </a:lnTo>
                <a:lnTo>
                  <a:pt x="827" y="848"/>
                </a:lnTo>
                <a:lnTo>
                  <a:pt x="838" y="838"/>
                </a:lnTo>
                <a:lnTo>
                  <a:pt x="848" y="827"/>
                </a:lnTo>
                <a:lnTo>
                  <a:pt x="858" y="815"/>
                </a:lnTo>
                <a:lnTo>
                  <a:pt x="866" y="802"/>
                </a:lnTo>
                <a:lnTo>
                  <a:pt x="873" y="787"/>
                </a:lnTo>
                <a:lnTo>
                  <a:pt x="878" y="773"/>
                </a:lnTo>
                <a:lnTo>
                  <a:pt x="882" y="758"/>
                </a:lnTo>
                <a:lnTo>
                  <a:pt x="884" y="741"/>
                </a:lnTo>
                <a:lnTo>
                  <a:pt x="886" y="725"/>
                </a:lnTo>
                <a:lnTo>
                  <a:pt x="884" y="709"/>
                </a:lnTo>
                <a:lnTo>
                  <a:pt x="882" y="692"/>
                </a:lnTo>
                <a:lnTo>
                  <a:pt x="878" y="677"/>
                </a:lnTo>
                <a:lnTo>
                  <a:pt x="873" y="663"/>
                </a:lnTo>
                <a:lnTo>
                  <a:pt x="866" y="648"/>
                </a:lnTo>
                <a:lnTo>
                  <a:pt x="858" y="635"/>
                </a:lnTo>
                <a:lnTo>
                  <a:pt x="848" y="623"/>
                </a:lnTo>
                <a:lnTo>
                  <a:pt x="838" y="612"/>
                </a:lnTo>
                <a:lnTo>
                  <a:pt x="827" y="602"/>
                </a:lnTo>
                <a:lnTo>
                  <a:pt x="815" y="592"/>
                </a:lnTo>
                <a:lnTo>
                  <a:pt x="802" y="584"/>
                </a:lnTo>
                <a:lnTo>
                  <a:pt x="787" y="577"/>
                </a:lnTo>
                <a:lnTo>
                  <a:pt x="773" y="572"/>
                </a:lnTo>
                <a:lnTo>
                  <a:pt x="758" y="568"/>
                </a:lnTo>
                <a:lnTo>
                  <a:pt x="741" y="566"/>
                </a:lnTo>
                <a:lnTo>
                  <a:pt x="725" y="564"/>
                </a:lnTo>
                <a:close/>
                <a:moveTo>
                  <a:pt x="725" y="853"/>
                </a:moveTo>
                <a:lnTo>
                  <a:pt x="725" y="853"/>
                </a:lnTo>
                <a:lnTo>
                  <a:pt x="712" y="851"/>
                </a:lnTo>
                <a:lnTo>
                  <a:pt x="699" y="850"/>
                </a:lnTo>
                <a:lnTo>
                  <a:pt x="687" y="846"/>
                </a:lnTo>
                <a:lnTo>
                  <a:pt x="676" y="843"/>
                </a:lnTo>
                <a:lnTo>
                  <a:pt x="664" y="837"/>
                </a:lnTo>
                <a:lnTo>
                  <a:pt x="654" y="830"/>
                </a:lnTo>
                <a:lnTo>
                  <a:pt x="645" y="823"/>
                </a:lnTo>
                <a:lnTo>
                  <a:pt x="635" y="815"/>
                </a:lnTo>
                <a:lnTo>
                  <a:pt x="627" y="805"/>
                </a:lnTo>
                <a:lnTo>
                  <a:pt x="620" y="796"/>
                </a:lnTo>
                <a:lnTo>
                  <a:pt x="613" y="786"/>
                </a:lnTo>
                <a:lnTo>
                  <a:pt x="607" y="774"/>
                </a:lnTo>
                <a:lnTo>
                  <a:pt x="604" y="763"/>
                </a:lnTo>
                <a:lnTo>
                  <a:pt x="600" y="751"/>
                </a:lnTo>
                <a:lnTo>
                  <a:pt x="599" y="738"/>
                </a:lnTo>
                <a:lnTo>
                  <a:pt x="597" y="725"/>
                </a:lnTo>
                <a:lnTo>
                  <a:pt x="599" y="712"/>
                </a:lnTo>
                <a:lnTo>
                  <a:pt x="600" y="699"/>
                </a:lnTo>
                <a:lnTo>
                  <a:pt x="604" y="687"/>
                </a:lnTo>
                <a:lnTo>
                  <a:pt x="607" y="676"/>
                </a:lnTo>
                <a:lnTo>
                  <a:pt x="613" y="664"/>
                </a:lnTo>
                <a:lnTo>
                  <a:pt x="620" y="654"/>
                </a:lnTo>
                <a:lnTo>
                  <a:pt x="627" y="645"/>
                </a:lnTo>
                <a:lnTo>
                  <a:pt x="635" y="635"/>
                </a:lnTo>
                <a:lnTo>
                  <a:pt x="645" y="627"/>
                </a:lnTo>
                <a:lnTo>
                  <a:pt x="654" y="620"/>
                </a:lnTo>
                <a:lnTo>
                  <a:pt x="664" y="613"/>
                </a:lnTo>
                <a:lnTo>
                  <a:pt x="676" y="607"/>
                </a:lnTo>
                <a:lnTo>
                  <a:pt x="687" y="604"/>
                </a:lnTo>
                <a:lnTo>
                  <a:pt x="699" y="600"/>
                </a:lnTo>
                <a:lnTo>
                  <a:pt x="712" y="599"/>
                </a:lnTo>
                <a:lnTo>
                  <a:pt x="725" y="597"/>
                </a:lnTo>
                <a:lnTo>
                  <a:pt x="738" y="599"/>
                </a:lnTo>
                <a:lnTo>
                  <a:pt x="751" y="600"/>
                </a:lnTo>
                <a:lnTo>
                  <a:pt x="763" y="604"/>
                </a:lnTo>
                <a:lnTo>
                  <a:pt x="774" y="607"/>
                </a:lnTo>
                <a:lnTo>
                  <a:pt x="786" y="613"/>
                </a:lnTo>
                <a:lnTo>
                  <a:pt x="796" y="620"/>
                </a:lnTo>
                <a:lnTo>
                  <a:pt x="805" y="627"/>
                </a:lnTo>
                <a:lnTo>
                  <a:pt x="815" y="635"/>
                </a:lnTo>
                <a:lnTo>
                  <a:pt x="823" y="645"/>
                </a:lnTo>
                <a:lnTo>
                  <a:pt x="830" y="654"/>
                </a:lnTo>
                <a:lnTo>
                  <a:pt x="837" y="664"/>
                </a:lnTo>
                <a:lnTo>
                  <a:pt x="843" y="676"/>
                </a:lnTo>
                <a:lnTo>
                  <a:pt x="846" y="687"/>
                </a:lnTo>
                <a:lnTo>
                  <a:pt x="850" y="699"/>
                </a:lnTo>
                <a:lnTo>
                  <a:pt x="851" y="712"/>
                </a:lnTo>
                <a:lnTo>
                  <a:pt x="853" y="725"/>
                </a:lnTo>
                <a:lnTo>
                  <a:pt x="851" y="738"/>
                </a:lnTo>
                <a:lnTo>
                  <a:pt x="850" y="751"/>
                </a:lnTo>
                <a:lnTo>
                  <a:pt x="846" y="763"/>
                </a:lnTo>
                <a:lnTo>
                  <a:pt x="843" y="774"/>
                </a:lnTo>
                <a:lnTo>
                  <a:pt x="837" y="786"/>
                </a:lnTo>
                <a:lnTo>
                  <a:pt x="830" y="796"/>
                </a:lnTo>
                <a:lnTo>
                  <a:pt x="823" y="805"/>
                </a:lnTo>
                <a:lnTo>
                  <a:pt x="815" y="815"/>
                </a:lnTo>
                <a:lnTo>
                  <a:pt x="805" y="823"/>
                </a:lnTo>
                <a:lnTo>
                  <a:pt x="796" y="830"/>
                </a:lnTo>
                <a:lnTo>
                  <a:pt x="786" y="837"/>
                </a:lnTo>
                <a:lnTo>
                  <a:pt x="774" y="843"/>
                </a:lnTo>
                <a:lnTo>
                  <a:pt x="763" y="846"/>
                </a:lnTo>
                <a:lnTo>
                  <a:pt x="751" y="850"/>
                </a:lnTo>
                <a:lnTo>
                  <a:pt x="738" y="851"/>
                </a:lnTo>
                <a:lnTo>
                  <a:pt x="725" y="853"/>
                </a:lnTo>
                <a:close/>
                <a:moveTo>
                  <a:pt x="848" y="576"/>
                </a:moveTo>
                <a:lnTo>
                  <a:pt x="848" y="576"/>
                </a:lnTo>
                <a:lnTo>
                  <a:pt x="860" y="587"/>
                </a:lnTo>
                <a:lnTo>
                  <a:pt x="869" y="599"/>
                </a:lnTo>
                <a:lnTo>
                  <a:pt x="1025" y="402"/>
                </a:lnTo>
                <a:lnTo>
                  <a:pt x="1005" y="385"/>
                </a:lnTo>
                <a:lnTo>
                  <a:pt x="986" y="369"/>
                </a:lnTo>
                <a:lnTo>
                  <a:pt x="848" y="576"/>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725" y="1206"/>
                </a:moveTo>
                <a:lnTo>
                  <a:pt x="725" y="1206"/>
                </a:lnTo>
                <a:lnTo>
                  <a:pt x="700" y="1204"/>
                </a:lnTo>
                <a:lnTo>
                  <a:pt x="676" y="1202"/>
                </a:lnTo>
                <a:lnTo>
                  <a:pt x="651" y="1199"/>
                </a:lnTo>
                <a:lnTo>
                  <a:pt x="628" y="1196"/>
                </a:lnTo>
                <a:lnTo>
                  <a:pt x="605" y="1191"/>
                </a:lnTo>
                <a:lnTo>
                  <a:pt x="582" y="1184"/>
                </a:lnTo>
                <a:lnTo>
                  <a:pt x="559" y="1176"/>
                </a:lnTo>
                <a:lnTo>
                  <a:pt x="538" y="1168"/>
                </a:lnTo>
                <a:lnTo>
                  <a:pt x="517" y="1158"/>
                </a:lnTo>
                <a:lnTo>
                  <a:pt x="495" y="1148"/>
                </a:lnTo>
                <a:lnTo>
                  <a:pt x="476" y="1135"/>
                </a:lnTo>
                <a:lnTo>
                  <a:pt x="456" y="1124"/>
                </a:lnTo>
                <a:lnTo>
                  <a:pt x="438" y="1110"/>
                </a:lnTo>
                <a:lnTo>
                  <a:pt x="420" y="1096"/>
                </a:lnTo>
                <a:lnTo>
                  <a:pt x="402" y="1081"/>
                </a:lnTo>
                <a:lnTo>
                  <a:pt x="385" y="1065"/>
                </a:lnTo>
                <a:lnTo>
                  <a:pt x="369" y="1048"/>
                </a:lnTo>
                <a:lnTo>
                  <a:pt x="354" y="1030"/>
                </a:lnTo>
                <a:lnTo>
                  <a:pt x="340" y="1012"/>
                </a:lnTo>
                <a:lnTo>
                  <a:pt x="326" y="994"/>
                </a:lnTo>
                <a:lnTo>
                  <a:pt x="315" y="974"/>
                </a:lnTo>
                <a:lnTo>
                  <a:pt x="302" y="955"/>
                </a:lnTo>
                <a:lnTo>
                  <a:pt x="292" y="933"/>
                </a:lnTo>
                <a:lnTo>
                  <a:pt x="282" y="912"/>
                </a:lnTo>
                <a:lnTo>
                  <a:pt x="274" y="891"/>
                </a:lnTo>
                <a:lnTo>
                  <a:pt x="266" y="868"/>
                </a:lnTo>
                <a:lnTo>
                  <a:pt x="259" y="845"/>
                </a:lnTo>
                <a:lnTo>
                  <a:pt x="254" y="822"/>
                </a:lnTo>
                <a:lnTo>
                  <a:pt x="249" y="799"/>
                </a:lnTo>
                <a:lnTo>
                  <a:pt x="248" y="774"/>
                </a:lnTo>
                <a:lnTo>
                  <a:pt x="244" y="750"/>
                </a:lnTo>
                <a:lnTo>
                  <a:pt x="244" y="725"/>
                </a:lnTo>
                <a:lnTo>
                  <a:pt x="244" y="700"/>
                </a:lnTo>
                <a:lnTo>
                  <a:pt x="248" y="676"/>
                </a:lnTo>
                <a:lnTo>
                  <a:pt x="249" y="651"/>
                </a:lnTo>
                <a:lnTo>
                  <a:pt x="254" y="628"/>
                </a:lnTo>
                <a:lnTo>
                  <a:pt x="259" y="605"/>
                </a:lnTo>
                <a:lnTo>
                  <a:pt x="266" y="582"/>
                </a:lnTo>
                <a:lnTo>
                  <a:pt x="274" y="559"/>
                </a:lnTo>
                <a:lnTo>
                  <a:pt x="282" y="538"/>
                </a:lnTo>
                <a:lnTo>
                  <a:pt x="292" y="517"/>
                </a:lnTo>
                <a:lnTo>
                  <a:pt x="302" y="495"/>
                </a:lnTo>
                <a:lnTo>
                  <a:pt x="315" y="476"/>
                </a:lnTo>
                <a:lnTo>
                  <a:pt x="326" y="456"/>
                </a:lnTo>
                <a:lnTo>
                  <a:pt x="340" y="438"/>
                </a:lnTo>
                <a:lnTo>
                  <a:pt x="354" y="420"/>
                </a:lnTo>
                <a:lnTo>
                  <a:pt x="369" y="402"/>
                </a:lnTo>
                <a:lnTo>
                  <a:pt x="385" y="385"/>
                </a:lnTo>
                <a:lnTo>
                  <a:pt x="402" y="369"/>
                </a:lnTo>
                <a:lnTo>
                  <a:pt x="420" y="354"/>
                </a:lnTo>
                <a:lnTo>
                  <a:pt x="438" y="340"/>
                </a:lnTo>
                <a:lnTo>
                  <a:pt x="456" y="326"/>
                </a:lnTo>
                <a:lnTo>
                  <a:pt x="476" y="313"/>
                </a:lnTo>
                <a:lnTo>
                  <a:pt x="495" y="302"/>
                </a:lnTo>
                <a:lnTo>
                  <a:pt x="517" y="292"/>
                </a:lnTo>
                <a:lnTo>
                  <a:pt x="538" y="282"/>
                </a:lnTo>
                <a:lnTo>
                  <a:pt x="559" y="274"/>
                </a:lnTo>
                <a:lnTo>
                  <a:pt x="582" y="266"/>
                </a:lnTo>
                <a:lnTo>
                  <a:pt x="605" y="259"/>
                </a:lnTo>
                <a:lnTo>
                  <a:pt x="628" y="254"/>
                </a:lnTo>
                <a:lnTo>
                  <a:pt x="651" y="249"/>
                </a:lnTo>
                <a:lnTo>
                  <a:pt x="676" y="248"/>
                </a:lnTo>
                <a:lnTo>
                  <a:pt x="700" y="244"/>
                </a:lnTo>
                <a:lnTo>
                  <a:pt x="725" y="244"/>
                </a:lnTo>
                <a:lnTo>
                  <a:pt x="750" y="244"/>
                </a:lnTo>
                <a:lnTo>
                  <a:pt x="774" y="248"/>
                </a:lnTo>
                <a:lnTo>
                  <a:pt x="799" y="249"/>
                </a:lnTo>
                <a:lnTo>
                  <a:pt x="822" y="254"/>
                </a:lnTo>
                <a:lnTo>
                  <a:pt x="845" y="259"/>
                </a:lnTo>
                <a:lnTo>
                  <a:pt x="868" y="266"/>
                </a:lnTo>
                <a:lnTo>
                  <a:pt x="891" y="274"/>
                </a:lnTo>
                <a:lnTo>
                  <a:pt x="912" y="282"/>
                </a:lnTo>
                <a:lnTo>
                  <a:pt x="933" y="292"/>
                </a:lnTo>
                <a:lnTo>
                  <a:pt x="955" y="302"/>
                </a:lnTo>
                <a:lnTo>
                  <a:pt x="974" y="313"/>
                </a:lnTo>
                <a:lnTo>
                  <a:pt x="994" y="326"/>
                </a:lnTo>
                <a:lnTo>
                  <a:pt x="1012" y="340"/>
                </a:lnTo>
                <a:lnTo>
                  <a:pt x="1030" y="354"/>
                </a:lnTo>
                <a:lnTo>
                  <a:pt x="1048" y="369"/>
                </a:lnTo>
                <a:lnTo>
                  <a:pt x="1065" y="385"/>
                </a:lnTo>
                <a:lnTo>
                  <a:pt x="1081" y="402"/>
                </a:lnTo>
                <a:lnTo>
                  <a:pt x="1096" y="420"/>
                </a:lnTo>
                <a:lnTo>
                  <a:pt x="1110" y="438"/>
                </a:lnTo>
                <a:lnTo>
                  <a:pt x="1124" y="456"/>
                </a:lnTo>
                <a:lnTo>
                  <a:pt x="1137" y="476"/>
                </a:lnTo>
                <a:lnTo>
                  <a:pt x="1148" y="495"/>
                </a:lnTo>
                <a:lnTo>
                  <a:pt x="1158" y="517"/>
                </a:lnTo>
                <a:lnTo>
                  <a:pt x="1168" y="538"/>
                </a:lnTo>
                <a:lnTo>
                  <a:pt x="1176" y="559"/>
                </a:lnTo>
                <a:lnTo>
                  <a:pt x="1184" y="582"/>
                </a:lnTo>
                <a:lnTo>
                  <a:pt x="1191" y="605"/>
                </a:lnTo>
                <a:lnTo>
                  <a:pt x="1196" y="628"/>
                </a:lnTo>
                <a:lnTo>
                  <a:pt x="1201" y="651"/>
                </a:lnTo>
                <a:lnTo>
                  <a:pt x="1202" y="676"/>
                </a:lnTo>
                <a:lnTo>
                  <a:pt x="1206" y="700"/>
                </a:lnTo>
                <a:lnTo>
                  <a:pt x="1206" y="725"/>
                </a:lnTo>
                <a:lnTo>
                  <a:pt x="1206" y="750"/>
                </a:lnTo>
                <a:lnTo>
                  <a:pt x="1202" y="774"/>
                </a:lnTo>
                <a:lnTo>
                  <a:pt x="1201" y="799"/>
                </a:lnTo>
                <a:lnTo>
                  <a:pt x="1196" y="822"/>
                </a:lnTo>
                <a:lnTo>
                  <a:pt x="1191" y="845"/>
                </a:lnTo>
                <a:lnTo>
                  <a:pt x="1184" y="868"/>
                </a:lnTo>
                <a:lnTo>
                  <a:pt x="1176" y="891"/>
                </a:lnTo>
                <a:lnTo>
                  <a:pt x="1168" y="912"/>
                </a:lnTo>
                <a:lnTo>
                  <a:pt x="1158" y="933"/>
                </a:lnTo>
                <a:lnTo>
                  <a:pt x="1148" y="955"/>
                </a:lnTo>
                <a:lnTo>
                  <a:pt x="1137" y="974"/>
                </a:lnTo>
                <a:lnTo>
                  <a:pt x="1124" y="994"/>
                </a:lnTo>
                <a:lnTo>
                  <a:pt x="1110" y="1012"/>
                </a:lnTo>
                <a:lnTo>
                  <a:pt x="1096" y="1030"/>
                </a:lnTo>
                <a:lnTo>
                  <a:pt x="1081" y="1048"/>
                </a:lnTo>
                <a:lnTo>
                  <a:pt x="1065" y="1065"/>
                </a:lnTo>
                <a:lnTo>
                  <a:pt x="1048" y="1081"/>
                </a:lnTo>
                <a:lnTo>
                  <a:pt x="1030" y="1096"/>
                </a:lnTo>
                <a:lnTo>
                  <a:pt x="1012" y="1110"/>
                </a:lnTo>
                <a:lnTo>
                  <a:pt x="994" y="1124"/>
                </a:lnTo>
                <a:lnTo>
                  <a:pt x="974" y="1135"/>
                </a:lnTo>
                <a:lnTo>
                  <a:pt x="955" y="1148"/>
                </a:lnTo>
                <a:lnTo>
                  <a:pt x="933" y="1158"/>
                </a:lnTo>
                <a:lnTo>
                  <a:pt x="912" y="1168"/>
                </a:lnTo>
                <a:lnTo>
                  <a:pt x="891" y="1176"/>
                </a:lnTo>
                <a:lnTo>
                  <a:pt x="868" y="1184"/>
                </a:lnTo>
                <a:lnTo>
                  <a:pt x="845" y="1191"/>
                </a:lnTo>
                <a:lnTo>
                  <a:pt x="822" y="1196"/>
                </a:lnTo>
                <a:lnTo>
                  <a:pt x="799" y="1199"/>
                </a:lnTo>
                <a:lnTo>
                  <a:pt x="774" y="1202"/>
                </a:lnTo>
                <a:lnTo>
                  <a:pt x="750" y="1204"/>
                </a:lnTo>
                <a:lnTo>
                  <a:pt x="725" y="12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2" name="Freeform 42"/>
          <p:cNvSpPr>
            <a:spLocks noEditPoints="1"/>
          </p:cNvSpPr>
          <p:nvPr userDrawn="1"/>
        </p:nvSpPr>
        <p:spPr bwMode="auto">
          <a:xfrm>
            <a:off x="9138597" y="3983222"/>
            <a:ext cx="1080000" cy="1080000"/>
          </a:xfrm>
          <a:custGeom>
            <a:avLst/>
            <a:gdLst>
              <a:gd name="T0" fmla="*/ 498 w 1452"/>
              <a:gd name="T1" fmla="*/ 974 h 1450"/>
              <a:gd name="T2" fmla="*/ 726 w 1452"/>
              <a:gd name="T3" fmla="*/ 0 h 1450"/>
              <a:gd name="T4" fmla="*/ 652 w 1452"/>
              <a:gd name="T5" fmla="*/ 3 h 1450"/>
              <a:gd name="T6" fmla="*/ 545 w 1452"/>
              <a:gd name="T7" fmla="*/ 23 h 1450"/>
              <a:gd name="T8" fmla="*/ 443 w 1452"/>
              <a:gd name="T9" fmla="*/ 57 h 1450"/>
              <a:gd name="T10" fmla="*/ 350 w 1452"/>
              <a:gd name="T11" fmla="*/ 105 h 1450"/>
              <a:gd name="T12" fmla="*/ 264 w 1452"/>
              <a:gd name="T13" fmla="*/ 166 h 1450"/>
              <a:gd name="T14" fmla="*/ 189 w 1452"/>
              <a:gd name="T15" fmla="*/ 238 h 1450"/>
              <a:gd name="T16" fmla="*/ 123 w 1452"/>
              <a:gd name="T17" fmla="*/ 320 h 1450"/>
              <a:gd name="T18" fmla="*/ 72 w 1452"/>
              <a:gd name="T19" fmla="*/ 410 h 1450"/>
              <a:gd name="T20" fmla="*/ 33 w 1452"/>
              <a:gd name="T21" fmla="*/ 508 h 1450"/>
              <a:gd name="T22" fmla="*/ 8 w 1452"/>
              <a:gd name="T23" fmla="*/ 615 h 1450"/>
              <a:gd name="T24" fmla="*/ 0 w 1452"/>
              <a:gd name="T25" fmla="*/ 725 h 1450"/>
              <a:gd name="T26" fmla="*/ 3 w 1452"/>
              <a:gd name="T27" fmla="*/ 799 h 1450"/>
              <a:gd name="T28" fmla="*/ 23 w 1452"/>
              <a:gd name="T29" fmla="*/ 905 h 1450"/>
              <a:gd name="T30" fmla="*/ 57 w 1452"/>
              <a:gd name="T31" fmla="*/ 1007 h 1450"/>
              <a:gd name="T32" fmla="*/ 105 w 1452"/>
              <a:gd name="T33" fmla="*/ 1101 h 1450"/>
              <a:gd name="T34" fmla="*/ 166 w 1452"/>
              <a:gd name="T35" fmla="*/ 1186 h 1450"/>
              <a:gd name="T36" fmla="*/ 238 w 1452"/>
              <a:gd name="T37" fmla="*/ 1261 h 1450"/>
              <a:gd name="T38" fmla="*/ 320 w 1452"/>
              <a:gd name="T39" fmla="*/ 1327 h 1450"/>
              <a:gd name="T40" fmla="*/ 411 w 1452"/>
              <a:gd name="T41" fmla="*/ 1378 h 1450"/>
              <a:gd name="T42" fmla="*/ 511 w 1452"/>
              <a:gd name="T43" fmla="*/ 1417 h 1450"/>
              <a:gd name="T44" fmla="*/ 616 w 1452"/>
              <a:gd name="T45" fmla="*/ 1442 h 1450"/>
              <a:gd name="T46" fmla="*/ 726 w 1452"/>
              <a:gd name="T47" fmla="*/ 1450 h 1450"/>
              <a:gd name="T48" fmla="*/ 800 w 1452"/>
              <a:gd name="T49" fmla="*/ 1447 h 1450"/>
              <a:gd name="T50" fmla="*/ 907 w 1452"/>
              <a:gd name="T51" fmla="*/ 1427 h 1450"/>
              <a:gd name="T52" fmla="*/ 1009 w 1452"/>
              <a:gd name="T53" fmla="*/ 1393 h 1450"/>
              <a:gd name="T54" fmla="*/ 1102 w 1452"/>
              <a:gd name="T55" fmla="*/ 1345 h 1450"/>
              <a:gd name="T56" fmla="*/ 1188 w 1452"/>
              <a:gd name="T57" fmla="*/ 1284 h 1450"/>
              <a:gd name="T58" fmla="*/ 1263 w 1452"/>
              <a:gd name="T59" fmla="*/ 1212 h 1450"/>
              <a:gd name="T60" fmla="*/ 1329 w 1452"/>
              <a:gd name="T61" fmla="*/ 1130 h 1450"/>
              <a:gd name="T62" fmla="*/ 1380 w 1452"/>
              <a:gd name="T63" fmla="*/ 1040 h 1450"/>
              <a:gd name="T64" fmla="*/ 1419 w 1452"/>
              <a:gd name="T65" fmla="*/ 940 h 1450"/>
              <a:gd name="T66" fmla="*/ 1444 w 1452"/>
              <a:gd name="T67" fmla="*/ 835 h 1450"/>
              <a:gd name="T68" fmla="*/ 1452 w 1452"/>
              <a:gd name="T69" fmla="*/ 725 h 1450"/>
              <a:gd name="T70" fmla="*/ 1449 w 1452"/>
              <a:gd name="T71" fmla="*/ 651 h 1450"/>
              <a:gd name="T72" fmla="*/ 1429 w 1452"/>
              <a:gd name="T73" fmla="*/ 543 h 1450"/>
              <a:gd name="T74" fmla="*/ 1395 w 1452"/>
              <a:gd name="T75" fmla="*/ 443 h 1450"/>
              <a:gd name="T76" fmla="*/ 1347 w 1452"/>
              <a:gd name="T77" fmla="*/ 349 h 1450"/>
              <a:gd name="T78" fmla="*/ 1286 w 1452"/>
              <a:gd name="T79" fmla="*/ 264 h 1450"/>
              <a:gd name="T80" fmla="*/ 1214 w 1452"/>
              <a:gd name="T81" fmla="*/ 189 h 1450"/>
              <a:gd name="T82" fmla="*/ 1132 w 1452"/>
              <a:gd name="T83" fmla="*/ 123 h 1450"/>
              <a:gd name="T84" fmla="*/ 1041 w 1452"/>
              <a:gd name="T85" fmla="*/ 71 h 1450"/>
              <a:gd name="T86" fmla="*/ 941 w 1452"/>
              <a:gd name="T87" fmla="*/ 33 h 1450"/>
              <a:gd name="T88" fmla="*/ 836 w 1452"/>
              <a:gd name="T89" fmla="*/ 8 h 1450"/>
              <a:gd name="T90" fmla="*/ 726 w 1452"/>
              <a:gd name="T91" fmla="*/ 0 h 1450"/>
              <a:gd name="T92" fmla="*/ 498 w 1452"/>
              <a:gd name="T93" fmla="*/ 1163 h 1450"/>
              <a:gd name="T94" fmla="*/ 864 w 1452"/>
              <a:gd name="T95" fmla="*/ 1163 h 1450"/>
              <a:gd name="T96" fmla="*/ 1002 w 1452"/>
              <a:gd name="T97" fmla="*/ 1163 h 1450"/>
              <a:gd name="T98" fmla="*/ 866 w 1452"/>
              <a:gd name="T99" fmla="*/ 333 h 1450"/>
              <a:gd name="T100" fmla="*/ 913 w 1452"/>
              <a:gd name="T101" fmla="*/ 1020 h 1450"/>
              <a:gd name="T102" fmla="*/ 496 w 1452"/>
              <a:gd name="T103" fmla="*/ 381 h 1450"/>
              <a:gd name="T104" fmla="*/ 402 w 1452"/>
              <a:gd name="T105" fmla="*/ 287 h 1450"/>
              <a:gd name="T106" fmla="*/ 820 w 1452"/>
              <a:gd name="T107" fmla="*/ 333 h 1450"/>
              <a:gd name="T108" fmla="*/ 820 w 1452"/>
              <a:gd name="T109" fmla="*/ 381 h 14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52" h="1450">
                <a:moveTo>
                  <a:pt x="866" y="428"/>
                </a:moveTo>
                <a:lnTo>
                  <a:pt x="498" y="428"/>
                </a:lnTo>
                <a:lnTo>
                  <a:pt x="498" y="974"/>
                </a:lnTo>
                <a:lnTo>
                  <a:pt x="866" y="974"/>
                </a:lnTo>
                <a:lnTo>
                  <a:pt x="866" y="428"/>
                </a:lnTo>
                <a:close/>
                <a:moveTo>
                  <a:pt x="726" y="0"/>
                </a:moveTo>
                <a:lnTo>
                  <a:pt x="726" y="0"/>
                </a:lnTo>
                <a:lnTo>
                  <a:pt x="688" y="0"/>
                </a:lnTo>
                <a:lnTo>
                  <a:pt x="652" y="3"/>
                </a:lnTo>
                <a:lnTo>
                  <a:pt x="616" y="8"/>
                </a:lnTo>
                <a:lnTo>
                  <a:pt x="580" y="15"/>
                </a:lnTo>
                <a:lnTo>
                  <a:pt x="545" y="23"/>
                </a:lnTo>
                <a:lnTo>
                  <a:pt x="511" y="33"/>
                </a:lnTo>
                <a:lnTo>
                  <a:pt x="476" y="44"/>
                </a:lnTo>
                <a:lnTo>
                  <a:pt x="443" y="57"/>
                </a:lnTo>
                <a:lnTo>
                  <a:pt x="411" y="71"/>
                </a:lnTo>
                <a:lnTo>
                  <a:pt x="379" y="87"/>
                </a:lnTo>
                <a:lnTo>
                  <a:pt x="350" y="105"/>
                </a:lnTo>
                <a:lnTo>
                  <a:pt x="320" y="123"/>
                </a:lnTo>
                <a:lnTo>
                  <a:pt x="292" y="144"/>
                </a:lnTo>
                <a:lnTo>
                  <a:pt x="264" y="166"/>
                </a:lnTo>
                <a:lnTo>
                  <a:pt x="238" y="189"/>
                </a:lnTo>
                <a:lnTo>
                  <a:pt x="212" y="212"/>
                </a:lnTo>
                <a:lnTo>
                  <a:pt x="189" y="238"/>
                </a:lnTo>
                <a:lnTo>
                  <a:pt x="166" y="264"/>
                </a:lnTo>
                <a:lnTo>
                  <a:pt x="145"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5" y="1158"/>
                </a:lnTo>
                <a:lnTo>
                  <a:pt x="166" y="1186"/>
                </a:lnTo>
                <a:lnTo>
                  <a:pt x="189" y="1212"/>
                </a:lnTo>
                <a:lnTo>
                  <a:pt x="212" y="1238"/>
                </a:lnTo>
                <a:lnTo>
                  <a:pt x="238" y="1261"/>
                </a:lnTo>
                <a:lnTo>
                  <a:pt x="264" y="1284"/>
                </a:lnTo>
                <a:lnTo>
                  <a:pt x="292" y="1306"/>
                </a:lnTo>
                <a:lnTo>
                  <a:pt x="320" y="1327"/>
                </a:lnTo>
                <a:lnTo>
                  <a:pt x="350" y="1345"/>
                </a:lnTo>
                <a:lnTo>
                  <a:pt x="379" y="1363"/>
                </a:lnTo>
                <a:lnTo>
                  <a:pt x="411" y="1378"/>
                </a:lnTo>
                <a:lnTo>
                  <a:pt x="443" y="1393"/>
                </a:lnTo>
                <a:lnTo>
                  <a:pt x="476" y="1406"/>
                </a:lnTo>
                <a:lnTo>
                  <a:pt x="511" y="1417"/>
                </a:lnTo>
                <a:lnTo>
                  <a:pt x="545" y="1427"/>
                </a:lnTo>
                <a:lnTo>
                  <a:pt x="580" y="1435"/>
                </a:lnTo>
                <a:lnTo>
                  <a:pt x="616" y="1442"/>
                </a:lnTo>
                <a:lnTo>
                  <a:pt x="652" y="1447"/>
                </a:lnTo>
                <a:lnTo>
                  <a:pt x="688" y="1448"/>
                </a:lnTo>
                <a:lnTo>
                  <a:pt x="726" y="1450"/>
                </a:lnTo>
                <a:lnTo>
                  <a:pt x="764" y="1448"/>
                </a:lnTo>
                <a:lnTo>
                  <a:pt x="800" y="1447"/>
                </a:lnTo>
                <a:lnTo>
                  <a:pt x="836" y="1442"/>
                </a:lnTo>
                <a:lnTo>
                  <a:pt x="872" y="1435"/>
                </a:lnTo>
                <a:lnTo>
                  <a:pt x="907" y="1427"/>
                </a:lnTo>
                <a:lnTo>
                  <a:pt x="941" y="1417"/>
                </a:lnTo>
                <a:lnTo>
                  <a:pt x="976" y="1406"/>
                </a:lnTo>
                <a:lnTo>
                  <a:pt x="1009" y="1393"/>
                </a:lnTo>
                <a:lnTo>
                  <a:pt x="1041" y="1378"/>
                </a:lnTo>
                <a:lnTo>
                  <a:pt x="1073" y="1363"/>
                </a:lnTo>
                <a:lnTo>
                  <a:pt x="1102" y="1345"/>
                </a:lnTo>
                <a:lnTo>
                  <a:pt x="1132" y="1327"/>
                </a:lnTo>
                <a:lnTo>
                  <a:pt x="1160" y="1306"/>
                </a:lnTo>
                <a:lnTo>
                  <a:pt x="1188" y="1284"/>
                </a:lnTo>
                <a:lnTo>
                  <a:pt x="1214" y="1261"/>
                </a:lnTo>
                <a:lnTo>
                  <a:pt x="1240" y="1238"/>
                </a:lnTo>
                <a:lnTo>
                  <a:pt x="1263" y="1212"/>
                </a:lnTo>
                <a:lnTo>
                  <a:pt x="1286" y="1186"/>
                </a:lnTo>
                <a:lnTo>
                  <a:pt x="1307" y="1158"/>
                </a:lnTo>
                <a:lnTo>
                  <a:pt x="1329" y="1130"/>
                </a:lnTo>
                <a:lnTo>
                  <a:pt x="1347" y="1101"/>
                </a:lnTo>
                <a:lnTo>
                  <a:pt x="1365" y="1071"/>
                </a:lnTo>
                <a:lnTo>
                  <a:pt x="1380" y="1040"/>
                </a:lnTo>
                <a:lnTo>
                  <a:pt x="1395" y="1007"/>
                </a:lnTo>
                <a:lnTo>
                  <a:pt x="1408" y="974"/>
                </a:lnTo>
                <a:lnTo>
                  <a:pt x="1419" y="940"/>
                </a:lnTo>
                <a:lnTo>
                  <a:pt x="1429" y="905"/>
                </a:lnTo>
                <a:lnTo>
                  <a:pt x="1437" y="871"/>
                </a:lnTo>
                <a:lnTo>
                  <a:pt x="1444" y="835"/>
                </a:lnTo>
                <a:lnTo>
                  <a:pt x="1449" y="799"/>
                </a:lnTo>
                <a:lnTo>
                  <a:pt x="1450" y="763"/>
                </a:lnTo>
                <a:lnTo>
                  <a:pt x="1452" y="725"/>
                </a:lnTo>
                <a:lnTo>
                  <a:pt x="1450" y="687"/>
                </a:lnTo>
                <a:lnTo>
                  <a:pt x="1449" y="651"/>
                </a:lnTo>
                <a:lnTo>
                  <a:pt x="1444" y="615"/>
                </a:lnTo>
                <a:lnTo>
                  <a:pt x="1437" y="579"/>
                </a:lnTo>
                <a:lnTo>
                  <a:pt x="1429" y="543"/>
                </a:lnTo>
                <a:lnTo>
                  <a:pt x="1419" y="508"/>
                </a:lnTo>
                <a:lnTo>
                  <a:pt x="1408" y="476"/>
                </a:lnTo>
                <a:lnTo>
                  <a:pt x="1395" y="443"/>
                </a:lnTo>
                <a:lnTo>
                  <a:pt x="1380" y="410"/>
                </a:lnTo>
                <a:lnTo>
                  <a:pt x="1365" y="379"/>
                </a:lnTo>
                <a:lnTo>
                  <a:pt x="1347" y="349"/>
                </a:lnTo>
                <a:lnTo>
                  <a:pt x="1329" y="320"/>
                </a:lnTo>
                <a:lnTo>
                  <a:pt x="1307" y="290"/>
                </a:lnTo>
                <a:lnTo>
                  <a:pt x="1286" y="264"/>
                </a:lnTo>
                <a:lnTo>
                  <a:pt x="1263" y="238"/>
                </a:lnTo>
                <a:lnTo>
                  <a:pt x="1240" y="212"/>
                </a:lnTo>
                <a:lnTo>
                  <a:pt x="1214" y="189"/>
                </a:lnTo>
                <a:lnTo>
                  <a:pt x="1188" y="166"/>
                </a:lnTo>
                <a:lnTo>
                  <a:pt x="1160" y="144"/>
                </a:lnTo>
                <a:lnTo>
                  <a:pt x="1132" y="123"/>
                </a:lnTo>
                <a:lnTo>
                  <a:pt x="1102" y="105"/>
                </a:lnTo>
                <a:lnTo>
                  <a:pt x="1073" y="87"/>
                </a:lnTo>
                <a:lnTo>
                  <a:pt x="1041" y="71"/>
                </a:lnTo>
                <a:lnTo>
                  <a:pt x="1009" y="57"/>
                </a:lnTo>
                <a:lnTo>
                  <a:pt x="976" y="44"/>
                </a:lnTo>
                <a:lnTo>
                  <a:pt x="941" y="33"/>
                </a:lnTo>
                <a:lnTo>
                  <a:pt x="907" y="23"/>
                </a:lnTo>
                <a:lnTo>
                  <a:pt x="872" y="15"/>
                </a:lnTo>
                <a:lnTo>
                  <a:pt x="836" y="8"/>
                </a:lnTo>
                <a:lnTo>
                  <a:pt x="800" y="3"/>
                </a:lnTo>
                <a:lnTo>
                  <a:pt x="764" y="0"/>
                </a:lnTo>
                <a:lnTo>
                  <a:pt x="726" y="0"/>
                </a:lnTo>
                <a:close/>
                <a:moveTo>
                  <a:pt x="864" y="1163"/>
                </a:moveTo>
                <a:lnTo>
                  <a:pt x="498" y="1163"/>
                </a:lnTo>
                <a:lnTo>
                  <a:pt x="498" y="1068"/>
                </a:lnTo>
                <a:lnTo>
                  <a:pt x="864" y="1068"/>
                </a:lnTo>
                <a:lnTo>
                  <a:pt x="864" y="1163"/>
                </a:lnTo>
                <a:close/>
                <a:moveTo>
                  <a:pt x="1051" y="333"/>
                </a:moveTo>
                <a:lnTo>
                  <a:pt x="1002" y="333"/>
                </a:lnTo>
                <a:lnTo>
                  <a:pt x="1002" y="1163"/>
                </a:lnTo>
                <a:lnTo>
                  <a:pt x="958" y="1163"/>
                </a:lnTo>
                <a:lnTo>
                  <a:pt x="958" y="333"/>
                </a:lnTo>
                <a:lnTo>
                  <a:pt x="866" y="333"/>
                </a:lnTo>
                <a:lnTo>
                  <a:pt x="866" y="381"/>
                </a:lnTo>
                <a:lnTo>
                  <a:pt x="913" y="381"/>
                </a:lnTo>
                <a:lnTo>
                  <a:pt x="913" y="1020"/>
                </a:lnTo>
                <a:lnTo>
                  <a:pt x="452" y="1020"/>
                </a:lnTo>
                <a:lnTo>
                  <a:pt x="452" y="381"/>
                </a:lnTo>
                <a:lnTo>
                  <a:pt x="496" y="381"/>
                </a:lnTo>
                <a:lnTo>
                  <a:pt x="496" y="333"/>
                </a:lnTo>
                <a:lnTo>
                  <a:pt x="402" y="333"/>
                </a:lnTo>
                <a:lnTo>
                  <a:pt x="402" y="287"/>
                </a:lnTo>
                <a:lnTo>
                  <a:pt x="1051" y="287"/>
                </a:lnTo>
                <a:lnTo>
                  <a:pt x="1051" y="333"/>
                </a:lnTo>
                <a:close/>
                <a:moveTo>
                  <a:pt x="820" y="333"/>
                </a:moveTo>
                <a:lnTo>
                  <a:pt x="542" y="333"/>
                </a:lnTo>
                <a:lnTo>
                  <a:pt x="542" y="381"/>
                </a:lnTo>
                <a:lnTo>
                  <a:pt x="820" y="381"/>
                </a:lnTo>
                <a:lnTo>
                  <a:pt x="820" y="33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 name="Freeform 17"/>
          <p:cNvSpPr>
            <a:spLocks/>
          </p:cNvSpPr>
          <p:nvPr userDrawn="1"/>
        </p:nvSpPr>
        <p:spPr bwMode="auto">
          <a:xfrm>
            <a:off x="6186653" y="3983222"/>
            <a:ext cx="1080000" cy="1080000"/>
          </a:xfrm>
          <a:custGeom>
            <a:avLst/>
            <a:gdLst>
              <a:gd name="T0" fmla="*/ 753907 w 1087200"/>
              <a:gd name="T1" fmla="*/ 591565 h 1087200"/>
              <a:gd name="T2" fmla="*/ 340672 w 1087200"/>
              <a:gd name="T3" fmla="*/ 591565 h 1087200"/>
              <a:gd name="T4" fmla="*/ 308696 w 1087200"/>
              <a:gd name="T5" fmla="*/ 335753 h 1087200"/>
              <a:gd name="T6" fmla="*/ 255812 w 1087200"/>
              <a:gd name="T7" fmla="*/ 360351 h 1087200"/>
              <a:gd name="T8" fmla="*/ 215226 w 1087200"/>
              <a:gd name="T9" fmla="*/ 400936 h 1087200"/>
              <a:gd name="T10" fmla="*/ 193089 w 1087200"/>
              <a:gd name="T11" fmla="*/ 450131 h 1087200"/>
              <a:gd name="T12" fmla="*/ 190629 w 1087200"/>
              <a:gd name="T13" fmla="*/ 500555 h 1087200"/>
              <a:gd name="T14" fmla="*/ 210307 w 1087200"/>
              <a:gd name="T15" fmla="*/ 547290 h 1087200"/>
              <a:gd name="T16" fmla="*/ 250892 w 1087200"/>
              <a:gd name="T17" fmla="*/ 581726 h 1087200"/>
              <a:gd name="T18" fmla="*/ 322224 w 1087200"/>
              <a:gd name="T19" fmla="*/ 595255 h 1087200"/>
              <a:gd name="T20" fmla="*/ 303776 w 1087200"/>
              <a:gd name="T21" fmla="*/ 657978 h 1087200"/>
              <a:gd name="T22" fmla="*/ 780964 w 1087200"/>
              <a:gd name="T23" fmla="*/ 634610 h 1087200"/>
              <a:gd name="T24" fmla="*/ 792033 w 1087200"/>
              <a:gd name="T25" fmla="*/ 595255 h 1087200"/>
              <a:gd name="T26" fmla="*/ 859675 w 1087200"/>
              <a:gd name="T27" fmla="*/ 573117 h 1087200"/>
              <a:gd name="T28" fmla="*/ 891652 w 1087200"/>
              <a:gd name="T29" fmla="*/ 536221 h 1087200"/>
              <a:gd name="T30" fmla="*/ 905180 w 1087200"/>
              <a:gd name="T31" fmla="*/ 488257 h 1087200"/>
              <a:gd name="T32" fmla="*/ 897801 w 1087200"/>
              <a:gd name="T33" fmla="*/ 437832 h 1087200"/>
              <a:gd name="T34" fmla="*/ 870744 w 1087200"/>
              <a:gd name="T35" fmla="*/ 389867 h 1087200"/>
              <a:gd name="T36" fmla="*/ 826469 w 1087200"/>
              <a:gd name="T37" fmla="*/ 351742 h 1087200"/>
              <a:gd name="T38" fmla="*/ 773585 w 1087200"/>
              <a:gd name="T39" fmla="*/ 332064 h 1087200"/>
              <a:gd name="T40" fmla="*/ 720701 w 1087200"/>
              <a:gd name="T41" fmla="*/ 332064 h 1087200"/>
              <a:gd name="T42" fmla="*/ 673966 w 1087200"/>
              <a:gd name="T43" fmla="*/ 351742 h 1087200"/>
              <a:gd name="T44" fmla="*/ 638300 w 1087200"/>
              <a:gd name="T45" fmla="*/ 392327 h 1087200"/>
              <a:gd name="T46" fmla="*/ 627231 w 1087200"/>
              <a:gd name="T47" fmla="*/ 458740 h 1087200"/>
              <a:gd name="T48" fmla="*/ 621081 w 1087200"/>
              <a:gd name="T49" fmla="*/ 501785 h 1087200"/>
              <a:gd name="T50" fmla="*/ 522692 w 1087200"/>
              <a:gd name="T51" fmla="*/ 491946 h 1087200"/>
              <a:gd name="T52" fmla="*/ 451360 w 1087200"/>
              <a:gd name="T53" fmla="*/ 509164 h 1087200"/>
              <a:gd name="T54" fmla="*/ 468578 w 1087200"/>
              <a:gd name="T55" fmla="*/ 441522 h 1087200"/>
              <a:gd name="T56" fmla="*/ 447671 w 1087200"/>
              <a:gd name="T57" fmla="*/ 377569 h 1087200"/>
              <a:gd name="T58" fmla="*/ 410775 w 1087200"/>
              <a:gd name="T59" fmla="*/ 344362 h 1087200"/>
              <a:gd name="T60" fmla="*/ 361580 w 1087200"/>
              <a:gd name="T61" fmla="*/ 330834 h 1087200"/>
              <a:gd name="T62" fmla="*/ 571887 w 1087200"/>
              <a:gd name="T63" fmla="*/ 0 h 1087200"/>
              <a:gd name="T64" fmla="*/ 680115 w 1087200"/>
              <a:gd name="T65" fmla="*/ 17218 h 1087200"/>
              <a:gd name="T66" fmla="*/ 779734 w 1087200"/>
              <a:gd name="T67" fmla="*/ 54114 h 1087200"/>
              <a:gd name="T68" fmla="*/ 869514 w 1087200"/>
              <a:gd name="T69" fmla="*/ 108228 h 1087200"/>
              <a:gd name="T70" fmla="*/ 945766 w 1087200"/>
              <a:gd name="T71" fmla="*/ 178330 h 1087200"/>
              <a:gd name="T72" fmla="*/ 1008489 w 1087200"/>
              <a:gd name="T73" fmla="*/ 261961 h 1087200"/>
              <a:gd name="T74" fmla="*/ 1053994 w 1087200"/>
              <a:gd name="T75" fmla="*/ 356661 h 1087200"/>
              <a:gd name="T76" fmla="*/ 1081051 w 1087200"/>
              <a:gd name="T77" fmla="*/ 461199 h 1087200"/>
              <a:gd name="T78" fmla="*/ 1087200 w 1087200"/>
              <a:gd name="T79" fmla="*/ 571887 h 1087200"/>
              <a:gd name="T80" fmla="*/ 1069982 w 1087200"/>
              <a:gd name="T81" fmla="*/ 678885 h 1087200"/>
              <a:gd name="T82" fmla="*/ 1034316 w 1087200"/>
              <a:gd name="T83" fmla="*/ 779734 h 1087200"/>
              <a:gd name="T84" fmla="*/ 978972 w 1087200"/>
              <a:gd name="T85" fmla="*/ 868284 h 1087200"/>
              <a:gd name="T86" fmla="*/ 908870 w 1087200"/>
              <a:gd name="T87" fmla="*/ 945766 h 1087200"/>
              <a:gd name="T88" fmla="*/ 825239 w 1087200"/>
              <a:gd name="T89" fmla="*/ 1008489 h 1087200"/>
              <a:gd name="T90" fmla="*/ 730540 w 1087200"/>
              <a:gd name="T91" fmla="*/ 1053994 h 1087200"/>
              <a:gd name="T92" fmla="*/ 626001 w 1087200"/>
              <a:gd name="T93" fmla="*/ 1081051 h 1087200"/>
              <a:gd name="T94" fmla="*/ 515313 w 1087200"/>
              <a:gd name="T95" fmla="*/ 1085970 h 1087200"/>
              <a:gd name="T96" fmla="*/ 408315 w 1087200"/>
              <a:gd name="T97" fmla="*/ 1069982 h 1087200"/>
              <a:gd name="T98" fmla="*/ 307466 w 1087200"/>
              <a:gd name="T99" fmla="*/ 1033086 h 1087200"/>
              <a:gd name="T100" fmla="*/ 218916 w 1087200"/>
              <a:gd name="T101" fmla="*/ 978972 h 1087200"/>
              <a:gd name="T102" fmla="*/ 141434 w 1087200"/>
              <a:gd name="T103" fmla="*/ 908870 h 1087200"/>
              <a:gd name="T104" fmla="*/ 78711 w 1087200"/>
              <a:gd name="T105" fmla="*/ 825239 h 1087200"/>
              <a:gd name="T106" fmla="*/ 33206 w 1087200"/>
              <a:gd name="T107" fmla="*/ 730540 h 1087200"/>
              <a:gd name="T108" fmla="*/ 6149 w 1087200"/>
              <a:gd name="T109" fmla="*/ 626001 h 1087200"/>
              <a:gd name="T110" fmla="*/ 1230 w 1087200"/>
              <a:gd name="T111" fmla="*/ 515313 h 1087200"/>
              <a:gd name="T112" fmla="*/ 17218 w 1087200"/>
              <a:gd name="T113" fmla="*/ 407085 h 1087200"/>
              <a:gd name="T114" fmla="*/ 54114 w 1087200"/>
              <a:gd name="T115" fmla="*/ 307466 h 1087200"/>
              <a:gd name="T116" fmla="*/ 108228 w 1087200"/>
              <a:gd name="T117" fmla="*/ 217686 h 1087200"/>
              <a:gd name="T118" fmla="*/ 178330 w 1087200"/>
              <a:gd name="T119" fmla="*/ 141434 h 1087200"/>
              <a:gd name="T120" fmla="*/ 261961 w 1087200"/>
              <a:gd name="T121" fmla="*/ 78711 h 1087200"/>
              <a:gd name="T122" fmla="*/ 356661 w 1087200"/>
              <a:gd name="T123" fmla="*/ 33206 h 1087200"/>
              <a:gd name="T124" fmla="*/ 461199 w 1087200"/>
              <a:gd name="T12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753907" y="591565"/>
                </a:moveTo>
                <a:lnTo>
                  <a:pt x="754859" y="592914"/>
                </a:lnTo>
                <a:lnTo>
                  <a:pt x="753907" y="592795"/>
                </a:lnTo>
                <a:lnTo>
                  <a:pt x="753907" y="591565"/>
                </a:lnTo>
                <a:close/>
                <a:moveTo>
                  <a:pt x="340672" y="591565"/>
                </a:moveTo>
                <a:lnTo>
                  <a:pt x="340672" y="592795"/>
                </a:lnTo>
                <a:lnTo>
                  <a:pt x="339801" y="592911"/>
                </a:lnTo>
                <a:lnTo>
                  <a:pt x="340672" y="591565"/>
                </a:lnTo>
                <a:close/>
                <a:moveTo>
                  <a:pt x="348052" y="329604"/>
                </a:moveTo>
                <a:lnTo>
                  <a:pt x="334523" y="330834"/>
                </a:lnTo>
                <a:lnTo>
                  <a:pt x="320995" y="332064"/>
                </a:lnTo>
                <a:lnTo>
                  <a:pt x="308696" y="335753"/>
                </a:lnTo>
                <a:lnTo>
                  <a:pt x="295167" y="339443"/>
                </a:lnTo>
                <a:lnTo>
                  <a:pt x="281639" y="345592"/>
                </a:lnTo>
                <a:lnTo>
                  <a:pt x="268110" y="351742"/>
                </a:lnTo>
                <a:lnTo>
                  <a:pt x="255812" y="360351"/>
                </a:lnTo>
                <a:lnTo>
                  <a:pt x="244743" y="370190"/>
                </a:lnTo>
                <a:lnTo>
                  <a:pt x="233674" y="380029"/>
                </a:lnTo>
                <a:lnTo>
                  <a:pt x="223835" y="389867"/>
                </a:lnTo>
                <a:lnTo>
                  <a:pt x="215226" y="400936"/>
                </a:lnTo>
                <a:lnTo>
                  <a:pt x="207847" y="413235"/>
                </a:lnTo>
                <a:lnTo>
                  <a:pt x="201698" y="425533"/>
                </a:lnTo>
                <a:lnTo>
                  <a:pt x="196778" y="437832"/>
                </a:lnTo>
                <a:lnTo>
                  <a:pt x="193089" y="450131"/>
                </a:lnTo>
                <a:lnTo>
                  <a:pt x="190629" y="463659"/>
                </a:lnTo>
                <a:lnTo>
                  <a:pt x="189399" y="475958"/>
                </a:lnTo>
                <a:lnTo>
                  <a:pt x="189399" y="488257"/>
                </a:lnTo>
                <a:lnTo>
                  <a:pt x="190629" y="500555"/>
                </a:lnTo>
                <a:lnTo>
                  <a:pt x="193089" y="512854"/>
                </a:lnTo>
                <a:lnTo>
                  <a:pt x="198008" y="525152"/>
                </a:lnTo>
                <a:lnTo>
                  <a:pt x="202928" y="536221"/>
                </a:lnTo>
                <a:lnTo>
                  <a:pt x="210307" y="547290"/>
                </a:lnTo>
                <a:lnTo>
                  <a:pt x="215226" y="554669"/>
                </a:lnTo>
                <a:lnTo>
                  <a:pt x="221376" y="562048"/>
                </a:lnTo>
                <a:lnTo>
                  <a:pt x="234904" y="573117"/>
                </a:lnTo>
                <a:lnTo>
                  <a:pt x="250892" y="581726"/>
                </a:lnTo>
                <a:lnTo>
                  <a:pt x="266881" y="589105"/>
                </a:lnTo>
                <a:lnTo>
                  <a:pt x="284099" y="594025"/>
                </a:lnTo>
                <a:lnTo>
                  <a:pt x="302547" y="595255"/>
                </a:lnTo>
                <a:lnTo>
                  <a:pt x="322224" y="595255"/>
                </a:lnTo>
                <a:lnTo>
                  <a:pt x="339801" y="592911"/>
                </a:lnTo>
                <a:lnTo>
                  <a:pt x="327144" y="612473"/>
                </a:lnTo>
                <a:lnTo>
                  <a:pt x="313615" y="634610"/>
                </a:lnTo>
                <a:lnTo>
                  <a:pt x="303776" y="657978"/>
                </a:lnTo>
                <a:lnTo>
                  <a:pt x="295167" y="681345"/>
                </a:lnTo>
                <a:lnTo>
                  <a:pt x="799412" y="681345"/>
                </a:lnTo>
                <a:lnTo>
                  <a:pt x="792033" y="657978"/>
                </a:lnTo>
                <a:lnTo>
                  <a:pt x="780964" y="634610"/>
                </a:lnTo>
                <a:lnTo>
                  <a:pt x="768665" y="612473"/>
                </a:lnTo>
                <a:lnTo>
                  <a:pt x="754859" y="592914"/>
                </a:lnTo>
                <a:lnTo>
                  <a:pt x="773585" y="595255"/>
                </a:lnTo>
                <a:lnTo>
                  <a:pt x="792033" y="595255"/>
                </a:lnTo>
                <a:lnTo>
                  <a:pt x="810481" y="594025"/>
                </a:lnTo>
                <a:lnTo>
                  <a:pt x="827699" y="589105"/>
                </a:lnTo>
                <a:lnTo>
                  <a:pt x="844917" y="581726"/>
                </a:lnTo>
                <a:lnTo>
                  <a:pt x="859675" y="573117"/>
                </a:lnTo>
                <a:lnTo>
                  <a:pt x="873204" y="562048"/>
                </a:lnTo>
                <a:lnTo>
                  <a:pt x="879353" y="554669"/>
                </a:lnTo>
                <a:lnTo>
                  <a:pt x="885502" y="547290"/>
                </a:lnTo>
                <a:lnTo>
                  <a:pt x="891652" y="536221"/>
                </a:lnTo>
                <a:lnTo>
                  <a:pt x="897801" y="525152"/>
                </a:lnTo>
                <a:lnTo>
                  <a:pt x="901491" y="512854"/>
                </a:lnTo>
                <a:lnTo>
                  <a:pt x="903950" y="500555"/>
                </a:lnTo>
                <a:lnTo>
                  <a:pt x="905180" y="488257"/>
                </a:lnTo>
                <a:lnTo>
                  <a:pt x="905180" y="475958"/>
                </a:lnTo>
                <a:lnTo>
                  <a:pt x="903950" y="463659"/>
                </a:lnTo>
                <a:lnTo>
                  <a:pt x="901491" y="450131"/>
                </a:lnTo>
                <a:lnTo>
                  <a:pt x="897801" y="437832"/>
                </a:lnTo>
                <a:lnTo>
                  <a:pt x="892882" y="425533"/>
                </a:lnTo>
                <a:lnTo>
                  <a:pt x="886732" y="413235"/>
                </a:lnTo>
                <a:lnTo>
                  <a:pt x="879353" y="400936"/>
                </a:lnTo>
                <a:lnTo>
                  <a:pt x="870744" y="389867"/>
                </a:lnTo>
                <a:lnTo>
                  <a:pt x="862135" y="380029"/>
                </a:lnTo>
                <a:lnTo>
                  <a:pt x="851066" y="370190"/>
                </a:lnTo>
                <a:lnTo>
                  <a:pt x="838767" y="360351"/>
                </a:lnTo>
                <a:lnTo>
                  <a:pt x="826469" y="351742"/>
                </a:lnTo>
                <a:lnTo>
                  <a:pt x="814170" y="345592"/>
                </a:lnTo>
                <a:lnTo>
                  <a:pt x="800642" y="339443"/>
                </a:lnTo>
                <a:lnTo>
                  <a:pt x="787113" y="335753"/>
                </a:lnTo>
                <a:lnTo>
                  <a:pt x="773585" y="332064"/>
                </a:lnTo>
                <a:lnTo>
                  <a:pt x="760056" y="330834"/>
                </a:lnTo>
                <a:lnTo>
                  <a:pt x="746528" y="329604"/>
                </a:lnTo>
                <a:lnTo>
                  <a:pt x="732999" y="330834"/>
                </a:lnTo>
                <a:lnTo>
                  <a:pt x="720701" y="332064"/>
                </a:lnTo>
                <a:lnTo>
                  <a:pt x="708402" y="335753"/>
                </a:lnTo>
                <a:lnTo>
                  <a:pt x="696103" y="339443"/>
                </a:lnTo>
                <a:lnTo>
                  <a:pt x="685034" y="344362"/>
                </a:lnTo>
                <a:lnTo>
                  <a:pt x="673966" y="351742"/>
                </a:lnTo>
                <a:lnTo>
                  <a:pt x="664127" y="359121"/>
                </a:lnTo>
                <a:lnTo>
                  <a:pt x="655518" y="367730"/>
                </a:lnTo>
                <a:lnTo>
                  <a:pt x="646909" y="377569"/>
                </a:lnTo>
                <a:lnTo>
                  <a:pt x="638300" y="392327"/>
                </a:lnTo>
                <a:lnTo>
                  <a:pt x="632150" y="408315"/>
                </a:lnTo>
                <a:lnTo>
                  <a:pt x="628461" y="425533"/>
                </a:lnTo>
                <a:lnTo>
                  <a:pt x="626001" y="441522"/>
                </a:lnTo>
                <a:lnTo>
                  <a:pt x="627231" y="458740"/>
                </a:lnTo>
                <a:lnTo>
                  <a:pt x="630920" y="475958"/>
                </a:lnTo>
                <a:lnTo>
                  <a:pt x="635840" y="493176"/>
                </a:lnTo>
                <a:lnTo>
                  <a:pt x="644449" y="509164"/>
                </a:lnTo>
                <a:lnTo>
                  <a:pt x="621081" y="501785"/>
                </a:lnTo>
                <a:lnTo>
                  <a:pt x="597714" y="495636"/>
                </a:lnTo>
                <a:lnTo>
                  <a:pt x="573117" y="491946"/>
                </a:lnTo>
                <a:lnTo>
                  <a:pt x="547290" y="490716"/>
                </a:lnTo>
                <a:lnTo>
                  <a:pt x="522692" y="491946"/>
                </a:lnTo>
                <a:lnTo>
                  <a:pt x="498095" y="495636"/>
                </a:lnTo>
                <a:lnTo>
                  <a:pt x="473498" y="501785"/>
                </a:lnTo>
                <a:lnTo>
                  <a:pt x="451360" y="510394"/>
                </a:lnTo>
                <a:lnTo>
                  <a:pt x="451360" y="509164"/>
                </a:lnTo>
                <a:lnTo>
                  <a:pt x="458739" y="493176"/>
                </a:lnTo>
                <a:lnTo>
                  <a:pt x="464889" y="475958"/>
                </a:lnTo>
                <a:lnTo>
                  <a:pt x="467348" y="458740"/>
                </a:lnTo>
                <a:lnTo>
                  <a:pt x="468578" y="441522"/>
                </a:lnTo>
                <a:lnTo>
                  <a:pt x="467348" y="425533"/>
                </a:lnTo>
                <a:lnTo>
                  <a:pt x="463659" y="408315"/>
                </a:lnTo>
                <a:lnTo>
                  <a:pt x="457509" y="392327"/>
                </a:lnTo>
                <a:lnTo>
                  <a:pt x="447671" y="377569"/>
                </a:lnTo>
                <a:lnTo>
                  <a:pt x="440291" y="367730"/>
                </a:lnTo>
                <a:lnTo>
                  <a:pt x="430452" y="359121"/>
                </a:lnTo>
                <a:lnTo>
                  <a:pt x="420614" y="351742"/>
                </a:lnTo>
                <a:lnTo>
                  <a:pt x="410775" y="344362"/>
                </a:lnTo>
                <a:lnTo>
                  <a:pt x="398476" y="339443"/>
                </a:lnTo>
                <a:lnTo>
                  <a:pt x="387407" y="335753"/>
                </a:lnTo>
                <a:lnTo>
                  <a:pt x="373879" y="332064"/>
                </a:lnTo>
                <a:lnTo>
                  <a:pt x="361580" y="330834"/>
                </a:lnTo>
                <a:lnTo>
                  <a:pt x="348052" y="329604"/>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3730"/>
                </a:lnTo>
                <a:lnTo>
                  <a:pt x="218916" y="978972"/>
                </a:lnTo>
                <a:lnTo>
                  <a:pt x="198008" y="962984"/>
                </a:lnTo>
                <a:lnTo>
                  <a:pt x="178330" y="945766"/>
                </a:lnTo>
                <a:lnTo>
                  <a:pt x="158653" y="928548"/>
                </a:lnTo>
                <a:lnTo>
                  <a:pt x="141434"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4"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14" name="Freeform 64"/>
          <p:cNvSpPr>
            <a:spLocks noEditPoints="1"/>
          </p:cNvSpPr>
          <p:nvPr userDrawn="1"/>
        </p:nvSpPr>
        <p:spPr bwMode="auto">
          <a:xfrm>
            <a:off x="9138597" y="1087484"/>
            <a:ext cx="1080000" cy="1080000"/>
          </a:xfrm>
          <a:custGeom>
            <a:avLst/>
            <a:gdLst>
              <a:gd name="T0" fmla="*/ 160 w 726"/>
              <a:gd name="T1" fmla="*/ 62 h 726"/>
              <a:gd name="T2" fmla="*/ 8 w 726"/>
              <a:gd name="T3" fmla="*/ 290 h 726"/>
              <a:gd name="T4" fmla="*/ 44 w 726"/>
              <a:gd name="T5" fmla="*/ 536 h 726"/>
              <a:gd name="T6" fmla="*/ 256 w 726"/>
              <a:gd name="T7" fmla="*/ 710 h 726"/>
              <a:gd name="T8" fmla="*/ 506 w 726"/>
              <a:gd name="T9" fmla="*/ 698 h 726"/>
              <a:gd name="T10" fmla="*/ 698 w 726"/>
              <a:gd name="T11" fmla="*/ 504 h 726"/>
              <a:gd name="T12" fmla="*/ 710 w 726"/>
              <a:gd name="T13" fmla="*/ 254 h 726"/>
              <a:gd name="T14" fmla="*/ 536 w 726"/>
              <a:gd name="T15" fmla="*/ 44 h 726"/>
              <a:gd name="T16" fmla="*/ 144 w 726"/>
              <a:gd name="T17" fmla="*/ 298 h 726"/>
              <a:gd name="T18" fmla="*/ 192 w 726"/>
              <a:gd name="T19" fmla="*/ 218 h 726"/>
              <a:gd name="T20" fmla="*/ 320 w 726"/>
              <a:gd name="T21" fmla="*/ 168 h 726"/>
              <a:gd name="T22" fmla="*/ 488 w 726"/>
              <a:gd name="T23" fmla="*/ 190 h 726"/>
              <a:gd name="T24" fmla="*/ 584 w 726"/>
              <a:gd name="T25" fmla="*/ 298 h 726"/>
              <a:gd name="T26" fmla="*/ 142 w 726"/>
              <a:gd name="T27" fmla="*/ 314 h 726"/>
              <a:gd name="T28" fmla="*/ 536 w 726"/>
              <a:gd name="T29" fmla="*/ 342 h 726"/>
              <a:gd name="T30" fmla="*/ 468 w 726"/>
              <a:gd name="T31" fmla="*/ 392 h 726"/>
              <a:gd name="T32" fmla="*/ 390 w 726"/>
              <a:gd name="T33" fmla="*/ 384 h 726"/>
              <a:gd name="T34" fmla="*/ 220 w 726"/>
              <a:gd name="T35" fmla="*/ 384 h 726"/>
              <a:gd name="T36" fmla="*/ 538 w 726"/>
              <a:gd name="T37" fmla="*/ 550 h 726"/>
              <a:gd name="T38" fmla="*/ 166 w 726"/>
              <a:gd name="T39" fmla="*/ 530 h 726"/>
              <a:gd name="T40" fmla="*/ 586 w 726"/>
              <a:gd name="T41" fmla="*/ 466 h 726"/>
              <a:gd name="T42" fmla="*/ 148 w 726"/>
              <a:gd name="T43" fmla="*/ 422 h 726"/>
              <a:gd name="T44" fmla="*/ 166 w 726"/>
              <a:gd name="T45" fmla="*/ 358 h 726"/>
              <a:gd name="T46" fmla="*/ 426 w 726"/>
              <a:gd name="T47" fmla="*/ 420 h 726"/>
              <a:gd name="T48" fmla="*/ 536 w 726"/>
              <a:gd name="T49" fmla="*/ 376 h 726"/>
              <a:gd name="T50" fmla="*/ 582 w 726"/>
              <a:gd name="T51" fmla="*/ 374 h 726"/>
              <a:gd name="T52" fmla="*/ 576 w 726"/>
              <a:gd name="T53" fmla="*/ 428 h 726"/>
              <a:gd name="T54" fmla="*/ 234 w 726"/>
              <a:gd name="T55" fmla="*/ 240 h 726"/>
              <a:gd name="T56" fmla="*/ 222 w 726"/>
              <a:gd name="T57" fmla="*/ 214 h 726"/>
              <a:gd name="T58" fmla="*/ 216 w 726"/>
              <a:gd name="T59" fmla="*/ 244 h 726"/>
              <a:gd name="T60" fmla="*/ 302 w 726"/>
              <a:gd name="T61" fmla="*/ 272 h 726"/>
              <a:gd name="T62" fmla="*/ 270 w 726"/>
              <a:gd name="T63" fmla="*/ 266 h 726"/>
              <a:gd name="T64" fmla="*/ 298 w 726"/>
              <a:gd name="T65" fmla="*/ 218 h 726"/>
              <a:gd name="T66" fmla="*/ 304 w 726"/>
              <a:gd name="T67" fmla="*/ 186 h 726"/>
              <a:gd name="T68" fmla="*/ 282 w 726"/>
              <a:gd name="T69" fmla="*/ 208 h 726"/>
              <a:gd name="T70" fmla="*/ 352 w 726"/>
              <a:gd name="T71" fmla="*/ 246 h 726"/>
              <a:gd name="T72" fmla="*/ 332 w 726"/>
              <a:gd name="T73" fmla="*/ 224 h 726"/>
              <a:gd name="T74" fmla="*/ 338 w 726"/>
              <a:gd name="T75" fmla="*/ 254 h 726"/>
              <a:gd name="T76" fmla="*/ 374 w 726"/>
              <a:gd name="T77" fmla="*/ 282 h 726"/>
              <a:gd name="T78" fmla="*/ 404 w 726"/>
              <a:gd name="T79" fmla="*/ 276 h 726"/>
              <a:gd name="T80" fmla="*/ 388 w 726"/>
              <a:gd name="T81" fmla="*/ 206 h 726"/>
              <a:gd name="T82" fmla="*/ 382 w 726"/>
              <a:gd name="T83" fmla="*/ 176 h 726"/>
              <a:gd name="T84" fmla="*/ 370 w 726"/>
              <a:gd name="T85" fmla="*/ 204 h 726"/>
              <a:gd name="T86" fmla="*/ 430 w 726"/>
              <a:gd name="T87" fmla="*/ 234 h 726"/>
              <a:gd name="T88" fmla="*/ 402 w 726"/>
              <a:gd name="T89" fmla="*/ 222 h 726"/>
              <a:gd name="T90" fmla="*/ 456 w 726"/>
              <a:gd name="T91" fmla="*/ 226 h 726"/>
              <a:gd name="T92" fmla="*/ 468 w 726"/>
              <a:gd name="T93" fmla="*/ 200 h 726"/>
              <a:gd name="T94" fmla="*/ 440 w 726"/>
              <a:gd name="T95" fmla="*/ 210 h 726"/>
              <a:gd name="T96" fmla="*/ 528 w 726"/>
              <a:gd name="T97" fmla="*/ 254 h 726"/>
              <a:gd name="T98" fmla="*/ 516 w 726"/>
              <a:gd name="T99" fmla="*/ 226 h 726"/>
              <a:gd name="T100" fmla="*/ 510 w 726"/>
              <a:gd name="T101" fmla="*/ 256 h 726"/>
              <a:gd name="T102" fmla="*/ 472 w 726"/>
              <a:gd name="T103" fmla="*/ 296 h 726"/>
              <a:gd name="T104" fmla="*/ 478 w 726"/>
              <a:gd name="T105" fmla="*/ 266 h 726"/>
              <a:gd name="T106" fmla="*/ 220 w 726"/>
              <a:gd name="T107" fmla="*/ 296 h 726"/>
              <a:gd name="T108" fmla="*/ 226 w 726"/>
              <a:gd name="T109" fmla="*/ 266 h 726"/>
              <a:gd name="T110" fmla="*/ 204 w 726"/>
              <a:gd name="T111" fmla="*/ 28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142" y="314"/>
                </a:moveTo>
                <a:lnTo>
                  <a:pt x="142" y="314"/>
                </a:lnTo>
                <a:lnTo>
                  <a:pt x="144" y="298"/>
                </a:lnTo>
                <a:lnTo>
                  <a:pt x="146" y="282"/>
                </a:lnTo>
                <a:lnTo>
                  <a:pt x="152" y="268"/>
                </a:lnTo>
                <a:lnTo>
                  <a:pt x="160" y="254"/>
                </a:lnTo>
                <a:lnTo>
                  <a:pt x="170" y="240"/>
                </a:lnTo>
                <a:lnTo>
                  <a:pt x="180" y="228"/>
                </a:lnTo>
                <a:lnTo>
                  <a:pt x="192" y="218"/>
                </a:lnTo>
                <a:lnTo>
                  <a:pt x="208" y="206"/>
                </a:lnTo>
                <a:lnTo>
                  <a:pt x="222" y="198"/>
                </a:lnTo>
                <a:lnTo>
                  <a:pt x="240" y="190"/>
                </a:lnTo>
                <a:lnTo>
                  <a:pt x="258" y="182"/>
                </a:lnTo>
                <a:lnTo>
                  <a:pt x="278" y="176"/>
                </a:lnTo>
                <a:lnTo>
                  <a:pt x="298" y="172"/>
                </a:lnTo>
                <a:lnTo>
                  <a:pt x="320" y="168"/>
                </a:lnTo>
                <a:lnTo>
                  <a:pt x="342" y="166"/>
                </a:lnTo>
                <a:lnTo>
                  <a:pt x="364" y="166"/>
                </a:lnTo>
                <a:lnTo>
                  <a:pt x="398" y="166"/>
                </a:lnTo>
                <a:lnTo>
                  <a:pt x="430" y="172"/>
                </a:lnTo>
                <a:lnTo>
                  <a:pt x="460" y="178"/>
                </a:lnTo>
                <a:lnTo>
                  <a:pt x="488" y="190"/>
                </a:lnTo>
                <a:lnTo>
                  <a:pt x="512" y="202"/>
                </a:lnTo>
                <a:lnTo>
                  <a:pt x="534" y="218"/>
                </a:lnTo>
                <a:lnTo>
                  <a:pt x="554" y="234"/>
                </a:lnTo>
                <a:lnTo>
                  <a:pt x="568" y="254"/>
                </a:lnTo>
                <a:lnTo>
                  <a:pt x="576" y="268"/>
                </a:lnTo>
                <a:lnTo>
                  <a:pt x="580" y="282"/>
                </a:lnTo>
                <a:lnTo>
                  <a:pt x="584" y="298"/>
                </a:lnTo>
                <a:lnTo>
                  <a:pt x="586" y="314"/>
                </a:lnTo>
                <a:lnTo>
                  <a:pt x="452" y="314"/>
                </a:lnTo>
                <a:lnTo>
                  <a:pt x="142" y="314"/>
                </a:lnTo>
                <a:close/>
                <a:moveTo>
                  <a:pt x="452" y="338"/>
                </a:moveTo>
                <a:lnTo>
                  <a:pt x="538" y="338"/>
                </a:lnTo>
                <a:lnTo>
                  <a:pt x="536" y="340"/>
                </a:lnTo>
                <a:lnTo>
                  <a:pt x="536" y="342"/>
                </a:lnTo>
                <a:lnTo>
                  <a:pt x="522" y="358"/>
                </a:lnTo>
                <a:lnTo>
                  <a:pt x="520" y="358"/>
                </a:lnTo>
                <a:lnTo>
                  <a:pt x="518" y="360"/>
                </a:lnTo>
                <a:lnTo>
                  <a:pt x="504" y="372"/>
                </a:lnTo>
                <a:lnTo>
                  <a:pt x="488" y="384"/>
                </a:lnTo>
                <a:lnTo>
                  <a:pt x="468" y="392"/>
                </a:lnTo>
                <a:lnTo>
                  <a:pt x="458" y="394"/>
                </a:lnTo>
                <a:lnTo>
                  <a:pt x="448" y="396"/>
                </a:lnTo>
                <a:lnTo>
                  <a:pt x="436" y="394"/>
                </a:lnTo>
                <a:lnTo>
                  <a:pt x="422" y="392"/>
                </a:lnTo>
                <a:lnTo>
                  <a:pt x="390" y="384"/>
                </a:lnTo>
                <a:lnTo>
                  <a:pt x="358" y="370"/>
                </a:lnTo>
                <a:lnTo>
                  <a:pt x="354" y="368"/>
                </a:lnTo>
                <a:lnTo>
                  <a:pt x="452" y="338"/>
                </a:lnTo>
                <a:close/>
                <a:moveTo>
                  <a:pt x="220" y="384"/>
                </a:moveTo>
                <a:lnTo>
                  <a:pt x="180" y="338"/>
                </a:lnTo>
                <a:lnTo>
                  <a:pt x="370" y="338"/>
                </a:lnTo>
                <a:lnTo>
                  <a:pt x="220" y="384"/>
                </a:lnTo>
                <a:close/>
                <a:moveTo>
                  <a:pt x="586" y="466"/>
                </a:moveTo>
                <a:lnTo>
                  <a:pt x="586" y="466"/>
                </a:lnTo>
                <a:lnTo>
                  <a:pt x="584" y="484"/>
                </a:lnTo>
                <a:lnTo>
                  <a:pt x="580" y="502"/>
                </a:lnTo>
                <a:lnTo>
                  <a:pt x="572" y="518"/>
                </a:lnTo>
                <a:lnTo>
                  <a:pt x="562" y="530"/>
                </a:lnTo>
                <a:lnTo>
                  <a:pt x="552" y="542"/>
                </a:lnTo>
                <a:lnTo>
                  <a:pt x="538" y="550"/>
                </a:lnTo>
                <a:lnTo>
                  <a:pt x="524" y="556"/>
                </a:lnTo>
                <a:lnTo>
                  <a:pt x="508" y="558"/>
                </a:lnTo>
                <a:lnTo>
                  <a:pt x="220" y="558"/>
                </a:lnTo>
                <a:lnTo>
                  <a:pt x="204" y="556"/>
                </a:lnTo>
                <a:lnTo>
                  <a:pt x="190" y="550"/>
                </a:lnTo>
                <a:lnTo>
                  <a:pt x="176" y="542"/>
                </a:lnTo>
                <a:lnTo>
                  <a:pt x="166" y="530"/>
                </a:lnTo>
                <a:lnTo>
                  <a:pt x="156" y="518"/>
                </a:lnTo>
                <a:lnTo>
                  <a:pt x="148" y="502"/>
                </a:lnTo>
                <a:lnTo>
                  <a:pt x="144" y="484"/>
                </a:lnTo>
                <a:lnTo>
                  <a:pt x="142" y="466"/>
                </a:lnTo>
                <a:lnTo>
                  <a:pt x="586" y="466"/>
                </a:lnTo>
                <a:close/>
                <a:moveTo>
                  <a:pt x="550" y="442"/>
                </a:moveTo>
                <a:lnTo>
                  <a:pt x="176" y="442"/>
                </a:lnTo>
                <a:lnTo>
                  <a:pt x="170" y="440"/>
                </a:lnTo>
                <a:lnTo>
                  <a:pt x="162" y="438"/>
                </a:lnTo>
                <a:lnTo>
                  <a:pt x="156" y="434"/>
                </a:lnTo>
                <a:lnTo>
                  <a:pt x="152" y="428"/>
                </a:lnTo>
                <a:lnTo>
                  <a:pt x="148" y="422"/>
                </a:lnTo>
                <a:lnTo>
                  <a:pt x="144" y="414"/>
                </a:lnTo>
                <a:lnTo>
                  <a:pt x="142" y="406"/>
                </a:lnTo>
                <a:lnTo>
                  <a:pt x="140" y="398"/>
                </a:lnTo>
                <a:lnTo>
                  <a:pt x="142" y="384"/>
                </a:lnTo>
                <a:lnTo>
                  <a:pt x="148" y="372"/>
                </a:lnTo>
                <a:lnTo>
                  <a:pt x="156" y="364"/>
                </a:lnTo>
                <a:lnTo>
                  <a:pt x="166" y="358"/>
                </a:lnTo>
                <a:lnTo>
                  <a:pt x="214" y="412"/>
                </a:lnTo>
                <a:lnTo>
                  <a:pt x="316" y="380"/>
                </a:lnTo>
                <a:lnTo>
                  <a:pt x="350" y="394"/>
                </a:lnTo>
                <a:lnTo>
                  <a:pt x="376" y="404"/>
                </a:lnTo>
                <a:lnTo>
                  <a:pt x="402" y="414"/>
                </a:lnTo>
                <a:lnTo>
                  <a:pt x="426" y="420"/>
                </a:lnTo>
                <a:lnTo>
                  <a:pt x="448" y="422"/>
                </a:lnTo>
                <a:lnTo>
                  <a:pt x="460" y="420"/>
                </a:lnTo>
                <a:lnTo>
                  <a:pt x="474" y="418"/>
                </a:lnTo>
                <a:lnTo>
                  <a:pt x="486" y="414"/>
                </a:lnTo>
                <a:lnTo>
                  <a:pt x="496" y="408"/>
                </a:lnTo>
                <a:lnTo>
                  <a:pt x="518" y="392"/>
                </a:lnTo>
                <a:lnTo>
                  <a:pt x="536" y="376"/>
                </a:lnTo>
                <a:lnTo>
                  <a:pt x="554" y="356"/>
                </a:lnTo>
                <a:lnTo>
                  <a:pt x="562" y="356"/>
                </a:lnTo>
                <a:lnTo>
                  <a:pt x="568" y="360"/>
                </a:lnTo>
                <a:lnTo>
                  <a:pt x="572" y="364"/>
                </a:lnTo>
                <a:lnTo>
                  <a:pt x="578" y="368"/>
                </a:lnTo>
                <a:lnTo>
                  <a:pt x="582" y="374"/>
                </a:lnTo>
                <a:lnTo>
                  <a:pt x="584" y="382"/>
                </a:lnTo>
                <a:lnTo>
                  <a:pt x="586" y="390"/>
                </a:lnTo>
                <a:lnTo>
                  <a:pt x="586" y="398"/>
                </a:lnTo>
                <a:lnTo>
                  <a:pt x="586" y="406"/>
                </a:lnTo>
                <a:lnTo>
                  <a:pt x="584" y="414"/>
                </a:lnTo>
                <a:lnTo>
                  <a:pt x="580" y="422"/>
                </a:lnTo>
                <a:lnTo>
                  <a:pt x="576" y="428"/>
                </a:lnTo>
                <a:lnTo>
                  <a:pt x="570" y="434"/>
                </a:lnTo>
                <a:lnTo>
                  <a:pt x="564" y="438"/>
                </a:lnTo>
                <a:lnTo>
                  <a:pt x="558" y="440"/>
                </a:lnTo>
                <a:lnTo>
                  <a:pt x="550" y="442"/>
                </a:lnTo>
                <a:close/>
                <a:moveTo>
                  <a:pt x="222" y="244"/>
                </a:moveTo>
                <a:lnTo>
                  <a:pt x="222" y="244"/>
                </a:lnTo>
                <a:lnTo>
                  <a:pt x="228" y="244"/>
                </a:lnTo>
                <a:lnTo>
                  <a:pt x="234" y="240"/>
                </a:lnTo>
                <a:lnTo>
                  <a:pt x="238" y="236"/>
                </a:lnTo>
                <a:lnTo>
                  <a:pt x="238" y="230"/>
                </a:lnTo>
                <a:lnTo>
                  <a:pt x="238" y="224"/>
                </a:lnTo>
                <a:lnTo>
                  <a:pt x="234" y="218"/>
                </a:lnTo>
                <a:lnTo>
                  <a:pt x="228" y="214"/>
                </a:lnTo>
                <a:lnTo>
                  <a:pt x="222" y="214"/>
                </a:lnTo>
                <a:lnTo>
                  <a:pt x="216" y="214"/>
                </a:lnTo>
                <a:lnTo>
                  <a:pt x="212" y="218"/>
                </a:lnTo>
                <a:lnTo>
                  <a:pt x="208" y="224"/>
                </a:lnTo>
                <a:lnTo>
                  <a:pt x="206" y="230"/>
                </a:lnTo>
                <a:lnTo>
                  <a:pt x="208" y="236"/>
                </a:lnTo>
                <a:lnTo>
                  <a:pt x="212" y="240"/>
                </a:lnTo>
                <a:lnTo>
                  <a:pt x="216" y="244"/>
                </a:lnTo>
                <a:lnTo>
                  <a:pt x="222" y="244"/>
                </a:lnTo>
                <a:close/>
                <a:moveTo>
                  <a:pt x="286" y="286"/>
                </a:moveTo>
                <a:lnTo>
                  <a:pt x="286" y="286"/>
                </a:lnTo>
                <a:lnTo>
                  <a:pt x="292" y="286"/>
                </a:lnTo>
                <a:lnTo>
                  <a:pt x="296" y="282"/>
                </a:lnTo>
                <a:lnTo>
                  <a:pt x="300" y="278"/>
                </a:lnTo>
                <a:lnTo>
                  <a:pt x="302" y="272"/>
                </a:lnTo>
                <a:lnTo>
                  <a:pt x="300" y="266"/>
                </a:lnTo>
                <a:lnTo>
                  <a:pt x="296" y="260"/>
                </a:lnTo>
                <a:lnTo>
                  <a:pt x="292" y="256"/>
                </a:lnTo>
                <a:lnTo>
                  <a:pt x="286" y="256"/>
                </a:lnTo>
                <a:lnTo>
                  <a:pt x="280" y="256"/>
                </a:lnTo>
                <a:lnTo>
                  <a:pt x="274" y="260"/>
                </a:lnTo>
                <a:lnTo>
                  <a:pt x="270" y="266"/>
                </a:lnTo>
                <a:lnTo>
                  <a:pt x="270" y="272"/>
                </a:lnTo>
                <a:lnTo>
                  <a:pt x="270" y="278"/>
                </a:lnTo>
                <a:lnTo>
                  <a:pt x="274" y="282"/>
                </a:lnTo>
                <a:lnTo>
                  <a:pt x="280" y="286"/>
                </a:lnTo>
                <a:lnTo>
                  <a:pt x="286" y="286"/>
                </a:lnTo>
                <a:close/>
                <a:moveTo>
                  <a:pt x="298" y="218"/>
                </a:moveTo>
                <a:lnTo>
                  <a:pt x="298" y="218"/>
                </a:lnTo>
                <a:lnTo>
                  <a:pt x="304" y="216"/>
                </a:lnTo>
                <a:lnTo>
                  <a:pt x="308" y="212"/>
                </a:lnTo>
                <a:lnTo>
                  <a:pt x="312" y="208"/>
                </a:lnTo>
                <a:lnTo>
                  <a:pt x="314" y="202"/>
                </a:lnTo>
                <a:lnTo>
                  <a:pt x="312" y="196"/>
                </a:lnTo>
                <a:lnTo>
                  <a:pt x="308" y="190"/>
                </a:lnTo>
                <a:lnTo>
                  <a:pt x="304" y="186"/>
                </a:lnTo>
                <a:lnTo>
                  <a:pt x="298" y="186"/>
                </a:lnTo>
                <a:lnTo>
                  <a:pt x="292" y="186"/>
                </a:lnTo>
                <a:lnTo>
                  <a:pt x="286" y="190"/>
                </a:lnTo>
                <a:lnTo>
                  <a:pt x="282" y="196"/>
                </a:lnTo>
                <a:lnTo>
                  <a:pt x="282" y="202"/>
                </a:lnTo>
                <a:lnTo>
                  <a:pt x="282" y="208"/>
                </a:lnTo>
                <a:lnTo>
                  <a:pt x="286" y="212"/>
                </a:lnTo>
                <a:lnTo>
                  <a:pt x="292" y="216"/>
                </a:lnTo>
                <a:lnTo>
                  <a:pt x="298" y="218"/>
                </a:lnTo>
                <a:close/>
                <a:moveTo>
                  <a:pt x="338" y="254"/>
                </a:moveTo>
                <a:lnTo>
                  <a:pt x="338" y="254"/>
                </a:lnTo>
                <a:lnTo>
                  <a:pt x="344" y="254"/>
                </a:lnTo>
                <a:lnTo>
                  <a:pt x="348" y="250"/>
                </a:lnTo>
                <a:lnTo>
                  <a:pt x="352" y="246"/>
                </a:lnTo>
                <a:lnTo>
                  <a:pt x="354" y="238"/>
                </a:lnTo>
                <a:lnTo>
                  <a:pt x="352" y="232"/>
                </a:lnTo>
                <a:lnTo>
                  <a:pt x="348" y="228"/>
                </a:lnTo>
                <a:lnTo>
                  <a:pt x="344" y="224"/>
                </a:lnTo>
                <a:lnTo>
                  <a:pt x="338" y="224"/>
                </a:lnTo>
                <a:lnTo>
                  <a:pt x="332" y="224"/>
                </a:lnTo>
                <a:lnTo>
                  <a:pt x="326" y="228"/>
                </a:lnTo>
                <a:lnTo>
                  <a:pt x="324" y="232"/>
                </a:lnTo>
                <a:lnTo>
                  <a:pt x="322" y="238"/>
                </a:lnTo>
                <a:lnTo>
                  <a:pt x="324" y="246"/>
                </a:lnTo>
                <a:lnTo>
                  <a:pt x="326" y="250"/>
                </a:lnTo>
                <a:lnTo>
                  <a:pt x="332" y="254"/>
                </a:lnTo>
                <a:lnTo>
                  <a:pt x="338" y="254"/>
                </a:lnTo>
                <a:close/>
                <a:moveTo>
                  <a:pt x="388" y="260"/>
                </a:moveTo>
                <a:lnTo>
                  <a:pt x="388" y="260"/>
                </a:lnTo>
                <a:lnTo>
                  <a:pt x="382" y="262"/>
                </a:lnTo>
                <a:lnTo>
                  <a:pt x="378" y="264"/>
                </a:lnTo>
                <a:lnTo>
                  <a:pt x="374" y="270"/>
                </a:lnTo>
                <a:lnTo>
                  <a:pt x="374" y="276"/>
                </a:lnTo>
                <a:lnTo>
                  <a:pt x="374" y="282"/>
                </a:lnTo>
                <a:lnTo>
                  <a:pt x="378" y="288"/>
                </a:lnTo>
                <a:lnTo>
                  <a:pt x="382" y="290"/>
                </a:lnTo>
                <a:lnTo>
                  <a:pt x="388" y="292"/>
                </a:lnTo>
                <a:lnTo>
                  <a:pt x="396" y="290"/>
                </a:lnTo>
                <a:lnTo>
                  <a:pt x="400" y="288"/>
                </a:lnTo>
                <a:lnTo>
                  <a:pt x="404" y="282"/>
                </a:lnTo>
                <a:lnTo>
                  <a:pt x="404" y="276"/>
                </a:lnTo>
                <a:lnTo>
                  <a:pt x="404" y="270"/>
                </a:lnTo>
                <a:lnTo>
                  <a:pt x="400" y="264"/>
                </a:lnTo>
                <a:lnTo>
                  <a:pt x="396" y="262"/>
                </a:lnTo>
                <a:lnTo>
                  <a:pt x="388" y="260"/>
                </a:lnTo>
                <a:close/>
                <a:moveTo>
                  <a:pt x="382" y="208"/>
                </a:moveTo>
                <a:lnTo>
                  <a:pt x="382" y="208"/>
                </a:lnTo>
                <a:lnTo>
                  <a:pt x="388" y="206"/>
                </a:lnTo>
                <a:lnTo>
                  <a:pt x="394" y="204"/>
                </a:lnTo>
                <a:lnTo>
                  <a:pt x="396" y="198"/>
                </a:lnTo>
                <a:lnTo>
                  <a:pt x="398" y="192"/>
                </a:lnTo>
                <a:lnTo>
                  <a:pt x="396" y="186"/>
                </a:lnTo>
                <a:lnTo>
                  <a:pt x="394" y="182"/>
                </a:lnTo>
                <a:lnTo>
                  <a:pt x="388" y="178"/>
                </a:lnTo>
                <a:lnTo>
                  <a:pt x="382" y="176"/>
                </a:lnTo>
                <a:lnTo>
                  <a:pt x="376" y="178"/>
                </a:lnTo>
                <a:lnTo>
                  <a:pt x="370" y="182"/>
                </a:lnTo>
                <a:lnTo>
                  <a:pt x="368" y="186"/>
                </a:lnTo>
                <a:lnTo>
                  <a:pt x="366" y="192"/>
                </a:lnTo>
                <a:lnTo>
                  <a:pt x="368" y="198"/>
                </a:lnTo>
                <a:lnTo>
                  <a:pt x="370" y="204"/>
                </a:lnTo>
                <a:lnTo>
                  <a:pt x="376" y="206"/>
                </a:lnTo>
                <a:lnTo>
                  <a:pt x="382" y="208"/>
                </a:lnTo>
                <a:close/>
                <a:moveTo>
                  <a:pt x="414" y="250"/>
                </a:moveTo>
                <a:lnTo>
                  <a:pt x="414" y="250"/>
                </a:lnTo>
                <a:lnTo>
                  <a:pt x="420" y="248"/>
                </a:lnTo>
                <a:lnTo>
                  <a:pt x="426" y="246"/>
                </a:lnTo>
                <a:lnTo>
                  <a:pt x="428" y="240"/>
                </a:lnTo>
                <a:lnTo>
                  <a:pt x="430" y="234"/>
                </a:lnTo>
                <a:lnTo>
                  <a:pt x="428" y="228"/>
                </a:lnTo>
                <a:lnTo>
                  <a:pt x="426" y="222"/>
                </a:lnTo>
                <a:lnTo>
                  <a:pt x="420" y="220"/>
                </a:lnTo>
                <a:lnTo>
                  <a:pt x="414" y="218"/>
                </a:lnTo>
                <a:lnTo>
                  <a:pt x="408" y="220"/>
                </a:lnTo>
                <a:lnTo>
                  <a:pt x="402" y="222"/>
                </a:lnTo>
                <a:lnTo>
                  <a:pt x="400" y="228"/>
                </a:lnTo>
                <a:lnTo>
                  <a:pt x="398" y="234"/>
                </a:lnTo>
                <a:lnTo>
                  <a:pt x="400" y="240"/>
                </a:lnTo>
                <a:lnTo>
                  <a:pt x="402" y="246"/>
                </a:lnTo>
                <a:lnTo>
                  <a:pt x="408" y="248"/>
                </a:lnTo>
                <a:lnTo>
                  <a:pt x="414" y="250"/>
                </a:lnTo>
                <a:close/>
                <a:moveTo>
                  <a:pt x="456" y="226"/>
                </a:moveTo>
                <a:lnTo>
                  <a:pt x="456" y="226"/>
                </a:lnTo>
                <a:lnTo>
                  <a:pt x="462" y="226"/>
                </a:lnTo>
                <a:lnTo>
                  <a:pt x="468" y="222"/>
                </a:lnTo>
                <a:lnTo>
                  <a:pt x="470" y="216"/>
                </a:lnTo>
                <a:lnTo>
                  <a:pt x="472" y="210"/>
                </a:lnTo>
                <a:lnTo>
                  <a:pt x="470" y="204"/>
                </a:lnTo>
                <a:lnTo>
                  <a:pt x="468" y="200"/>
                </a:lnTo>
                <a:lnTo>
                  <a:pt x="462" y="196"/>
                </a:lnTo>
                <a:lnTo>
                  <a:pt x="456" y="194"/>
                </a:lnTo>
                <a:lnTo>
                  <a:pt x="450" y="196"/>
                </a:lnTo>
                <a:lnTo>
                  <a:pt x="444" y="200"/>
                </a:lnTo>
                <a:lnTo>
                  <a:pt x="442" y="204"/>
                </a:lnTo>
                <a:lnTo>
                  <a:pt x="440" y="210"/>
                </a:lnTo>
                <a:lnTo>
                  <a:pt x="442" y="216"/>
                </a:lnTo>
                <a:lnTo>
                  <a:pt x="444" y="222"/>
                </a:lnTo>
                <a:lnTo>
                  <a:pt x="450" y="226"/>
                </a:lnTo>
                <a:lnTo>
                  <a:pt x="456" y="226"/>
                </a:lnTo>
                <a:close/>
                <a:moveTo>
                  <a:pt x="516" y="258"/>
                </a:moveTo>
                <a:lnTo>
                  <a:pt x="516" y="258"/>
                </a:lnTo>
                <a:lnTo>
                  <a:pt x="522" y="256"/>
                </a:lnTo>
                <a:lnTo>
                  <a:pt x="528" y="254"/>
                </a:lnTo>
                <a:lnTo>
                  <a:pt x="532" y="248"/>
                </a:lnTo>
                <a:lnTo>
                  <a:pt x="532" y="242"/>
                </a:lnTo>
                <a:lnTo>
                  <a:pt x="532" y="236"/>
                </a:lnTo>
                <a:lnTo>
                  <a:pt x="528" y="232"/>
                </a:lnTo>
                <a:lnTo>
                  <a:pt x="522" y="228"/>
                </a:lnTo>
                <a:lnTo>
                  <a:pt x="516" y="226"/>
                </a:lnTo>
                <a:lnTo>
                  <a:pt x="510" y="228"/>
                </a:lnTo>
                <a:lnTo>
                  <a:pt x="506" y="232"/>
                </a:lnTo>
                <a:lnTo>
                  <a:pt x="502" y="236"/>
                </a:lnTo>
                <a:lnTo>
                  <a:pt x="500" y="242"/>
                </a:lnTo>
                <a:lnTo>
                  <a:pt x="502" y="248"/>
                </a:lnTo>
                <a:lnTo>
                  <a:pt x="506" y="254"/>
                </a:lnTo>
                <a:lnTo>
                  <a:pt x="510" y="256"/>
                </a:lnTo>
                <a:lnTo>
                  <a:pt x="516" y="258"/>
                </a:lnTo>
                <a:close/>
                <a:moveTo>
                  <a:pt x="456" y="280"/>
                </a:moveTo>
                <a:lnTo>
                  <a:pt x="456" y="280"/>
                </a:lnTo>
                <a:lnTo>
                  <a:pt x="458" y="286"/>
                </a:lnTo>
                <a:lnTo>
                  <a:pt x="460" y="292"/>
                </a:lnTo>
                <a:lnTo>
                  <a:pt x="466" y="294"/>
                </a:lnTo>
                <a:lnTo>
                  <a:pt x="472" y="296"/>
                </a:lnTo>
                <a:lnTo>
                  <a:pt x="478" y="294"/>
                </a:lnTo>
                <a:lnTo>
                  <a:pt x="484" y="292"/>
                </a:lnTo>
                <a:lnTo>
                  <a:pt x="486" y="286"/>
                </a:lnTo>
                <a:lnTo>
                  <a:pt x="488" y="280"/>
                </a:lnTo>
                <a:lnTo>
                  <a:pt x="486" y="274"/>
                </a:lnTo>
                <a:lnTo>
                  <a:pt x="484" y="270"/>
                </a:lnTo>
                <a:lnTo>
                  <a:pt x="478" y="266"/>
                </a:lnTo>
                <a:lnTo>
                  <a:pt x="472" y="264"/>
                </a:lnTo>
                <a:lnTo>
                  <a:pt x="466" y="266"/>
                </a:lnTo>
                <a:lnTo>
                  <a:pt x="460" y="270"/>
                </a:lnTo>
                <a:lnTo>
                  <a:pt x="458" y="274"/>
                </a:lnTo>
                <a:lnTo>
                  <a:pt x="456" y="280"/>
                </a:lnTo>
                <a:close/>
                <a:moveTo>
                  <a:pt x="220" y="296"/>
                </a:moveTo>
                <a:lnTo>
                  <a:pt x="220" y="296"/>
                </a:lnTo>
                <a:lnTo>
                  <a:pt x="226" y="294"/>
                </a:lnTo>
                <a:lnTo>
                  <a:pt x="230" y="292"/>
                </a:lnTo>
                <a:lnTo>
                  <a:pt x="234" y="286"/>
                </a:lnTo>
                <a:lnTo>
                  <a:pt x="234" y="280"/>
                </a:lnTo>
                <a:lnTo>
                  <a:pt x="234" y="274"/>
                </a:lnTo>
                <a:lnTo>
                  <a:pt x="230" y="270"/>
                </a:lnTo>
                <a:lnTo>
                  <a:pt x="226" y="266"/>
                </a:lnTo>
                <a:lnTo>
                  <a:pt x="220" y="264"/>
                </a:lnTo>
                <a:lnTo>
                  <a:pt x="214" y="266"/>
                </a:lnTo>
                <a:lnTo>
                  <a:pt x="208" y="270"/>
                </a:lnTo>
                <a:lnTo>
                  <a:pt x="204" y="274"/>
                </a:lnTo>
                <a:lnTo>
                  <a:pt x="204" y="280"/>
                </a:lnTo>
                <a:lnTo>
                  <a:pt x="204" y="286"/>
                </a:lnTo>
                <a:lnTo>
                  <a:pt x="208" y="292"/>
                </a:lnTo>
                <a:lnTo>
                  <a:pt x="214" y="294"/>
                </a:lnTo>
                <a:lnTo>
                  <a:pt x="220" y="29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5" name="Freeform 85"/>
          <p:cNvSpPr>
            <a:spLocks noEditPoints="1"/>
          </p:cNvSpPr>
          <p:nvPr userDrawn="1"/>
        </p:nvSpPr>
        <p:spPr bwMode="auto">
          <a:xfrm>
            <a:off x="1758737"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18 w 726"/>
              <a:gd name="T55" fmla="*/ 290 h 726"/>
              <a:gd name="T56" fmla="*/ 698 w 726"/>
              <a:gd name="T57" fmla="*/ 222 h 726"/>
              <a:gd name="T58" fmla="*/ 664 w 726"/>
              <a:gd name="T59" fmla="*/ 160 h 726"/>
              <a:gd name="T60" fmla="*/ 620 w 726"/>
              <a:gd name="T61" fmla="*/ 106 h 726"/>
              <a:gd name="T62" fmla="*/ 566 w 726"/>
              <a:gd name="T63" fmla="*/ 62 h 726"/>
              <a:gd name="T64" fmla="*/ 504 w 726"/>
              <a:gd name="T65" fmla="*/ 28 h 726"/>
              <a:gd name="T66" fmla="*/ 436 w 726"/>
              <a:gd name="T67" fmla="*/ 8 h 726"/>
              <a:gd name="T68" fmla="*/ 364 w 726"/>
              <a:gd name="T69" fmla="*/ 0 h 726"/>
              <a:gd name="T70" fmla="*/ 376 w 726"/>
              <a:gd name="T71" fmla="*/ 178 h 726"/>
              <a:gd name="T72" fmla="*/ 350 w 726"/>
              <a:gd name="T73" fmla="*/ 242 h 726"/>
              <a:gd name="T74" fmla="*/ 296 w 726"/>
              <a:gd name="T75" fmla="*/ 130 h 726"/>
              <a:gd name="T76" fmla="*/ 444 w 726"/>
              <a:gd name="T77" fmla="*/ 566 h 726"/>
              <a:gd name="T78" fmla="*/ 442 w 726"/>
              <a:gd name="T79" fmla="*/ 570 h 726"/>
              <a:gd name="T80" fmla="*/ 436 w 726"/>
              <a:gd name="T81" fmla="*/ 576 h 726"/>
              <a:gd name="T82" fmla="*/ 296 w 726"/>
              <a:gd name="T83" fmla="*/ 578 h 726"/>
              <a:gd name="T84" fmla="*/ 292 w 726"/>
              <a:gd name="T85" fmla="*/ 576 h 726"/>
              <a:gd name="T86" fmla="*/ 288 w 726"/>
              <a:gd name="T87" fmla="*/ 574 h 726"/>
              <a:gd name="T88" fmla="*/ 284 w 726"/>
              <a:gd name="T89" fmla="*/ 566 h 726"/>
              <a:gd name="T90" fmla="*/ 462 w 726"/>
              <a:gd name="T91" fmla="*/ 300 h 726"/>
              <a:gd name="T92" fmla="*/ 458 w 726"/>
              <a:gd name="T93" fmla="*/ 284 h 726"/>
              <a:gd name="T94" fmla="*/ 268 w 726"/>
              <a:gd name="T95" fmla="*/ 284 h 726"/>
              <a:gd name="T96" fmla="*/ 260 w 726"/>
              <a:gd name="T97" fmla="*/ 280 h 726"/>
              <a:gd name="T98" fmla="*/ 256 w 726"/>
              <a:gd name="T99" fmla="*/ 272 h 726"/>
              <a:gd name="T100" fmla="*/ 256 w 726"/>
              <a:gd name="T101" fmla="*/ 266 h 726"/>
              <a:gd name="T102" fmla="*/ 264 w 726"/>
              <a:gd name="T103" fmla="*/ 260 h 726"/>
              <a:gd name="T104" fmla="*/ 458 w 726"/>
              <a:gd name="T105" fmla="*/ 260 h 726"/>
              <a:gd name="T106" fmla="*/ 464 w 726"/>
              <a:gd name="T107" fmla="*/ 260 h 726"/>
              <a:gd name="T108" fmla="*/ 470 w 726"/>
              <a:gd name="T109" fmla="*/ 266 h 726"/>
              <a:gd name="T110" fmla="*/ 472 w 726"/>
              <a:gd name="T111" fmla="*/ 272 h 726"/>
              <a:gd name="T112" fmla="*/ 468 w 726"/>
              <a:gd name="T113" fmla="*/ 280 h 726"/>
              <a:gd name="T114" fmla="*/ 458 w 726"/>
              <a:gd name="T115" fmla="*/ 28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4" y="112"/>
                </a:moveTo>
                <a:lnTo>
                  <a:pt x="376" y="178"/>
                </a:lnTo>
                <a:lnTo>
                  <a:pt x="376" y="242"/>
                </a:lnTo>
                <a:lnTo>
                  <a:pt x="350" y="242"/>
                </a:lnTo>
                <a:lnTo>
                  <a:pt x="350" y="188"/>
                </a:lnTo>
                <a:lnTo>
                  <a:pt x="296" y="130"/>
                </a:lnTo>
                <a:lnTo>
                  <a:pt x="314" y="112"/>
                </a:lnTo>
                <a:close/>
                <a:moveTo>
                  <a:pt x="444" y="566"/>
                </a:moveTo>
                <a:lnTo>
                  <a:pt x="444" y="566"/>
                </a:lnTo>
                <a:lnTo>
                  <a:pt x="442" y="570"/>
                </a:lnTo>
                <a:lnTo>
                  <a:pt x="440" y="574"/>
                </a:lnTo>
                <a:lnTo>
                  <a:pt x="436" y="576"/>
                </a:lnTo>
                <a:lnTo>
                  <a:pt x="432" y="578"/>
                </a:lnTo>
                <a:lnTo>
                  <a:pt x="296" y="578"/>
                </a:lnTo>
                <a:lnTo>
                  <a:pt x="292" y="576"/>
                </a:lnTo>
                <a:lnTo>
                  <a:pt x="288" y="574"/>
                </a:lnTo>
                <a:lnTo>
                  <a:pt x="286" y="570"/>
                </a:lnTo>
                <a:lnTo>
                  <a:pt x="284" y="566"/>
                </a:lnTo>
                <a:lnTo>
                  <a:pt x="264" y="300"/>
                </a:lnTo>
                <a:lnTo>
                  <a:pt x="462" y="300"/>
                </a:lnTo>
                <a:lnTo>
                  <a:pt x="444" y="566"/>
                </a:lnTo>
                <a:close/>
                <a:moveTo>
                  <a:pt x="458" y="284"/>
                </a:moveTo>
                <a:lnTo>
                  <a:pt x="268" y="284"/>
                </a:lnTo>
                <a:lnTo>
                  <a:pt x="264" y="282"/>
                </a:lnTo>
                <a:lnTo>
                  <a:pt x="260" y="280"/>
                </a:lnTo>
                <a:lnTo>
                  <a:pt x="256" y="276"/>
                </a:lnTo>
                <a:lnTo>
                  <a:pt x="256" y="272"/>
                </a:lnTo>
                <a:lnTo>
                  <a:pt x="256" y="266"/>
                </a:lnTo>
                <a:lnTo>
                  <a:pt x="260" y="262"/>
                </a:lnTo>
                <a:lnTo>
                  <a:pt x="264" y="260"/>
                </a:lnTo>
                <a:lnTo>
                  <a:pt x="268" y="260"/>
                </a:lnTo>
                <a:lnTo>
                  <a:pt x="458" y="260"/>
                </a:lnTo>
                <a:lnTo>
                  <a:pt x="464" y="260"/>
                </a:lnTo>
                <a:lnTo>
                  <a:pt x="468" y="262"/>
                </a:lnTo>
                <a:lnTo>
                  <a:pt x="470" y="266"/>
                </a:lnTo>
                <a:lnTo>
                  <a:pt x="472" y="272"/>
                </a:lnTo>
                <a:lnTo>
                  <a:pt x="470" y="276"/>
                </a:lnTo>
                <a:lnTo>
                  <a:pt x="468" y="280"/>
                </a:lnTo>
                <a:lnTo>
                  <a:pt x="464" y="282"/>
                </a:lnTo>
                <a:lnTo>
                  <a:pt x="458" y="2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6" name="Freeform 203"/>
          <p:cNvSpPr>
            <a:spLocks noEditPoints="1"/>
          </p:cNvSpPr>
          <p:nvPr userDrawn="1"/>
        </p:nvSpPr>
        <p:spPr bwMode="auto">
          <a:xfrm>
            <a:off x="4710681"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46 w 726"/>
              <a:gd name="T27" fmla="*/ 574 h 726"/>
              <a:gd name="T28" fmla="*/ 338 w 726"/>
              <a:gd name="T29" fmla="*/ 586 h 726"/>
              <a:gd name="T30" fmla="*/ 222 w 726"/>
              <a:gd name="T31" fmla="*/ 584 h 726"/>
              <a:gd name="T32" fmla="*/ 292 w 726"/>
              <a:gd name="T33" fmla="*/ 540 h 726"/>
              <a:gd name="T34" fmla="*/ 302 w 726"/>
              <a:gd name="T35" fmla="*/ 536 h 726"/>
              <a:gd name="T36" fmla="*/ 304 w 726"/>
              <a:gd name="T37" fmla="*/ 336 h 726"/>
              <a:gd name="T38" fmla="*/ 292 w 726"/>
              <a:gd name="T39" fmla="*/ 330 h 726"/>
              <a:gd name="T40" fmla="*/ 220 w 726"/>
              <a:gd name="T41" fmla="*/ 304 h 726"/>
              <a:gd name="T42" fmla="*/ 250 w 726"/>
              <a:gd name="T43" fmla="*/ 264 h 726"/>
              <a:gd name="T44" fmla="*/ 262 w 726"/>
              <a:gd name="T45" fmla="*/ 142 h 726"/>
              <a:gd name="T46" fmla="*/ 294 w 726"/>
              <a:gd name="T47" fmla="*/ 138 h 726"/>
              <a:gd name="T48" fmla="*/ 306 w 726"/>
              <a:gd name="T49" fmla="*/ 152 h 726"/>
              <a:gd name="T50" fmla="*/ 328 w 726"/>
              <a:gd name="T51" fmla="*/ 278 h 726"/>
              <a:gd name="T52" fmla="*/ 346 w 726"/>
              <a:gd name="T53" fmla="*/ 324 h 726"/>
              <a:gd name="T54" fmla="*/ 218 w 726"/>
              <a:gd name="T55" fmla="*/ 516 h 726"/>
              <a:gd name="T56" fmla="*/ 478 w 726"/>
              <a:gd name="T57" fmla="*/ 560 h 726"/>
              <a:gd name="T58" fmla="*/ 504 w 726"/>
              <a:gd name="T59" fmla="*/ 566 h 726"/>
              <a:gd name="T60" fmla="*/ 506 w 726"/>
              <a:gd name="T61" fmla="*/ 580 h 726"/>
              <a:gd name="T62" fmla="*/ 400 w 726"/>
              <a:gd name="T63" fmla="*/ 586 h 726"/>
              <a:gd name="T64" fmla="*/ 388 w 726"/>
              <a:gd name="T65" fmla="*/ 580 h 726"/>
              <a:gd name="T66" fmla="*/ 392 w 726"/>
              <a:gd name="T67" fmla="*/ 566 h 726"/>
              <a:gd name="T68" fmla="*/ 418 w 726"/>
              <a:gd name="T69" fmla="*/ 560 h 726"/>
              <a:gd name="T70" fmla="*/ 436 w 726"/>
              <a:gd name="T71" fmla="*/ 544 h 726"/>
              <a:gd name="T72" fmla="*/ 432 w 726"/>
              <a:gd name="T73" fmla="*/ 458 h 726"/>
              <a:gd name="T74" fmla="*/ 406 w 726"/>
              <a:gd name="T75" fmla="*/ 442 h 726"/>
              <a:gd name="T76" fmla="*/ 384 w 726"/>
              <a:gd name="T77" fmla="*/ 406 h 726"/>
              <a:gd name="T78" fmla="*/ 392 w 726"/>
              <a:gd name="T79" fmla="*/ 312 h 726"/>
              <a:gd name="T80" fmla="*/ 404 w 726"/>
              <a:gd name="T81" fmla="*/ 302 h 726"/>
              <a:gd name="T82" fmla="*/ 502 w 726"/>
              <a:gd name="T83" fmla="*/ 308 h 726"/>
              <a:gd name="T84" fmla="*/ 514 w 726"/>
              <a:gd name="T85" fmla="*/ 386 h 726"/>
              <a:gd name="T86" fmla="*/ 504 w 726"/>
              <a:gd name="T87" fmla="*/ 426 h 726"/>
              <a:gd name="T88" fmla="*/ 468 w 726"/>
              <a:gd name="T89" fmla="*/ 456 h 726"/>
              <a:gd name="T90" fmla="*/ 460 w 726"/>
              <a:gd name="T91" fmla="*/ 544 h 726"/>
              <a:gd name="T92" fmla="*/ 482 w 726"/>
              <a:gd name="T93" fmla="*/ 414 h 726"/>
              <a:gd name="T94" fmla="*/ 488 w 726"/>
              <a:gd name="T95" fmla="*/ 370 h 726"/>
              <a:gd name="T96" fmla="*/ 408 w 726"/>
              <a:gd name="T97" fmla="*/ 400 h 726"/>
              <a:gd name="T98" fmla="*/ 428 w 726"/>
              <a:gd name="T99" fmla="*/ 430 h 726"/>
              <a:gd name="T100" fmla="*/ 448 w 726"/>
              <a:gd name="T101" fmla="*/ 436 h 726"/>
              <a:gd name="T102" fmla="*/ 474 w 726"/>
              <a:gd name="T103" fmla="*/ 424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46" y="574"/>
                </a:moveTo>
                <a:lnTo>
                  <a:pt x="346" y="574"/>
                </a:lnTo>
                <a:lnTo>
                  <a:pt x="344" y="580"/>
                </a:lnTo>
                <a:lnTo>
                  <a:pt x="342" y="584"/>
                </a:lnTo>
                <a:lnTo>
                  <a:pt x="338" y="586"/>
                </a:lnTo>
                <a:lnTo>
                  <a:pt x="334" y="586"/>
                </a:lnTo>
                <a:lnTo>
                  <a:pt x="230" y="586"/>
                </a:lnTo>
                <a:lnTo>
                  <a:pt x="226" y="586"/>
                </a:lnTo>
                <a:lnTo>
                  <a:pt x="222" y="584"/>
                </a:lnTo>
                <a:lnTo>
                  <a:pt x="218" y="580"/>
                </a:lnTo>
                <a:lnTo>
                  <a:pt x="218" y="574"/>
                </a:lnTo>
                <a:lnTo>
                  <a:pt x="218" y="540"/>
                </a:lnTo>
                <a:lnTo>
                  <a:pt x="292" y="540"/>
                </a:lnTo>
                <a:lnTo>
                  <a:pt x="296" y="540"/>
                </a:lnTo>
                <a:lnTo>
                  <a:pt x="302" y="536"/>
                </a:lnTo>
                <a:lnTo>
                  <a:pt x="304" y="532"/>
                </a:lnTo>
                <a:lnTo>
                  <a:pt x="306" y="528"/>
                </a:lnTo>
                <a:lnTo>
                  <a:pt x="306" y="342"/>
                </a:lnTo>
                <a:lnTo>
                  <a:pt x="304" y="336"/>
                </a:lnTo>
                <a:lnTo>
                  <a:pt x="302" y="332"/>
                </a:lnTo>
                <a:lnTo>
                  <a:pt x="300" y="332"/>
                </a:lnTo>
                <a:lnTo>
                  <a:pt x="292" y="330"/>
                </a:lnTo>
                <a:lnTo>
                  <a:pt x="218" y="330"/>
                </a:lnTo>
                <a:lnTo>
                  <a:pt x="218" y="324"/>
                </a:lnTo>
                <a:lnTo>
                  <a:pt x="218" y="314"/>
                </a:lnTo>
                <a:lnTo>
                  <a:pt x="220" y="304"/>
                </a:lnTo>
                <a:lnTo>
                  <a:pt x="224" y="294"/>
                </a:lnTo>
                <a:lnTo>
                  <a:pt x="230" y="286"/>
                </a:lnTo>
                <a:lnTo>
                  <a:pt x="234" y="278"/>
                </a:lnTo>
                <a:lnTo>
                  <a:pt x="242" y="270"/>
                </a:lnTo>
                <a:lnTo>
                  <a:pt x="250" y="264"/>
                </a:lnTo>
                <a:lnTo>
                  <a:pt x="258" y="258"/>
                </a:lnTo>
                <a:lnTo>
                  <a:pt x="258" y="152"/>
                </a:lnTo>
                <a:lnTo>
                  <a:pt x="260" y="146"/>
                </a:lnTo>
                <a:lnTo>
                  <a:pt x="262" y="142"/>
                </a:lnTo>
                <a:lnTo>
                  <a:pt x="266" y="140"/>
                </a:lnTo>
                <a:lnTo>
                  <a:pt x="270" y="138"/>
                </a:lnTo>
                <a:lnTo>
                  <a:pt x="294" y="138"/>
                </a:lnTo>
                <a:lnTo>
                  <a:pt x="298" y="140"/>
                </a:lnTo>
                <a:lnTo>
                  <a:pt x="302" y="142"/>
                </a:lnTo>
                <a:lnTo>
                  <a:pt x="304" y="146"/>
                </a:lnTo>
                <a:lnTo>
                  <a:pt x="306" y="152"/>
                </a:lnTo>
                <a:lnTo>
                  <a:pt x="306" y="258"/>
                </a:lnTo>
                <a:lnTo>
                  <a:pt x="314" y="264"/>
                </a:lnTo>
                <a:lnTo>
                  <a:pt x="322" y="270"/>
                </a:lnTo>
                <a:lnTo>
                  <a:pt x="328" y="278"/>
                </a:lnTo>
                <a:lnTo>
                  <a:pt x="334" y="286"/>
                </a:lnTo>
                <a:lnTo>
                  <a:pt x="340" y="294"/>
                </a:lnTo>
                <a:lnTo>
                  <a:pt x="342" y="304"/>
                </a:lnTo>
                <a:lnTo>
                  <a:pt x="346" y="314"/>
                </a:lnTo>
                <a:lnTo>
                  <a:pt x="346" y="324"/>
                </a:lnTo>
                <a:lnTo>
                  <a:pt x="346" y="574"/>
                </a:lnTo>
                <a:close/>
                <a:moveTo>
                  <a:pt x="218" y="354"/>
                </a:moveTo>
                <a:lnTo>
                  <a:pt x="280" y="354"/>
                </a:lnTo>
                <a:lnTo>
                  <a:pt x="280" y="516"/>
                </a:lnTo>
                <a:lnTo>
                  <a:pt x="218" y="516"/>
                </a:lnTo>
                <a:lnTo>
                  <a:pt x="218" y="354"/>
                </a:lnTo>
                <a:close/>
                <a:moveTo>
                  <a:pt x="468" y="554"/>
                </a:moveTo>
                <a:lnTo>
                  <a:pt x="468" y="554"/>
                </a:lnTo>
                <a:lnTo>
                  <a:pt x="472" y="556"/>
                </a:lnTo>
                <a:lnTo>
                  <a:pt x="478" y="560"/>
                </a:lnTo>
                <a:lnTo>
                  <a:pt x="486" y="562"/>
                </a:lnTo>
                <a:lnTo>
                  <a:pt x="496" y="562"/>
                </a:lnTo>
                <a:lnTo>
                  <a:pt x="500" y="564"/>
                </a:lnTo>
                <a:lnTo>
                  <a:pt x="504" y="566"/>
                </a:lnTo>
                <a:lnTo>
                  <a:pt x="506" y="570"/>
                </a:lnTo>
                <a:lnTo>
                  <a:pt x="508" y="574"/>
                </a:lnTo>
                <a:lnTo>
                  <a:pt x="506" y="580"/>
                </a:lnTo>
                <a:lnTo>
                  <a:pt x="504" y="584"/>
                </a:lnTo>
                <a:lnTo>
                  <a:pt x="500" y="586"/>
                </a:lnTo>
                <a:lnTo>
                  <a:pt x="496" y="586"/>
                </a:lnTo>
                <a:lnTo>
                  <a:pt x="400" y="586"/>
                </a:lnTo>
                <a:lnTo>
                  <a:pt x="396" y="586"/>
                </a:lnTo>
                <a:lnTo>
                  <a:pt x="392" y="584"/>
                </a:lnTo>
                <a:lnTo>
                  <a:pt x="388" y="580"/>
                </a:lnTo>
                <a:lnTo>
                  <a:pt x="388" y="574"/>
                </a:lnTo>
                <a:lnTo>
                  <a:pt x="388" y="570"/>
                </a:lnTo>
                <a:lnTo>
                  <a:pt x="392" y="566"/>
                </a:lnTo>
                <a:lnTo>
                  <a:pt x="396" y="564"/>
                </a:lnTo>
                <a:lnTo>
                  <a:pt x="400" y="562"/>
                </a:lnTo>
                <a:lnTo>
                  <a:pt x="410" y="562"/>
                </a:lnTo>
                <a:lnTo>
                  <a:pt x="418" y="560"/>
                </a:lnTo>
                <a:lnTo>
                  <a:pt x="424" y="556"/>
                </a:lnTo>
                <a:lnTo>
                  <a:pt x="428" y="554"/>
                </a:lnTo>
                <a:lnTo>
                  <a:pt x="434" y="548"/>
                </a:lnTo>
                <a:lnTo>
                  <a:pt x="436" y="544"/>
                </a:lnTo>
                <a:lnTo>
                  <a:pt x="436" y="458"/>
                </a:lnTo>
                <a:lnTo>
                  <a:pt x="432" y="458"/>
                </a:lnTo>
                <a:lnTo>
                  <a:pt x="428" y="456"/>
                </a:lnTo>
                <a:lnTo>
                  <a:pt x="416" y="450"/>
                </a:lnTo>
                <a:lnTo>
                  <a:pt x="406" y="442"/>
                </a:lnTo>
                <a:lnTo>
                  <a:pt x="398" y="434"/>
                </a:lnTo>
                <a:lnTo>
                  <a:pt x="392" y="426"/>
                </a:lnTo>
                <a:lnTo>
                  <a:pt x="388" y="416"/>
                </a:lnTo>
                <a:lnTo>
                  <a:pt x="384" y="406"/>
                </a:lnTo>
                <a:lnTo>
                  <a:pt x="382" y="386"/>
                </a:lnTo>
                <a:lnTo>
                  <a:pt x="384" y="366"/>
                </a:lnTo>
                <a:lnTo>
                  <a:pt x="386" y="346"/>
                </a:lnTo>
                <a:lnTo>
                  <a:pt x="392" y="312"/>
                </a:lnTo>
                <a:lnTo>
                  <a:pt x="394" y="308"/>
                </a:lnTo>
                <a:lnTo>
                  <a:pt x="396" y="304"/>
                </a:lnTo>
                <a:lnTo>
                  <a:pt x="400" y="302"/>
                </a:lnTo>
                <a:lnTo>
                  <a:pt x="404" y="302"/>
                </a:lnTo>
                <a:lnTo>
                  <a:pt x="490" y="302"/>
                </a:lnTo>
                <a:lnTo>
                  <a:pt x="494" y="302"/>
                </a:lnTo>
                <a:lnTo>
                  <a:pt x="498" y="304"/>
                </a:lnTo>
                <a:lnTo>
                  <a:pt x="502" y="308"/>
                </a:lnTo>
                <a:lnTo>
                  <a:pt x="502" y="312"/>
                </a:lnTo>
                <a:lnTo>
                  <a:pt x="510" y="346"/>
                </a:lnTo>
                <a:lnTo>
                  <a:pt x="512" y="366"/>
                </a:lnTo>
                <a:lnTo>
                  <a:pt x="514" y="386"/>
                </a:lnTo>
                <a:lnTo>
                  <a:pt x="512" y="406"/>
                </a:lnTo>
                <a:lnTo>
                  <a:pt x="508" y="416"/>
                </a:lnTo>
                <a:lnTo>
                  <a:pt x="504" y="426"/>
                </a:lnTo>
                <a:lnTo>
                  <a:pt x="498" y="434"/>
                </a:lnTo>
                <a:lnTo>
                  <a:pt x="490" y="442"/>
                </a:lnTo>
                <a:lnTo>
                  <a:pt x="480" y="450"/>
                </a:lnTo>
                <a:lnTo>
                  <a:pt x="468" y="456"/>
                </a:lnTo>
                <a:lnTo>
                  <a:pt x="464" y="458"/>
                </a:lnTo>
                <a:lnTo>
                  <a:pt x="460" y="458"/>
                </a:lnTo>
                <a:lnTo>
                  <a:pt x="460" y="544"/>
                </a:lnTo>
                <a:lnTo>
                  <a:pt x="462" y="548"/>
                </a:lnTo>
                <a:lnTo>
                  <a:pt x="468" y="554"/>
                </a:lnTo>
                <a:close/>
                <a:moveTo>
                  <a:pt x="482" y="414"/>
                </a:moveTo>
                <a:lnTo>
                  <a:pt x="482" y="414"/>
                </a:lnTo>
                <a:lnTo>
                  <a:pt x="488" y="400"/>
                </a:lnTo>
                <a:lnTo>
                  <a:pt x="488" y="386"/>
                </a:lnTo>
                <a:lnTo>
                  <a:pt x="488" y="370"/>
                </a:lnTo>
                <a:lnTo>
                  <a:pt x="408" y="370"/>
                </a:lnTo>
                <a:lnTo>
                  <a:pt x="406" y="386"/>
                </a:lnTo>
                <a:lnTo>
                  <a:pt x="408" y="400"/>
                </a:lnTo>
                <a:lnTo>
                  <a:pt x="414" y="414"/>
                </a:lnTo>
                <a:lnTo>
                  <a:pt x="418" y="420"/>
                </a:lnTo>
                <a:lnTo>
                  <a:pt x="422" y="424"/>
                </a:lnTo>
                <a:lnTo>
                  <a:pt x="428" y="430"/>
                </a:lnTo>
                <a:lnTo>
                  <a:pt x="436" y="434"/>
                </a:lnTo>
                <a:lnTo>
                  <a:pt x="440" y="434"/>
                </a:lnTo>
                <a:lnTo>
                  <a:pt x="448" y="436"/>
                </a:lnTo>
                <a:lnTo>
                  <a:pt x="456" y="434"/>
                </a:lnTo>
                <a:lnTo>
                  <a:pt x="458" y="434"/>
                </a:lnTo>
                <a:lnTo>
                  <a:pt x="466" y="430"/>
                </a:lnTo>
                <a:lnTo>
                  <a:pt x="474" y="424"/>
                </a:lnTo>
                <a:lnTo>
                  <a:pt x="478" y="420"/>
                </a:lnTo>
                <a:lnTo>
                  <a:pt x="482" y="41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7" name="Freeform 210"/>
          <p:cNvSpPr>
            <a:spLocks noEditPoints="1"/>
          </p:cNvSpPr>
          <p:nvPr userDrawn="1"/>
        </p:nvSpPr>
        <p:spPr bwMode="auto">
          <a:xfrm>
            <a:off x="6186653"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82 w 726"/>
              <a:gd name="T27" fmla="*/ 222 h 726"/>
              <a:gd name="T28" fmla="*/ 370 w 726"/>
              <a:gd name="T29" fmla="*/ 370 h 726"/>
              <a:gd name="T30" fmla="*/ 358 w 726"/>
              <a:gd name="T31" fmla="*/ 458 h 726"/>
              <a:gd name="T32" fmla="*/ 366 w 726"/>
              <a:gd name="T33" fmla="*/ 540 h 726"/>
              <a:gd name="T34" fmla="*/ 360 w 726"/>
              <a:gd name="T35" fmla="*/ 550 h 726"/>
              <a:gd name="T36" fmla="*/ 330 w 726"/>
              <a:gd name="T37" fmla="*/ 556 h 726"/>
              <a:gd name="T38" fmla="*/ 218 w 726"/>
              <a:gd name="T39" fmla="*/ 556 h 726"/>
              <a:gd name="T40" fmla="*/ 178 w 726"/>
              <a:gd name="T41" fmla="*/ 550 h 726"/>
              <a:gd name="T42" fmla="*/ 172 w 726"/>
              <a:gd name="T43" fmla="*/ 540 h 726"/>
              <a:gd name="T44" fmla="*/ 180 w 726"/>
              <a:gd name="T45" fmla="*/ 458 h 726"/>
              <a:gd name="T46" fmla="*/ 160 w 726"/>
              <a:gd name="T47" fmla="*/ 330 h 726"/>
              <a:gd name="T48" fmla="*/ 158 w 726"/>
              <a:gd name="T49" fmla="*/ 176 h 726"/>
              <a:gd name="T50" fmla="*/ 368 w 726"/>
              <a:gd name="T51" fmla="*/ 168 h 726"/>
              <a:gd name="T52" fmla="*/ 380 w 726"/>
              <a:gd name="T53" fmla="*/ 176 h 726"/>
              <a:gd name="T54" fmla="*/ 524 w 726"/>
              <a:gd name="T55" fmla="*/ 526 h 726"/>
              <a:gd name="T56" fmla="*/ 560 w 726"/>
              <a:gd name="T57" fmla="*/ 534 h 726"/>
              <a:gd name="T58" fmla="*/ 568 w 726"/>
              <a:gd name="T59" fmla="*/ 546 h 726"/>
              <a:gd name="T60" fmla="*/ 556 w 726"/>
              <a:gd name="T61" fmla="*/ 558 h 726"/>
              <a:gd name="T62" fmla="*/ 426 w 726"/>
              <a:gd name="T63" fmla="*/ 554 h 726"/>
              <a:gd name="T64" fmla="*/ 426 w 726"/>
              <a:gd name="T65" fmla="*/ 536 h 726"/>
              <a:gd name="T66" fmla="*/ 446 w 726"/>
              <a:gd name="T67" fmla="*/ 532 h 726"/>
              <a:gd name="T68" fmla="*/ 478 w 726"/>
              <a:gd name="T69" fmla="*/ 516 h 726"/>
              <a:gd name="T70" fmla="*/ 476 w 726"/>
              <a:gd name="T71" fmla="*/ 394 h 726"/>
              <a:gd name="T72" fmla="*/ 444 w 726"/>
              <a:gd name="T73" fmla="*/ 376 h 726"/>
              <a:gd name="T74" fmla="*/ 418 w 726"/>
              <a:gd name="T75" fmla="*/ 330 h 726"/>
              <a:gd name="T76" fmla="*/ 420 w 726"/>
              <a:gd name="T77" fmla="*/ 256 h 726"/>
              <a:gd name="T78" fmla="*/ 436 w 726"/>
              <a:gd name="T79" fmla="*/ 204 h 726"/>
              <a:gd name="T80" fmla="*/ 556 w 726"/>
              <a:gd name="T81" fmla="*/ 206 h 726"/>
              <a:gd name="T82" fmla="*/ 572 w 726"/>
              <a:gd name="T83" fmla="*/ 282 h 726"/>
              <a:gd name="T84" fmla="*/ 568 w 726"/>
              <a:gd name="T85" fmla="*/ 342 h 726"/>
              <a:gd name="T86" fmla="*/ 534 w 726"/>
              <a:gd name="T87" fmla="*/ 384 h 726"/>
              <a:gd name="T88" fmla="*/ 506 w 726"/>
              <a:gd name="T89" fmla="*/ 396 h 726"/>
              <a:gd name="T90" fmla="*/ 510 w 726"/>
              <a:gd name="T91" fmla="*/ 512 h 726"/>
              <a:gd name="T92" fmla="*/ 546 w 726"/>
              <a:gd name="T93" fmla="*/ 334 h 726"/>
              <a:gd name="T94" fmla="*/ 546 w 726"/>
              <a:gd name="T95" fmla="*/ 270 h 726"/>
              <a:gd name="T96" fmla="*/ 440 w 726"/>
              <a:gd name="T97" fmla="*/ 306 h 726"/>
              <a:gd name="T98" fmla="*/ 454 w 726"/>
              <a:gd name="T99" fmla="*/ 350 h 726"/>
              <a:gd name="T100" fmla="*/ 484 w 726"/>
              <a:gd name="T101" fmla="*/ 370 h 726"/>
              <a:gd name="T102" fmla="*/ 510 w 726"/>
              <a:gd name="T103" fmla="*/ 370 h 726"/>
              <a:gd name="T104" fmla="*/ 182 w 726"/>
              <a:gd name="T105" fmla="*/ 280 h 726"/>
              <a:gd name="T106" fmla="*/ 192 w 726"/>
              <a:gd name="T107" fmla="*/ 364 h 726"/>
              <a:gd name="T108" fmla="*/ 204 w 726"/>
              <a:gd name="T109" fmla="*/ 490 h 726"/>
              <a:gd name="T110" fmla="*/ 270 w 726"/>
              <a:gd name="T111" fmla="*/ 534 h 726"/>
              <a:gd name="T112" fmla="*/ 340 w 726"/>
              <a:gd name="T113" fmla="*/ 530 h 726"/>
              <a:gd name="T114" fmla="*/ 338 w 726"/>
              <a:gd name="T115" fmla="*/ 406 h 726"/>
              <a:gd name="T116" fmla="*/ 356 w 726"/>
              <a:gd name="T117" fmla="*/ 280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82" y="222"/>
                </a:moveTo>
                <a:lnTo>
                  <a:pt x="382" y="280"/>
                </a:lnTo>
                <a:lnTo>
                  <a:pt x="380" y="306"/>
                </a:lnTo>
                <a:lnTo>
                  <a:pt x="378" y="330"/>
                </a:lnTo>
                <a:lnTo>
                  <a:pt x="370" y="370"/>
                </a:lnTo>
                <a:lnTo>
                  <a:pt x="362" y="410"/>
                </a:lnTo>
                <a:lnTo>
                  <a:pt x="360" y="432"/>
                </a:lnTo>
                <a:lnTo>
                  <a:pt x="358" y="458"/>
                </a:lnTo>
                <a:lnTo>
                  <a:pt x="360" y="494"/>
                </a:lnTo>
                <a:lnTo>
                  <a:pt x="366" y="538"/>
                </a:lnTo>
                <a:lnTo>
                  <a:pt x="366" y="540"/>
                </a:lnTo>
                <a:lnTo>
                  <a:pt x="366" y="544"/>
                </a:lnTo>
                <a:lnTo>
                  <a:pt x="364" y="546"/>
                </a:lnTo>
                <a:lnTo>
                  <a:pt x="360" y="550"/>
                </a:lnTo>
                <a:lnTo>
                  <a:pt x="356" y="552"/>
                </a:lnTo>
                <a:lnTo>
                  <a:pt x="348" y="554"/>
                </a:lnTo>
                <a:lnTo>
                  <a:pt x="330" y="556"/>
                </a:lnTo>
                <a:lnTo>
                  <a:pt x="270" y="558"/>
                </a:lnTo>
                <a:lnTo>
                  <a:pt x="218" y="556"/>
                </a:lnTo>
                <a:lnTo>
                  <a:pt x="186" y="554"/>
                </a:lnTo>
                <a:lnTo>
                  <a:pt x="180" y="552"/>
                </a:lnTo>
                <a:lnTo>
                  <a:pt x="178" y="550"/>
                </a:lnTo>
                <a:lnTo>
                  <a:pt x="174" y="546"/>
                </a:lnTo>
                <a:lnTo>
                  <a:pt x="174" y="544"/>
                </a:lnTo>
                <a:lnTo>
                  <a:pt x="172" y="540"/>
                </a:lnTo>
                <a:lnTo>
                  <a:pt x="172" y="538"/>
                </a:lnTo>
                <a:lnTo>
                  <a:pt x="178" y="494"/>
                </a:lnTo>
                <a:lnTo>
                  <a:pt x="180" y="458"/>
                </a:lnTo>
                <a:lnTo>
                  <a:pt x="180" y="432"/>
                </a:lnTo>
                <a:lnTo>
                  <a:pt x="176" y="410"/>
                </a:lnTo>
                <a:lnTo>
                  <a:pt x="168" y="370"/>
                </a:lnTo>
                <a:lnTo>
                  <a:pt x="160" y="330"/>
                </a:lnTo>
                <a:lnTo>
                  <a:pt x="158" y="306"/>
                </a:lnTo>
                <a:lnTo>
                  <a:pt x="156" y="280"/>
                </a:lnTo>
                <a:lnTo>
                  <a:pt x="156" y="180"/>
                </a:lnTo>
                <a:lnTo>
                  <a:pt x="158" y="176"/>
                </a:lnTo>
                <a:lnTo>
                  <a:pt x="160" y="172"/>
                </a:lnTo>
                <a:lnTo>
                  <a:pt x="164" y="168"/>
                </a:lnTo>
                <a:lnTo>
                  <a:pt x="170" y="168"/>
                </a:lnTo>
                <a:lnTo>
                  <a:pt x="368" y="168"/>
                </a:lnTo>
                <a:lnTo>
                  <a:pt x="374" y="168"/>
                </a:lnTo>
                <a:lnTo>
                  <a:pt x="378" y="172"/>
                </a:lnTo>
                <a:lnTo>
                  <a:pt x="380" y="176"/>
                </a:lnTo>
                <a:lnTo>
                  <a:pt x="382" y="180"/>
                </a:lnTo>
                <a:lnTo>
                  <a:pt x="382" y="222"/>
                </a:lnTo>
                <a:close/>
                <a:moveTo>
                  <a:pt x="518" y="522"/>
                </a:moveTo>
                <a:lnTo>
                  <a:pt x="518" y="522"/>
                </a:lnTo>
                <a:lnTo>
                  <a:pt x="524" y="526"/>
                </a:lnTo>
                <a:lnTo>
                  <a:pt x="532" y="530"/>
                </a:lnTo>
                <a:lnTo>
                  <a:pt x="542" y="532"/>
                </a:lnTo>
                <a:lnTo>
                  <a:pt x="556" y="534"/>
                </a:lnTo>
                <a:lnTo>
                  <a:pt x="560" y="534"/>
                </a:lnTo>
                <a:lnTo>
                  <a:pt x="564" y="536"/>
                </a:lnTo>
                <a:lnTo>
                  <a:pt x="566" y="540"/>
                </a:lnTo>
                <a:lnTo>
                  <a:pt x="568" y="546"/>
                </a:lnTo>
                <a:lnTo>
                  <a:pt x="566" y="550"/>
                </a:lnTo>
                <a:lnTo>
                  <a:pt x="564" y="554"/>
                </a:lnTo>
                <a:lnTo>
                  <a:pt x="560" y="556"/>
                </a:lnTo>
                <a:lnTo>
                  <a:pt x="556" y="558"/>
                </a:lnTo>
                <a:lnTo>
                  <a:pt x="434" y="558"/>
                </a:lnTo>
                <a:lnTo>
                  <a:pt x="430" y="556"/>
                </a:lnTo>
                <a:lnTo>
                  <a:pt x="426" y="554"/>
                </a:lnTo>
                <a:lnTo>
                  <a:pt x="422" y="550"/>
                </a:lnTo>
                <a:lnTo>
                  <a:pt x="422" y="546"/>
                </a:lnTo>
                <a:lnTo>
                  <a:pt x="422" y="540"/>
                </a:lnTo>
                <a:lnTo>
                  <a:pt x="426" y="536"/>
                </a:lnTo>
                <a:lnTo>
                  <a:pt x="430" y="534"/>
                </a:lnTo>
                <a:lnTo>
                  <a:pt x="434" y="534"/>
                </a:lnTo>
                <a:lnTo>
                  <a:pt x="446" y="532"/>
                </a:lnTo>
                <a:lnTo>
                  <a:pt x="456" y="530"/>
                </a:lnTo>
                <a:lnTo>
                  <a:pt x="466" y="526"/>
                </a:lnTo>
                <a:lnTo>
                  <a:pt x="472" y="522"/>
                </a:lnTo>
                <a:lnTo>
                  <a:pt x="478" y="516"/>
                </a:lnTo>
                <a:lnTo>
                  <a:pt x="480" y="512"/>
                </a:lnTo>
                <a:lnTo>
                  <a:pt x="482" y="506"/>
                </a:lnTo>
                <a:lnTo>
                  <a:pt x="482" y="396"/>
                </a:lnTo>
                <a:lnTo>
                  <a:pt x="476" y="394"/>
                </a:lnTo>
                <a:lnTo>
                  <a:pt x="470" y="392"/>
                </a:lnTo>
                <a:lnTo>
                  <a:pt x="456" y="384"/>
                </a:lnTo>
                <a:lnTo>
                  <a:pt x="444" y="376"/>
                </a:lnTo>
                <a:lnTo>
                  <a:pt x="434" y="366"/>
                </a:lnTo>
                <a:lnTo>
                  <a:pt x="426" y="354"/>
                </a:lnTo>
                <a:lnTo>
                  <a:pt x="420" y="342"/>
                </a:lnTo>
                <a:lnTo>
                  <a:pt x="418" y="330"/>
                </a:lnTo>
                <a:lnTo>
                  <a:pt x="416" y="318"/>
                </a:lnTo>
                <a:lnTo>
                  <a:pt x="414" y="306"/>
                </a:lnTo>
                <a:lnTo>
                  <a:pt x="416" y="282"/>
                </a:lnTo>
                <a:lnTo>
                  <a:pt x="420" y="256"/>
                </a:lnTo>
                <a:lnTo>
                  <a:pt x="428" y="212"/>
                </a:lnTo>
                <a:lnTo>
                  <a:pt x="430" y="208"/>
                </a:lnTo>
                <a:lnTo>
                  <a:pt x="432" y="206"/>
                </a:lnTo>
                <a:lnTo>
                  <a:pt x="436" y="204"/>
                </a:lnTo>
                <a:lnTo>
                  <a:pt x="440" y="204"/>
                </a:lnTo>
                <a:lnTo>
                  <a:pt x="550" y="204"/>
                </a:lnTo>
                <a:lnTo>
                  <a:pt x="554" y="204"/>
                </a:lnTo>
                <a:lnTo>
                  <a:pt x="556" y="206"/>
                </a:lnTo>
                <a:lnTo>
                  <a:pt x="560" y="208"/>
                </a:lnTo>
                <a:lnTo>
                  <a:pt x="562" y="212"/>
                </a:lnTo>
                <a:lnTo>
                  <a:pt x="570" y="256"/>
                </a:lnTo>
                <a:lnTo>
                  <a:pt x="572" y="282"/>
                </a:lnTo>
                <a:lnTo>
                  <a:pt x="574" y="306"/>
                </a:lnTo>
                <a:lnTo>
                  <a:pt x="574" y="318"/>
                </a:lnTo>
                <a:lnTo>
                  <a:pt x="572" y="330"/>
                </a:lnTo>
                <a:lnTo>
                  <a:pt x="568" y="342"/>
                </a:lnTo>
                <a:lnTo>
                  <a:pt x="562" y="354"/>
                </a:lnTo>
                <a:lnTo>
                  <a:pt x="556" y="366"/>
                </a:lnTo>
                <a:lnTo>
                  <a:pt x="546" y="376"/>
                </a:lnTo>
                <a:lnTo>
                  <a:pt x="534" y="384"/>
                </a:lnTo>
                <a:lnTo>
                  <a:pt x="520" y="392"/>
                </a:lnTo>
                <a:lnTo>
                  <a:pt x="514" y="394"/>
                </a:lnTo>
                <a:lnTo>
                  <a:pt x="506" y="396"/>
                </a:lnTo>
                <a:lnTo>
                  <a:pt x="506" y="506"/>
                </a:lnTo>
                <a:lnTo>
                  <a:pt x="510" y="512"/>
                </a:lnTo>
                <a:lnTo>
                  <a:pt x="512" y="516"/>
                </a:lnTo>
                <a:lnTo>
                  <a:pt x="518" y="522"/>
                </a:lnTo>
                <a:close/>
                <a:moveTo>
                  <a:pt x="542" y="342"/>
                </a:moveTo>
                <a:lnTo>
                  <a:pt x="542" y="342"/>
                </a:lnTo>
                <a:lnTo>
                  <a:pt x="546" y="334"/>
                </a:lnTo>
                <a:lnTo>
                  <a:pt x="548" y="324"/>
                </a:lnTo>
                <a:lnTo>
                  <a:pt x="550" y="306"/>
                </a:lnTo>
                <a:lnTo>
                  <a:pt x="548" y="290"/>
                </a:lnTo>
                <a:lnTo>
                  <a:pt x="546" y="270"/>
                </a:lnTo>
                <a:lnTo>
                  <a:pt x="442" y="270"/>
                </a:lnTo>
                <a:lnTo>
                  <a:pt x="440" y="290"/>
                </a:lnTo>
                <a:lnTo>
                  <a:pt x="440" y="306"/>
                </a:lnTo>
                <a:lnTo>
                  <a:pt x="442" y="324"/>
                </a:lnTo>
                <a:lnTo>
                  <a:pt x="444" y="334"/>
                </a:lnTo>
                <a:lnTo>
                  <a:pt x="448" y="342"/>
                </a:lnTo>
                <a:lnTo>
                  <a:pt x="454" y="350"/>
                </a:lnTo>
                <a:lnTo>
                  <a:pt x="460" y="358"/>
                </a:lnTo>
                <a:lnTo>
                  <a:pt x="468" y="364"/>
                </a:lnTo>
                <a:lnTo>
                  <a:pt x="480" y="370"/>
                </a:lnTo>
                <a:lnTo>
                  <a:pt x="484" y="370"/>
                </a:lnTo>
                <a:lnTo>
                  <a:pt x="494" y="372"/>
                </a:lnTo>
                <a:lnTo>
                  <a:pt x="506" y="370"/>
                </a:lnTo>
                <a:lnTo>
                  <a:pt x="510" y="370"/>
                </a:lnTo>
                <a:lnTo>
                  <a:pt x="520" y="364"/>
                </a:lnTo>
                <a:lnTo>
                  <a:pt x="530" y="358"/>
                </a:lnTo>
                <a:lnTo>
                  <a:pt x="536" y="350"/>
                </a:lnTo>
                <a:lnTo>
                  <a:pt x="542" y="342"/>
                </a:lnTo>
                <a:close/>
                <a:moveTo>
                  <a:pt x="182" y="280"/>
                </a:moveTo>
                <a:lnTo>
                  <a:pt x="182" y="280"/>
                </a:lnTo>
                <a:lnTo>
                  <a:pt x="182" y="304"/>
                </a:lnTo>
                <a:lnTo>
                  <a:pt x="184" y="326"/>
                </a:lnTo>
                <a:lnTo>
                  <a:pt x="192" y="364"/>
                </a:lnTo>
                <a:lnTo>
                  <a:pt x="200" y="406"/>
                </a:lnTo>
                <a:lnTo>
                  <a:pt x="204" y="430"/>
                </a:lnTo>
                <a:lnTo>
                  <a:pt x="204" y="458"/>
                </a:lnTo>
                <a:lnTo>
                  <a:pt x="204" y="490"/>
                </a:lnTo>
                <a:lnTo>
                  <a:pt x="198" y="530"/>
                </a:lnTo>
                <a:lnTo>
                  <a:pt x="210" y="532"/>
                </a:lnTo>
                <a:lnTo>
                  <a:pt x="270" y="534"/>
                </a:lnTo>
                <a:lnTo>
                  <a:pt x="320" y="532"/>
                </a:lnTo>
                <a:lnTo>
                  <a:pt x="340" y="530"/>
                </a:lnTo>
                <a:lnTo>
                  <a:pt x="334" y="490"/>
                </a:lnTo>
                <a:lnTo>
                  <a:pt x="334" y="458"/>
                </a:lnTo>
                <a:lnTo>
                  <a:pt x="334" y="430"/>
                </a:lnTo>
                <a:lnTo>
                  <a:pt x="338" y="406"/>
                </a:lnTo>
                <a:lnTo>
                  <a:pt x="346" y="364"/>
                </a:lnTo>
                <a:lnTo>
                  <a:pt x="354" y="326"/>
                </a:lnTo>
                <a:lnTo>
                  <a:pt x="356" y="304"/>
                </a:lnTo>
                <a:lnTo>
                  <a:pt x="356" y="280"/>
                </a:lnTo>
                <a:lnTo>
                  <a:pt x="356" y="246"/>
                </a:lnTo>
                <a:lnTo>
                  <a:pt x="182" y="246"/>
                </a:lnTo>
                <a:lnTo>
                  <a:pt x="182" y="2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8" name="Freeform 241"/>
          <p:cNvSpPr>
            <a:spLocks noEditPoints="1"/>
          </p:cNvSpPr>
          <p:nvPr userDrawn="1"/>
        </p:nvSpPr>
        <p:spPr bwMode="auto">
          <a:xfrm>
            <a:off x="7662625" y="1087484"/>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70 w 724"/>
              <a:gd name="T47" fmla="*/ 264 h 726"/>
              <a:gd name="T48" fmla="*/ 360 w 724"/>
              <a:gd name="T49" fmla="*/ 288 h 726"/>
              <a:gd name="T50" fmla="*/ 342 w 724"/>
              <a:gd name="T51" fmla="*/ 304 h 726"/>
              <a:gd name="T52" fmla="*/ 334 w 724"/>
              <a:gd name="T53" fmla="*/ 584 h 726"/>
              <a:gd name="T54" fmla="*/ 322 w 724"/>
              <a:gd name="T55" fmla="*/ 600 h 726"/>
              <a:gd name="T56" fmla="*/ 308 w 724"/>
              <a:gd name="T57" fmla="*/ 600 h 726"/>
              <a:gd name="T58" fmla="*/ 298 w 724"/>
              <a:gd name="T59" fmla="*/ 584 h 726"/>
              <a:gd name="T60" fmla="*/ 290 w 724"/>
              <a:gd name="T61" fmla="*/ 304 h 726"/>
              <a:gd name="T62" fmla="*/ 270 w 724"/>
              <a:gd name="T63" fmla="*/ 288 h 726"/>
              <a:gd name="T64" fmla="*/ 260 w 724"/>
              <a:gd name="T65" fmla="*/ 264 h 726"/>
              <a:gd name="T66" fmla="*/ 260 w 724"/>
              <a:gd name="T67" fmla="*/ 136 h 726"/>
              <a:gd name="T68" fmla="*/ 268 w 724"/>
              <a:gd name="T69" fmla="*/ 124 h 726"/>
              <a:gd name="T70" fmla="*/ 278 w 724"/>
              <a:gd name="T71" fmla="*/ 124 h 726"/>
              <a:gd name="T72" fmla="*/ 284 w 724"/>
              <a:gd name="T73" fmla="*/ 136 h 726"/>
              <a:gd name="T74" fmla="*/ 286 w 724"/>
              <a:gd name="T75" fmla="*/ 264 h 726"/>
              <a:gd name="T76" fmla="*/ 304 w 724"/>
              <a:gd name="T77" fmla="*/ 284 h 726"/>
              <a:gd name="T78" fmla="*/ 304 w 724"/>
              <a:gd name="T79" fmla="*/ 132 h 726"/>
              <a:gd name="T80" fmla="*/ 316 w 724"/>
              <a:gd name="T81" fmla="*/ 124 h 726"/>
              <a:gd name="T82" fmla="*/ 324 w 724"/>
              <a:gd name="T83" fmla="*/ 128 h 726"/>
              <a:gd name="T84" fmla="*/ 328 w 724"/>
              <a:gd name="T85" fmla="*/ 284 h 726"/>
              <a:gd name="T86" fmla="*/ 342 w 724"/>
              <a:gd name="T87" fmla="*/ 272 h 726"/>
              <a:gd name="T88" fmla="*/ 346 w 724"/>
              <a:gd name="T89" fmla="*/ 136 h 726"/>
              <a:gd name="T90" fmla="*/ 350 w 724"/>
              <a:gd name="T91" fmla="*/ 128 h 726"/>
              <a:gd name="T92" fmla="*/ 358 w 724"/>
              <a:gd name="T93" fmla="*/ 124 h 726"/>
              <a:gd name="T94" fmla="*/ 370 w 724"/>
              <a:gd name="T95" fmla="*/ 132 h 726"/>
              <a:gd name="T96" fmla="*/ 464 w 724"/>
              <a:gd name="T97" fmla="*/ 584 h 726"/>
              <a:gd name="T98" fmla="*/ 458 w 724"/>
              <a:gd name="T99" fmla="*/ 596 h 726"/>
              <a:gd name="T100" fmla="*/ 446 w 724"/>
              <a:gd name="T101" fmla="*/ 602 h 726"/>
              <a:gd name="T102" fmla="*/ 430 w 724"/>
              <a:gd name="T103" fmla="*/ 590 h 726"/>
              <a:gd name="T104" fmla="*/ 428 w 724"/>
              <a:gd name="T105" fmla="*/ 344 h 726"/>
              <a:gd name="T106" fmla="*/ 412 w 724"/>
              <a:gd name="T107" fmla="*/ 316 h 726"/>
              <a:gd name="T108" fmla="*/ 406 w 724"/>
              <a:gd name="T109" fmla="*/ 254 h 726"/>
              <a:gd name="T110" fmla="*/ 412 w 724"/>
              <a:gd name="T111" fmla="*/ 186 h 726"/>
              <a:gd name="T112" fmla="*/ 420 w 724"/>
              <a:gd name="T113" fmla="*/ 156 h 726"/>
              <a:gd name="T114" fmla="*/ 442 w 724"/>
              <a:gd name="T115" fmla="*/ 128 h 726"/>
              <a:gd name="T116" fmla="*/ 446 w 724"/>
              <a:gd name="T117" fmla="*/ 126 h 726"/>
              <a:gd name="T118" fmla="*/ 452 w 724"/>
              <a:gd name="T119" fmla="*/ 124 h 726"/>
              <a:gd name="T120" fmla="*/ 460 w 724"/>
              <a:gd name="T121" fmla="*/ 128 h 726"/>
              <a:gd name="T122" fmla="*/ 464 w 724"/>
              <a:gd name="T123" fmla="*/ 58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72" y="254"/>
                </a:moveTo>
                <a:lnTo>
                  <a:pt x="372" y="254"/>
                </a:lnTo>
                <a:lnTo>
                  <a:pt x="370" y="264"/>
                </a:lnTo>
                <a:lnTo>
                  <a:pt x="368" y="272"/>
                </a:lnTo>
                <a:lnTo>
                  <a:pt x="366" y="280"/>
                </a:lnTo>
                <a:lnTo>
                  <a:pt x="360" y="288"/>
                </a:lnTo>
                <a:lnTo>
                  <a:pt x="356" y="294"/>
                </a:lnTo>
                <a:lnTo>
                  <a:pt x="348" y="300"/>
                </a:lnTo>
                <a:lnTo>
                  <a:pt x="342" y="304"/>
                </a:lnTo>
                <a:lnTo>
                  <a:pt x="334" y="308"/>
                </a:lnTo>
                <a:lnTo>
                  <a:pt x="334" y="584"/>
                </a:lnTo>
                <a:lnTo>
                  <a:pt x="332" y="590"/>
                </a:lnTo>
                <a:lnTo>
                  <a:pt x="328" y="596"/>
                </a:lnTo>
                <a:lnTo>
                  <a:pt x="322" y="600"/>
                </a:lnTo>
                <a:lnTo>
                  <a:pt x="316" y="602"/>
                </a:lnTo>
                <a:lnTo>
                  <a:pt x="308" y="600"/>
                </a:lnTo>
                <a:lnTo>
                  <a:pt x="302" y="596"/>
                </a:lnTo>
                <a:lnTo>
                  <a:pt x="298" y="590"/>
                </a:lnTo>
                <a:lnTo>
                  <a:pt x="298" y="584"/>
                </a:lnTo>
                <a:lnTo>
                  <a:pt x="298" y="308"/>
                </a:lnTo>
                <a:lnTo>
                  <a:pt x="290" y="304"/>
                </a:lnTo>
                <a:lnTo>
                  <a:pt x="282" y="300"/>
                </a:lnTo>
                <a:lnTo>
                  <a:pt x="276" y="294"/>
                </a:lnTo>
                <a:lnTo>
                  <a:pt x="270" y="288"/>
                </a:lnTo>
                <a:lnTo>
                  <a:pt x="266" y="280"/>
                </a:lnTo>
                <a:lnTo>
                  <a:pt x="262" y="272"/>
                </a:lnTo>
                <a:lnTo>
                  <a:pt x="260" y="264"/>
                </a:lnTo>
                <a:lnTo>
                  <a:pt x="260" y="254"/>
                </a:lnTo>
                <a:lnTo>
                  <a:pt x="260" y="136"/>
                </a:lnTo>
                <a:lnTo>
                  <a:pt x="260" y="132"/>
                </a:lnTo>
                <a:lnTo>
                  <a:pt x="264" y="128"/>
                </a:lnTo>
                <a:lnTo>
                  <a:pt x="268" y="124"/>
                </a:lnTo>
                <a:lnTo>
                  <a:pt x="272" y="124"/>
                </a:lnTo>
                <a:lnTo>
                  <a:pt x="278" y="124"/>
                </a:lnTo>
                <a:lnTo>
                  <a:pt x="280" y="128"/>
                </a:lnTo>
                <a:lnTo>
                  <a:pt x="284" y="132"/>
                </a:lnTo>
                <a:lnTo>
                  <a:pt x="284" y="136"/>
                </a:lnTo>
                <a:lnTo>
                  <a:pt x="284" y="254"/>
                </a:lnTo>
                <a:lnTo>
                  <a:pt x="286" y="264"/>
                </a:lnTo>
                <a:lnTo>
                  <a:pt x="290" y="272"/>
                </a:lnTo>
                <a:lnTo>
                  <a:pt x="296" y="278"/>
                </a:lnTo>
                <a:lnTo>
                  <a:pt x="304" y="284"/>
                </a:lnTo>
                <a:lnTo>
                  <a:pt x="304" y="136"/>
                </a:lnTo>
                <a:lnTo>
                  <a:pt x="304" y="132"/>
                </a:lnTo>
                <a:lnTo>
                  <a:pt x="306" y="128"/>
                </a:lnTo>
                <a:lnTo>
                  <a:pt x="310" y="124"/>
                </a:lnTo>
                <a:lnTo>
                  <a:pt x="316" y="124"/>
                </a:lnTo>
                <a:lnTo>
                  <a:pt x="320" y="124"/>
                </a:lnTo>
                <a:lnTo>
                  <a:pt x="324" y="128"/>
                </a:lnTo>
                <a:lnTo>
                  <a:pt x="326" y="132"/>
                </a:lnTo>
                <a:lnTo>
                  <a:pt x="328" y="136"/>
                </a:lnTo>
                <a:lnTo>
                  <a:pt x="328" y="284"/>
                </a:lnTo>
                <a:lnTo>
                  <a:pt x="336" y="278"/>
                </a:lnTo>
                <a:lnTo>
                  <a:pt x="342" y="272"/>
                </a:lnTo>
                <a:lnTo>
                  <a:pt x="346" y="264"/>
                </a:lnTo>
                <a:lnTo>
                  <a:pt x="346" y="254"/>
                </a:lnTo>
                <a:lnTo>
                  <a:pt x="346" y="136"/>
                </a:lnTo>
                <a:lnTo>
                  <a:pt x="348" y="132"/>
                </a:lnTo>
                <a:lnTo>
                  <a:pt x="350" y="128"/>
                </a:lnTo>
                <a:lnTo>
                  <a:pt x="354" y="124"/>
                </a:lnTo>
                <a:lnTo>
                  <a:pt x="358" y="124"/>
                </a:lnTo>
                <a:lnTo>
                  <a:pt x="364" y="124"/>
                </a:lnTo>
                <a:lnTo>
                  <a:pt x="368" y="128"/>
                </a:lnTo>
                <a:lnTo>
                  <a:pt x="370" y="132"/>
                </a:lnTo>
                <a:lnTo>
                  <a:pt x="372" y="136"/>
                </a:lnTo>
                <a:lnTo>
                  <a:pt x="372" y="254"/>
                </a:lnTo>
                <a:close/>
                <a:moveTo>
                  <a:pt x="464" y="584"/>
                </a:moveTo>
                <a:lnTo>
                  <a:pt x="464" y="584"/>
                </a:lnTo>
                <a:lnTo>
                  <a:pt x="462" y="590"/>
                </a:lnTo>
                <a:lnTo>
                  <a:pt x="458" y="596"/>
                </a:lnTo>
                <a:lnTo>
                  <a:pt x="454" y="600"/>
                </a:lnTo>
                <a:lnTo>
                  <a:pt x="446" y="602"/>
                </a:lnTo>
                <a:lnTo>
                  <a:pt x="438" y="600"/>
                </a:lnTo>
                <a:lnTo>
                  <a:pt x="434" y="596"/>
                </a:lnTo>
                <a:lnTo>
                  <a:pt x="430" y="590"/>
                </a:lnTo>
                <a:lnTo>
                  <a:pt x="428" y="584"/>
                </a:lnTo>
                <a:lnTo>
                  <a:pt x="428" y="344"/>
                </a:lnTo>
                <a:lnTo>
                  <a:pt x="416" y="332"/>
                </a:lnTo>
                <a:lnTo>
                  <a:pt x="412" y="316"/>
                </a:lnTo>
                <a:lnTo>
                  <a:pt x="408" y="296"/>
                </a:lnTo>
                <a:lnTo>
                  <a:pt x="406" y="274"/>
                </a:lnTo>
                <a:lnTo>
                  <a:pt x="406" y="254"/>
                </a:lnTo>
                <a:lnTo>
                  <a:pt x="408" y="210"/>
                </a:lnTo>
                <a:lnTo>
                  <a:pt x="412" y="186"/>
                </a:lnTo>
                <a:lnTo>
                  <a:pt x="416" y="168"/>
                </a:lnTo>
                <a:lnTo>
                  <a:pt x="420" y="156"/>
                </a:lnTo>
                <a:lnTo>
                  <a:pt x="426" y="146"/>
                </a:lnTo>
                <a:lnTo>
                  <a:pt x="434" y="136"/>
                </a:lnTo>
                <a:lnTo>
                  <a:pt x="442" y="128"/>
                </a:lnTo>
                <a:lnTo>
                  <a:pt x="446" y="126"/>
                </a:lnTo>
                <a:lnTo>
                  <a:pt x="452" y="124"/>
                </a:lnTo>
                <a:lnTo>
                  <a:pt x="456" y="124"/>
                </a:lnTo>
                <a:lnTo>
                  <a:pt x="460" y="128"/>
                </a:lnTo>
                <a:lnTo>
                  <a:pt x="464" y="132"/>
                </a:lnTo>
                <a:lnTo>
                  <a:pt x="464" y="136"/>
                </a:lnTo>
                <a:lnTo>
                  <a:pt x="464"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9" name="Freeform 245"/>
          <p:cNvSpPr>
            <a:spLocks noEditPoints="1"/>
          </p:cNvSpPr>
          <p:nvPr userDrawn="1"/>
        </p:nvSpPr>
        <p:spPr bwMode="auto">
          <a:xfrm>
            <a:off x="3234709" y="1087484"/>
            <a:ext cx="1080000" cy="1080000"/>
          </a:xfrm>
          <a:custGeom>
            <a:avLst/>
            <a:gdLst>
              <a:gd name="T0" fmla="*/ 508 w 726"/>
              <a:gd name="T1" fmla="*/ 318 h 726"/>
              <a:gd name="T2" fmla="*/ 508 w 726"/>
              <a:gd name="T3" fmla="*/ 320 h 726"/>
              <a:gd name="T4" fmla="*/ 518 w 726"/>
              <a:gd name="T5" fmla="*/ 340 h 726"/>
              <a:gd name="T6" fmla="*/ 538 w 726"/>
              <a:gd name="T7" fmla="*/ 350 h 726"/>
              <a:gd name="T8" fmla="*/ 550 w 726"/>
              <a:gd name="T9" fmla="*/ 348 h 726"/>
              <a:gd name="T10" fmla="*/ 568 w 726"/>
              <a:gd name="T11" fmla="*/ 326 h 726"/>
              <a:gd name="T12" fmla="*/ 568 w 726"/>
              <a:gd name="T13" fmla="*/ 314 h 726"/>
              <a:gd name="T14" fmla="*/ 550 w 726"/>
              <a:gd name="T15" fmla="*/ 292 h 726"/>
              <a:gd name="T16" fmla="*/ 364 w 726"/>
              <a:gd name="T17" fmla="*/ 0 h 726"/>
              <a:gd name="T18" fmla="*/ 290 w 726"/>
              <a:gd name="T19" fmla="*/ 8 h 726"/>
              <a:gd name="T20" fmla="*/ 190 w 726"/>
              <a:gd name="T21" fmla="*/ 44 h 726"/>
              <a:gd name="T22" fmla="*/ 106 w 726"/>
              <a:gd name="T23" fmla="*/ 106 h 726"/>
              <a:gd name="T24" fmla="*/ 44 w 726"/>
              <a:gd name="T25" fmla="*/ 190 h 726"/>
              <a:gd name="T26" fmla="*/ 8 w 726"/>
              <a:gd name="T27" fmla="*/ 290 h 726"/>
              <a:gd name="T28" fmla="*/ 0 w 726"/>
              <a:gd name="T29" fmla="*/ 362 h 726"/>
              <a:gd name="T30" fmla="*/ 16 w 726"/>
              <a:gd name="T31" fmla="*/ 470 h 726"/>
              <a:gd name="T32" fmla="*/ 62 w 726"/>
              <a:gd name="T33" fmla="*/ 566 h 726"/>
              <a:gd name="T34" fmla="*/ 132 w 726"/>
              <a:gd name="T35" fmla="*/ 642 h 726"/>
              <a:gd name="T36" fmla="*/ 222 w 726"/>
              <a:gd name="T37" fmla="*/ 698 h 726"/>
              <a:gd name="T38" fmla="*/ 326 w 726"/>
              <a:gd name="T39" fmla="*/ 724 h 726"/>
              <a:gd name="T40" fmla="*/ 400 w 726"/>
              <a:gd name="T41" fmla="*/ 724 h 726"/>
              <a:gd name="T42" fmla="*/ 504 w 726"/>
              <a:gd name="T43" fmla="*/ 698 h 726"/>
              <a:gd name="T44" fmla="*/ 594 w 726"/>
              <a:gd name="T45" fmla="*/ 642 h 726"/>
              <a:gd name="T46" fmla="*/ 664 w 726"/>
              <a:gd name="T47" fmla="*/ 566 h 726"/>
              <a:gd name="T48" fmla="*/ 710 w 726"/>
              <a:gd name="T49" fmla="*/ 470 h 726"/>
              <a:gd name="T50" fmla="*/ 726 w 726"/>
              <a:gd name="T51" fmla="*/ 362 h 726"/>
              <a:gd name="T52" fmla="*/ 718 w 726"/>
              <a:gd name="T53" fmla="*/ 290 h 726"/>
              <a:gd name="T54" fmla="*/ 682 w 726"/>
              <a:gd name="T55" fmla="*/ 190 h 726"/>
              <a:gd name="T56" fmla="*/ 620 w 726"/>
              <a:gd name="T57" fmla="*/ 106 h 726"/>
              <a:gd name="T58" fmla="*/ 536 w 726"/>
              <a:gd name="T59" fmla="*/ 44 h 726"/>
              <a:gd name="T60" fmla="*/ 436 w 726"/>
              <a:gd name="T61" fmla="*/ 8 h 726"/>
              <a:gd name="T62" fmla="*/ 538 w 726"/>
              <a:gd name="T63" fmla="*/ 374 h 726"/>
              <a:gd name="T64" fmla="*/ 520 w 726"/>
              <a:gd name="T65" fmla="*/ 370 h 726"/>
              <a:gd name="T66" fmla="*/ 504 w 726"/>
              <a:gd name="T67" fmla="*/ 362 h 726"/>
              <a:gd name="T68" fmla="*/ 486 w 726"/>
              <a:gd name="T69" fmla="*/ 402 h 726"/>
              <a:gd name="T70" fmla="*/ 458 w 726"/>
              <a:gd name="T71" fmla="*/ 438 h 726"/>
              <a:gd name="T72" fmla="*/ 520 w 726"/>
              <a:gd name="T73" fmla="*/ 456 h 726"/>
              <a:gd name="T74" fmla="*/ 528 w 726"/>
              <a:gd name="T75" fmla="*/ 460 h 726"/>
              <a:gd name="T76" fmla="*/ 532 w 726"/>
              <a:gd name="T77" fmla="*/ 468 h 726"/>
              <a:gd name="T78" fmla="*/ 524 w 726"/>
              <a:gd name="T79" fmla="*/ 480 h 726"/>
              <a:gd name="T80" fmla="*/ 180 w 726"/>
              <a:gd name="T81" fmla="*/ 480 h 726"/>
              <a:gd name="T82" fmla="*/ 170 w 726"/>
              <a:gd name="T83" fmla="*/ 472 h 726"/>
              <a:gd name="T84" fmla="*/ 170 w 726"/>
              <a:gd name="T85" fmla="*/ 464 h 726"/>
              <a:gd name="T86" fmla="*/ 180 w 726"/>
              <a:gd name="T87" fmla="*/ 456 h 726"/>
              <a:gd name="T88" fmla="*/ 250 w 726"/>
              <a:gd name="T89" fmla="*/ 444 h 726"/>
              <a:gd name="T90" fmla="*/ 212 w 726"/>
              <a:gd name="T91" fmla="*/ 400 h 726"/>
              <a:gd name="T92" fmla="*/ 192 w 726"/>
              <a:gd name="T93" fmla="*/ 342 h 726"/>
              <a:gd name="T94" fmla="*/ 192 w 726"/>
              <a:gd name="T95" fmla="*/ 278 h 726"/>
              <a:gd name="T96" fmla="*/ 194 w 726"/>
              <a:gd name="T97" fmla="*/ 268 h 726"/>
              <a:gd name="T98" fmla="*/ 496 w 726"/>
              <a:gd name="T99" fmla="*/ 266 h 726"/>
              <a:gd name="T100" fmla="*/ 538 w 726"/>
              <a:gd name="T101" fmla="*/ 266 h 726"/>
              <a:gd name="T102" fmla="*/ 560 w 726"/>
              <a:gd name="T103" fmla="*/ 270 h 726"/>
              <a:gd name="T104" fmla="*/ 584 w 726"/>
              <a:gd name="T105" fmla="*/ 290 h 726"/>
              <a:gd name="T106" fmla="*/ 592 w 726"/>
              <a:gd name="T107" fmla="*/ 320 h 726"/>
              <a:gd name="T108" fmla="*/ 588 w 726"/>
              <a:gd name="T109" fmla="*/ 340 h 726"/>
              <a:gd name="T110" fmla="*/ 568 w 726"/>
              <a:gd name="T111" fmla="*/ 364 h 726"/>
              <a:gd name="T112" fmla="*/ 538 w 726"/>
              <a:gd name="T113" fmla="*/ 3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538" y="290"/>
                </a:moveTo>
                <a:lnTo>
                  <a:pt x="508" y="290"/>
                </a:lnTo>
                <a:lnTo>
                  <a:pt x="508" y="318"/>
                </a:lnTo>
                <a:lnTo>
                  <a:pt x="508" y="320"/>
                </a:lnTo>
                <a:lnTo>
                  <a:pt x="510" y="326"/>
                </a:lnTo>
                <a:lnTo>
                  <a:pt x="510" y="332"/>
                </a:lnTo>
                <a:lnTo>
                  <a:pt x="518" y="340"/>
                </a:lnTo>
                <a:lnTo>
                  <a:pt x="526" y="348"/>
                </a:lnTo>
                <a:lnTo>
                  <a:pt x="532" y="348"/>
                </a:lnTo>
                <a:lnTo>
                  <a:pt x="538" y="350"/>
                </a:lnTo>
                <a:lnTo>
                  <a:pt x="544" y="348"/>
                </a:lnTo>
                <a:lnTo>
                  <a:pt x="550" y="348"/>
                </a:lnTo>
                <a:lnTo>
                  <a:pt x="560" y="340"/>
                </a:lnTo>
                <a:lnTo>
                  <a:pt x="566" y="332"/>
                </a:lnTo>
                <a:lnTo>
                  <a:pt x="568" y="326"/>
                </a:lnTo>
                <a:lnTo>
                  <a:pt x="568" y="320"/>
                </a:lnTo>
                <a:lnTo>
                  <a:pt x="568" y="314"/>
                </a:lnTo>
                <a:lnTo>
                  <a:pt x="566" y="308"/>
                </a:lnTo>
                <a:lnTo>
                  <a:pt x="560" y="298"/>
                </a:lnTo>
                <a:lnTo>
                  <a:pt x="550" y="292"/>
                </a:lnTo>
                <a:lnTo>
                  <a:pt x="544" y="290"/>
                </a:lnTo>
                <a:lnTo>
                  <a:pt x="538" y="29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38" y="374"/>
                </a:moveTo>
                <a:lnTo>
                  <a:pt x="538" y="374"/>
                </a:lnTo>
                <a:lnTo>
                  <a:pt x="528" y="374"/>
                </a:lnTo>
                <a:lnTo>
                  <a:pt x="520" y="370"/>
                </a:lnTo>
                <a:lnTo>
                  <a:pt x="510" y="366"/>
                </a:lnTo>
                <a:lnTo>
                  <a:pt x="504" y="362"/>
                </a:lnTo>
                <a:lnTo>
                  <a:pt x="498" y="376"/>
                </a:lnTo>
                <a:lnTo>
                  <a:pt x="492" y="390"/>
                </a:lnTo>
                <a:lnTo>
                  <a:pt x="486" y="402"/>
                </a:lnTo>
                <a:lnTo>
                  <a:pt x="478" y="416"/>
                </a:lnTo>
                <a:lnTo>
                  <a:pt x="468" y="426"/>
                </a:lnTo>
                <a:lnTo>
                  <a:pt x="458" y="438"/>
                </a:lnTo>
                <a:lnTo>
                  <a:pt x="446" y="448"/>
                </a:lnTo>
                <a:lnTo>
                  <a:pt x="434" y="456"/>
                </a:lnTo>
                <a:lnTo>
                  <a:pt x="520" y="456"/>
                </a:lnTo>
                <a:lnTo>
                  <a:pt x="524" y="456"/>
                </a:lnTo>
                <a:lnTo>
                  <a:pt x="528" y="460"/>
                </a:lnTo>
                <a:lnTo>
                  <a:pt x="530" y="464"/>
                </a:lnTo>
                <a:lnTo>
                  <a:pt x="532" y="468"/>
                </a:lnTo>
                <a:lnTo>
                  <a:pt x="530" y="472"/>
                </a:lnTo>
                <a:lnTo>
                  <a:pt x="528" y="476"/>
                </a:lnTo>
                <a:lnTo>
                  <a:pt x="524" y="480"/>
                </a:lnTo>
                <a:lnTo>
                  <a:pt x="520" y="480"/>
                </a:lnTo>
                <a:lnTo>
                  <a:pt x="180" y="480"/>
                </a:lnTo>
                <a:lnTo>
                  <a:pt x="176" y="480"/>
                </a:lnTo>
                <a:lnTo>
                  <a:pt x="172" y="476"/>
                </a:lnTo>
                <a:lnTo>
                  <a:pt x="170" y="472"/>
                </a:lnTo>
                <a:lnTo>
                  <a:pt x="168" y="468"/>
                </a:lnTo>
                <a:lnTo>
                  <a:pt x="170" y="464"/>
                </a:lnTo>
                <a:lnTo>
                  <a:pt x="172" y="460"/>
                </a:lnTo>
                <a:lnTo>
                  <a:pt x="176" y="456"/>
                </a:lnTo>
                <a:lnTo>
                  <a:pt x="180" y="456"/>
                </a:lnTo>
                <a:lnTo>
                  <a:pt x="266" y="456"/>
                </a:lnTo>
                <a:lnTo>
                  <a:pt x="250" y="444"/>
                </a:lnTo>
                <a:lnTo>
                  <a:pt x="234" y="430"/>
                </a:lnTo>
                <a:lnTo>
                  <a:pt x="222" y="416"/>
                </a:lnTo>
                <a:lnTo>
                  <a:pt x="212" y="400"/>
                </a:lnTo>
                <a:lnTo>
                  <a:pt x="202" y="382"/>
                </a:lnTo>
                <a:lnTo>
                  <a:pt x="196" y="362"/>
                </a:lnTo>
                <a:lnTo>
                  <a:pt x="192" y="342"/>
                </a:lnTo>
                <a:lnTo>
                  <a:pt x="192" y="322"/>
                </a:lnTo>
                <a:lnTo>
                  <a:pt x="192" y="278"/>
                </a:lnTo>
                <a:lnTo>
                  <a:pt x="192" y="272"/>
                </a:lnTo>
                <a:lnTo>
                  <a:pt x="194" y="268"/>
                </a:lnTo>
                <a:lnTo>
                  <a:pt x="198" y="266"/>
                </a:lnTo>
                <a:lnTo>
                  <a:pt x="204" y="266"/>
                </a:lnTo>
                <a:lnTo>
                  <a:pt x="496" y="266"/>
                </a:lnTo>
                <a:lnTo>
                  <a:pt x="538" y="266"/>
                </a:lnTo>
                <a:lnTo>
                  <a:pt x="550" y="266"/>
                </a:lnTo>
                <a:lnTo>
                  <a:pt x="560" y="270"/>
                </a:lnTo>
                <a:lnTo>
                  <a:pt x="568" y="274"/>
                </a:lnTo>
                <a:lnTo>
                  <a:pt x="576" y="282"/>
                </a:lnTo>
                <a:lnTo>
                  <a:pt x="584" y="290"/>
                </a:lnTo>
                <a:lnTo>
                  <a:pt x="588" y="298"/>
                </a:lnTo>
                <a:lnTo>
                  <a:pt x="592" y="308"/>
                </a:lnTo>
                <a:lnTo>
                  <a:pt x="592" y="320"/>
                </a:lnTo>
                <a:lnTo>
                  <a:pt x="592" y="330"/>
                </a:lnTo>
                <a:lnTo>
                  <a:pt x="588" y="340"/>
                </a:lnTo>
                <a:lnTo>
                  <a:pt x="584" y="350"/>
                </a:lnTo>
                <a:lnTo>
                  <a:pt x="576" y="358"/>
                </a:lnTo>
                <a:lnTo>
                  <a:pt x="568" y="364"/>
                </a:lnTo>
                <a:lnTo>
                  <a:pt x="560" y="370"/>
                </a:lnTo>
                <a:lnTo>
                  <a:pt x="550" y="374"/>
                </a:lnTo>
                <a:lnTo>
                  <a:pt x="538"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0" name="Freeform 307"/>
          <p:cNvSpPr>
            <a:spLocks noEditPoints="1"/>
          </p:cNvSpPr>
          <p:nvPr userDrawn="1"/>
        </p:nvSpPr>
        <p:spPr bwMode="auto">
          <a:xfrm>
            <a:off x="10614569"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232 w 726"/>
              <a:gd name="T69" fmla="*/ 250 h 726"/>
              <a:gd name="T70" fmla="*/ 272 w 726"/>
              <a:gd name="T71" fmla="*/ 174 h 726"/>
              <a:gd name="T72" fmla="*/ 272 w 726"/>
              <a:gd name="T73" fmla="*/ 210 h 726"/>
              <a:gd name="T74" fmla="*/ 530 w 726"/>
              <a:gd name="T75" fmla="*/ 320 h 726"/>
              <a:gd name="T76" fmla="*/ 502 w 726"/>
              <a:gd name="T77" fmla="*/ 558 h 726"/>
              <a:gd name="T78" fmla="*/ 232 w 726"/>
              <a:gd name="T79" fmla="*/ 320 h 726"/>
              <a:gd name="T80" fmla="*/ 366 w 726"/>
              <a:gd name="T81" fmla="*/ 156 h 726"/>
              <a:gd name="T82" fmla="*/ 530 w 726"/>
              <a:gd name="T83" fmla="*/ 320 h 7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32" y="250"/>
                </a:moveTo>
                <a:lnTo>
                  <a:pt x="232" y="174"/>
                </a:lnTo>
                <a:lnTo>
                  <a:pt x="272" y="174"/>
                </a:lnTo>
                <a:lnTo>
                  <a:pt x="272" y="210"/>
                </a:lnTo>
                <a:lnTo>
                  <a:pt x="232" y="250"/>
                </a:lnTo>
                <a:close/>
                <a:moveTo>
                  <a:pt x="530" y="320"/>
                </a:moveTo>
                <a:lnTo>
                  <a:pt x="502" y="320"/>
                </a:lnTo>
                <a:lnTo>
                  <a:pt x="502" y="558"/>
                </a:lnTo>
                <a:lnTo>
                  <a:pt x="232" y="558"/>
                </a:lnTo>
                <a:lnTo>
                  <a:pt x="232" y="320"/>
                </a:lnTo>
                <a:lnTo>
                  <a:pt x="204" y="320"/>
                </a:lnTo>
                <a:lnTo>
                  <a:pt x="366" y="156"/>
                </a:lnTo>
                <a:lnTo>
                  <a:pt x="530" y="32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1" name="Freeform 143"/>
          <p:cNvSpPr>
            <a:spLocks noEditPoints="1"/>
          </p:cNvSpPr>
          <p:nvPr userDrawn="1"/>
        </p:nvSpPr>
        <p:spPr bwMode="auto">
          <a:xfrm>
            <a:off x="282765" y="1087484"/>
            <a:ext cx="1080000" cy="1080000"/>
          </a:xfrm>
          <a:custGeom>
            <a:avLst/>
            <a:gdLst>
              <a:gd name="T0" fmla="*/ 108 w 726"/>
              <a:gd name="T1" fmla="*/ 106 h 726"/>
              <a:gd name="T2" fmla="*/ 2 w 726"/>
              <a:gd name="T3" fmla="*/ 400 h 726"/>
              <a:gd name="T4" fmla="*/ 190 w 726"/>
              <a:gd name="T5" fmla="*/ 682 h 726"/>
              <a:gd name="T6" fmla="*/ 504 w 726"/>
              <a:gd name="T7" fmla="*/ 698 h 726"/>
              <a:gd name="T8" fmla="*/ 720 w 726"/>
              <a:gd name="T9" fmla="*/ 436 h 726"/>
              <a:gd name="T10" fmla="*/ 644 w 726"/>
              <a:gd name="T11" fmla="*/ 132 h 726"/>
              <a:gd name="T12" fmla="*/ 460 w 726"/>
              <a:gd name="T13" fmla="*/ 218 h 726"/>
              <a:gd name="T14" fmla="*/ 458 w 726"/>
              <a:gd name="T15" fmla="*/ 250 h 726"/>
              <a:gd name="T16" fmla="*/ 428 w 726"/>
              <a:gd name="T17" fmla="*/ 238 h 726"/>
              <a:gd name="T18" fmla="*/ 432 w 726"/>
              <a:gd name="T19" fmla="*/ 210 h 726"/>
              <a:gd name="T20" fmla="*/ 428 w 726"/>
              <a:gd name="T21" fmla="*/ 292 h 726"/>
              <a:gd name="T22" fmla="*/ 390 w 726"/>
              <a:gd name="T23" fmla="*/ 310 h 726"/>
              <a:gd name="T24" fmla="*/ 382 w 726"/>
              <a:gd name="T25" fmla="*/ 282 h 726"/>
              <a:gd name="T26" fmla="*/ 418 w 726"/>
              <a:gd name="T27" fmla="*/ 252 h 726"/>
              <a:gd name="T28" fmla="*/ 422 w 726"/>
              <a:gd name="T29" fmla="*/ 280 h 726"/>
              <a:gd name="T30" fmla="*/ 420 w 726"/>
              <a:gd name="T31" fmla="*/ 148 h 726"/>
              <a:gd name="T32" fmla="*/ 450 w 726"/>
              <a:gd name="T33" fmla="*/ 176 h 726"/>
              <a:gd name="T34" fmla="*/ 424 w 726"/>
              <a:gd name="T35" fmla="*/ 196 h 726"/>
              <a:gd name="T36" fmla="*/ 402 w 726"/>
              <a:gd name="T37" fmla="*/ 180 h 726"/>
              <a:gd name="T38" fmla="*/ 398 w 726"/>
              <a:gd name="T39" fmla="*/ 238 h 726"/>
              <a:gd name="T40" fmla="*/ 384 w 726"/>
              <a:gd name="T41" fmla="*/ 264 h 726"/>
              <a:gd name="T42" fmla="*/ 368 w 726"/>
              <a:gd name="T43" fmla="*/ 256 h 726"/>
              <a:gd name="T44" fmla="*/ 354 w 726"/>
              <a:gd name="T45" fmla="*/ 232 h 726"/>
              <a:gd name="T46" fmla="*/ 360 w 726"/>
              <a:gd name="T47" fmla="*/ 206 h 726"/>
              <a:gd name="T48" fmla="*/ 390 w 726"/>
              <a:gd name="T49" fmla="*/ 210 h 726"/>
              <a:gd name="T50" fmla="*/ 340 w 726"/>
              <a:gd name="T51" fmla="*/ 306 h 726"/>
              <a:gd name="T52" fmla="*/ 310 w 726"/>
              <a:gd name="T53" fmla="*/ 300 h 726"/>
              <a:gd name="T54" fmla="*/ 294 w 726"/>
              <a:gd name="T55" fmla="*/ 282 h 726"/>
              <a:gd name="T56" fmla="*/ 320 w 726"/>
              <a:gd name="T57" fmla="*/ 272 h 726"/>
              <a:gd name="T58" fmla="*/ 338 w 726"/>
              <a:gd name="T59" fmla="*/ 250 h 726"/>
              <a:gd name="T60" fmla="*/ 358 w 726"/>
              <a:gd name="T61" fmla="*/ 270 h 726"/>
              <a:gd name="T62" fmla="*/ 356 w 726"/>
              <a:gd name="T63" fmla="*/ 298 h 726"/>
              <a:gd name="T64" fmla="*/ 360 w 726"/>
              <a:gd name="T65" fmla="*/ 114 h 726"/>
              <a:gd name="T66" fmla="*/ 380 w 726"/>
              <a:gd name="T67" fmla="*/ 114 h 726"/>
              <a:gd name="T68" fmla="*/ 394 w 726"/>
              <a:gd name="T69" fmla="*/ 144 h 726"/>
              <a:gd name="T70" fmla="*/ 378 w 726"/>
              <a:gd name="T71" fmla="*/ 160 h 726"/>
              <a:gd name="T72" fmla="*/ 356 w 726"/>
              <a:gd name="T73" fmla="*/ 136 h 726"/>
              <a:gd name="T74" fmla="*/ 306 w 726"/>
              <a:gd name="T75" fmla="*/ 170 h 726"/>
              <a:gd name="T76" fmla="*/ 326 w 726"/>
              <a:gd name="T77" fmla="*/ 144 h 726"/>
              <a:gd name="T78" fmla="*/ 358 w 726"/>
              <a:gd name="T79" fmla="*/ 158 h 726"/>
              <a:gd name="T80" fmla="*/ 354 w 726"/>
              <a:gd name="T81" fmla="*/ 184 h 726"/>
              <a:gd name="T82" fmla="*/ 338 w 726"/>
              <a:gd name="T83" fmla="*/ 200 h 726"/>
              <a:gd name="T84" fmla="*/ 308 w 726"/>
              <a:gd name="T85" fmla="*/ 198 h 726"/>
              <a:gd name="T86" fmla="*/ 278 w 726"/>
              <a:gd name="T87" fmla="*/ 190 h 726"/>
              <a:gd name="T88" fmla="*/ 316 w 726"/>
              <a:gd name="T89" fmla="*/ 216 h 726"/>
              <a:gd name="T90" fmla="*/ 302 w 726"/>
              <a:gd name="T91" fmla="*/ 230 h 726"/>
              <a:gd name="T92" fmla="*/ 272 w 726"/>
              <a:gd name="T93" fmla="*/ 230 h 726"/>
              <a:gd name="T94" fmla="*/ 258 w 726"/>
              <a:gd name="T95" fmla="*/ 206 h 726"/>
              <a:gd name="T96" fmla="*/ 232 w 726"/>
              <a:gd name="T97" fmla="*/ 312 h 726"/>
              <a:gd name="T98" fmla="*/ 238 w 726"/>
              <a:gd name="T99" fmla="*/ 284 h 726"/>
              <a:gd name="T100" fmla="*/ 268 w 726"/>
              <a:gd name="T101" fmla="*/ 262 h 726"/>
              <a:gd name="T102" fmla="*/ 276 w 726"/>
              <a:gd name="T103" fmla="*/ 282 h 726"/>
              <a:gd name="T104" fmla="*/ 260 w 726"/>
              <a:gd name="T105" fmla="*/ 314 h 726"/>
              <a:gd name="T106" fmla="*/ 308 w 726"/>
              <a:gd name="T107" fmla="*/ 614 h 726"/>
              <a:gd name="T108" fmla="*/ 484 w 726"/>
              <a:gd name="T109" fmla="*/ 340 h 726"/>
              <a:gd name="T110" fmla="*/ 450 w 726"/>
              <a:gd name="T111" fmla="*/ 308 h 726"/>
              <a:gd name="T112" fmla="*/ 472 w 726"/>
              <a:gd name="T113" fmla="*/ 270 h 726"/>
              <a:gd name="T114" fmla="*/ 494 w 726"/>
              <a:gd name="T115" fmla="*/ 286 h 726"/>
              <a:gd name="T116" fmla="*/ 330 w 726"/>
              <a:gd name="T117" fmla="*/ 592 h 726"/>
              <a:gd name="T118" fmla="*/ 442 w 726"/>
              <a:gd name="T119" fmla="*/ 360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0" y="218"/>
                </a:moveTo>
                <a:lnTo>
                  <a:pt x="460" y="218"/>
                </a:lnTo>
                <a:lnTo>
                  <a:pt x="466" y="220"/>
                </a:lnTo>
                <a:lnTo>
                  <a:pt x="470" y="224"/>
                </a:lnTo>
                <a:lnTo>
                  <a:pt x="472" y="228"/>
                </a:lnTo>
                <a:lnTo>
                  <a:pt x="474" y="234"/>
                </a:lnTo>
                <a:lnTo>
                  <a:pt x="472" y="240"/>
                </a:lnTo>
                <a:lnTo>
                  <a:pt x="470" y="246"/>
                </a:lnTo>
                <a:lnTo>
                  <a:pt x="464" y="250"/>
                </a:lnTo>
                <a:lnTo>
                  <a:pt x="458" y="250"/>
                </a:lnTo>
                <a:lnTo>
                  <a:pt x="454" y="250"/>
                </a:lnTo>
                <a:lnTo>
                  <a:pt x="450" y="252"/>
                </a:lnTo>
                <a:lnTo>
                  <a:pt x="444" y="254"/>
                </a:lnTo>
                <a:lnTo>
                  <a:pt x="442" y="254"/>
                </a:lnTo>
                <a:lnTo>
                  <a:pt x="442" y="252"/>
                </a:lnTo>
                <a:lnTo>
                  <a:pt x="436" y="244"/>
                </a:lnTo>
                <a:lnTo>
                  <a:pt x="428" y="238"/>
                </a:lnTo>
                <a:lnTo>
                  <a:pt x="428" y="236"/>
                </a:lnTo>
                <a:lnTo>
                  <a:pt x="428" y="232"/>
                </a:lnTo>
                <a:lnTo>
                  <a:pt x="430" y="228"/>
                </a:lnTo>
                <a:lnTo>
                  <a:pt x="428" y="222"/>
                </a:lnTo>
                <a:lnTo>
                  <a:pt x="430" y="216"/>
                </a:lnTo>
                <a:lnTo>
                  <a:pt x="432" y="210"/>
                </a:lnTo>
                <a:lnTo>
                  <a:pt x="438" y="206"/>
                </a:lnTo>
                <a:lnTo>
                  <a:pt x="444" y="206"/>
                </a:lnTo>
                <a:lnTo>
                  <a:pt x="450" y="206"/>
                </a:lnTo>
                <a:lnTo>
                  <a:pt x="458" y="212"/>
                </a:lnTo>
                <a:lnTo>
                  <a:pt x="460" y="218"/>
                </a:lnTo>
                <a:close/>
                <a:moveTo>
                  <a:pt x="428" y="292"/>
                </a:moveTo>
                <a:lnTo>
                  <a:pt x="428" y="292"/>
                </a:lnTo>
                <a:lnTo>
                  <a:pt x="426" y="298"/>
                </a:lnTo>
                <a:lnTo>
                  <a:pt x="424" y="302"/>
                </a:lnTo>
                <a:lnTo>
                  <a:pt x="418" y="306"/>
                </a:lnTo>
                <a:lnTo>
                  <a:pt x="412" y="308"/>
                </a:lnTo>
                <a:lnTo>
                  <a:pt x="406" y="306"/>
                </a:lnTo>
                <a:lnTo>
                  <a:pt x="402" y="304"/>
                </a:lnTo>
                <a:lnTo>
                  <a:pt x="396" y="308"/>
                </a:lnTo>
                <a:lnTo>
                  <a:pt x="390" y="310"/>
                </a:lnTo>
                <a:lnTo>
                  <a:pt x="382" y="308"/>
                </a:lnTo>
                <a:lnTo>
                  <a:pt x="378" y="302"/>
                </a:lnTo>
                <a:lnTo>
                  <a:pt x="376" y="302"/>
                </a:lnTo>
                <a:lnTo>
                  <a:pt x="378" y="300"/>
                </a:lnTo>
                <a:lnTo>
                  <a:pt x="382" y="292"/>
                </a:lnTo>
                <a:lnTo>
                  <a:pt x="382" y="282"/>
                </a:lnTo>
                <a:lnTo>
                  <a:pt x="382" y="280"/>
                </a:lnTo>
                <a:lnTo>
                  <a:pt x="384" y="280"/>
                </a:lnTo>
                <a:lnTo>
                  <a:pt x="394" y="280"/>
                </a:lnTo>
                <a:lnTo>
                  <a:pt x="402" y="276"/>
                </a:lnTo>
                <a:lnTo>
                  <a:pt x="410" y="268"/>
                </a:lnTo>
                <a:lnTo>
                  <a:pt x="414" y="260"/>
                </a:lnTo>
                <a:lnTo>
                  <a:pt x="416" y="254"/>
                </a:lnTo>
                <a:lnTo>
                  <a:pt x="418" y="252"/>
                </a:lnTo>
                <a:lnTo>
                  <a:pt x="420" y="254"/>
                </a:lnTo>
                <a:lnTo>
                  <a:pt x="426" y="260"/>
                </a:lnTo>
                <a:lnTo>
                  <a:pt x="428" y="268"/>
                </a:lnTo>
                <a:lnTo>
                  <a:pt x="426" y="274"/>
                </a:lnTo>
                <a:lnTo>
                  <a:pt x="422" y="280"/>
                </a:lnTo>
                <a:lnTo>
                  <a:pt x="426" y="284"/>
                </a:lnTo>
                <a:lnTo>
                  <a:pt x="428" y="292"/>
                </a:lnTo>
                <a:close/>
                <a:moveTo>
                  <a:pt x="404" y="164"/>
                </a:moveTo>
                <a:lnTo>
                  <a:pt x="404" y="164"/>
                </a:lnTo>
                <a:lnTo>
                  <a:pt x="406" y="158"/>
                </a:lnTo>
                <a:lnTo>
                  <a:pt x="410" y="152"/>
                </a:lnTo>
                <a:lnTo>
                  <a:pt x="414" y="148"/>
                </a:lnTo>
                <a:lnTo>
                  <a:pt x="420" y="148"/>
                </a:lnTo>
                <a:lnTo>
                  <a:pt x="426" y="148"/>
                </a:lnTo>
                <a:lnTo>
                  <a:pt x="430" y="152"/>
                </a:lnTo>
                <a:lnTo>
                  <a:pt x="434" y="156"/>
                </a:lnTo>
                <a:lnTo>
                  <a:pt x="436" y="162"/>
                </a:lnTo>
                <a:lnTo>
                  <a:pt x="442" y="164"/>
                </a:lnTo>
                <a:lnTo>
                  <a:pt x="446" y="166"/>
                </a:lnTo>
                <a:lnTo>
                  <a:pt x="448" y="172"/>
                </a:lnTo>
                <a:lnTo>
                  <a:pt x="450" y="176"/>
                </a:lnTo>
                <a:lnTo>
                  <a:pt x="448" y="182"/>
                </a:lnTo>
                <a:lnTo>
                  <a:pt x="446" y="188"/>
                </a:lnTo>
                <a:lnTo>
                  <a:pt x="444" y="188"/>
                </a:lnTo>
                <a:lnTo>
                  <a:pt x="434" y="190"/>
                </a:lnTo>
                <a:lnTo>
                  <a:pt x="424" y="196"/>
                </a:lnTo>
                <a:lnTo>
                  <a:pt x="418" y="196"/>
                </a:lnTo>
                <a:lnTo>
                  <a:pt x="412" y="196"/>
                </a:lnTo>
                <a:lnTo>
                  <a:pt x="408" y="192"/>
                </a:lnTo>
                <a:lnTo>
                  <a:pt x="404" y="186"/>
                </a:lnTo>
                <a:lnTo>
                  <a:pt x="402" y="180"/>
                </a:lnTo>
                <a:lnTo>
                  <a:pt x="404" y="176"/>
                </a:lnTo>
                <a:lnTo>
                  <a:pt x="406" y="170"/>
                </a:lnTo>
                <a:lnTo>
                  <a:pt x="404" y="164"/>
                </a:lnTo>
                <a:close/>
                <a:moveTo>
                  <a:pt x="404" y="226"/>
                </a:moveTo>
                <a:lnTo>
                  <a:pt x="404" y="226"/>
                </a:lnTo>
                <a:lnTo>
                  <a:pt x="402" y="232"/>
                </a:lnTo>
                <a:lnTo>
                  <a:pt x="400" y="236"/>
                </a:lnTo>
                <a:lnTo>
                  <a:pt x="398" y="238"/>
                </a:lnTo>
                <a:lnTo>
                  <a:pt x="400" y="242"/>
                </a:lnTo>
                <a:lnTo>
                  <a:pt x="400" y="248"/>
                </a:lnTo>
                <a:lnTo>
                  <a:pt x="400" y="252"/>
                </a:lnTo>
                <a:lnTo>
                  <a:pt x="398" y="258"/>
                </a:lnTo>
                <a:lnTo>
                  <a:pt x="394" y="260"/>
                </a:lnTo>
                <a:lnTo>
                  <a:pt x="390" y="262"/>
                </a:lnTo>
                <a:lnTo>
                  <a:pt x="384" y="264"/>
                </a:lnTo>
                <a:lnTo>
                  <a:pt x="378" y="262"/>
                </a:lnTo>
                <a:lnTo>
                  <a:pt x="372" y="258"/>
                </a:lnTo>
                <a:lnTo>
                  <a:pt x="370" y="256"/>
                </a:lnTo>
                <a:lnTo>
                  <a:pt x="368" y="256"/>
                </a:lnTo>
                <a:lnTo>
                  <a:pt x="366" y="250"/>
                </a:lnTo>
                <a:lnTo>
                  <a:pt x="362" y="244"/>
                </a:lnTo>
                <a:lnTo>
                  <a:pt x="352" y="238"/>
                </a:lnTo>
                <a:lnTo>
                  <a:pt x="348" y="236"/>
                </a:lnTo>
                <a:lnTo>
                  <a:pt x="352" y="234"/>
                </a:lnTo>
                <a:lnTo>
                  <a:pt x="354" y="232"/>
                </a:lnTo>
                <a:lnTo>
                  <a:pt x="356" y="224"/>
                </a:lnTo>
                <a:lnTo>
                  <a:pt x="360" y="218"/>
                </a:lnTo>
                <a:lnTo>
                  <a:pt x="358" y="210"/>
                </a:lnTo>
                <a:lnTo>
                  <a:pt x="360" y="206"/>
                </a:lnTo>
                <a:lnTo>
                  <a:pt x="362" y="202"/>
                </a:lnTo>
                <a:lnTo>
                  <a:pt x="364" y="198"/>
                </a:lnTo>
                <a:lnTo>
                  <a:pt x="368" y="196"/>
                </a:lnTo>
                <a:lnTo>
                  <a:pt x="374" y="194"/>
                </a:lnTo>
                <a:lnTo>
                  <a:pt x="380" y="196"/>
                </a:lnTo>
                <a:lnTo>
                  <a:pt x="386" y="200"/>
                </a:lnTo>
                <a:lnTo>
                  <a:pt x="390" y="204"/>
                </a:lnTo>
                <a:lnTo>
                  <a:pt x="390" y="210"/>
                </a:lnTo>
                <a:lnTo>
                  <a:pt x="390" y="212"/>
                </a:lnTo>
                <a:lnTo>
                  <a:pt x="396" y="214"/>
                </a:lnTo>
                <a:lnTo>
                  <a:pt x="400" y="216"/>
                </a:lnTo>
                <a:lnTo>
                  <a:pt x="402" y="222"/>
                </a:lnTo>
                <a:lnTo>
                  <a:pt x="404" y="226"/>
                </a:lnTo>
                <a:close/>
                <a:moveTo>
                  <a:pt x="342" y="300"/>
                </a:moveTo>
                <a:lnTo>
                  <a:pt x="342" y="300"/>
                </a:lnTo>
                <a:lnTo>
                  <a:pt x="340" y="306"/>
                </a:lnTo>
                <a:lnTo>
                  <a:pt x="338" y="310"/>
                </a:lnTo>
                <a:lnTo>
                  <a:pt x="332" y="314"/>
                </a:lnTo>
                <a:lnTo>
                  <a:pt x="326" y="316"/>
                </a:lnTo>
                <a:lnTo>
                  <a:pt x="324" y="316"/>
                </a:lnTo>
                <a:lnTo>
                  <a:pt x="318" y="314"/>
                </a:lnTo>
                <a:lnTo>
                  <a:pt x="314" y="310"/>
                </a:lnTo>
                <a:lnTo>
                  <a:pt x="310" y="306"/>
                </a:lnTo>
                <a:lnTo>
                  <a:pt x="310" y="300"/>
                </a:lnTo>
                <a:lnTo>
                  <a:pt x="310" y="298"/>
                </a:lnTo>
                <a:lnTo>
                  <a:pt x="308" y="298"/>
                </a:lnTo>
                <a:lnTo>
                  <a:pt x="302" y="296"/>
                </a:lnTo>
                <a:lnTo>
                  <a:pt x="298" y="294"/>
                </a:lnTo>
                <a:lnTo>
                  <a:pt x="294" y="288"/>
                </a:lnTo>
                <a:lnTo>
                  <a:pt x="294" y="282"/>
                </a:lnTo>
                <a:lnTo>
                  <a:pt x="294" y="278"/>
                </a:lnTo>
                <a:lnTo>
                  <a:pt x="296" y="274"/>
                </a:lnTo>
                <a:lnTo>
                  <a:pt x="300" y="270"/>
                </a:lnTo>
                <a:lnTo>
                  <a:pt x="306" y="268"/>
                </a:lnTo>
                <a:lnTo>
                  <a:pt x="310" y="266"/>
                </a:lnTo>
                <a:lnTo>
                  <a:pt x="316" y="268"/>
                </a:lnTo>
                <a:lnTo>
                  <a:pt x="320" y="272"/>
                </a:lnTo>
                <a:lnTo>
                  <a:pt x="322" y="270"/>
                </a:lnTo>
                <a:lnTo>
                  <a:pt x="322" y="266"/>
                </a:lnTo>
                <a:lnTo>
                  <a:pt x="322" y="262"/>
                </a:lnTo>
                <a:lnTo>
                  <a:pt x="324" y="258"/>
                </a:lnTo>
                <a:lnTo>
                  <a:pt x="330" y="252"/>
                </a:lnTo>
                <a:lnTo>
                  <a:pt x="338" y="250"/>
                </a:lnTo>
                <a:lnTo>
                  <a:pt x="344" y="252"/>
                </a:lnTo>
                <a:lnTo>
                  <a:pt x="348" y="256"/>
                </a:lnTo>
                <a:lnTo>
                  <a:pt x="352" y="260"/>
                </a:lnTo>
                <a:lnTo>
                  <a:pt x="354" y="266"/>
                </a:lnTo>
                <a:lnTo>
                  <a:pt x="354" y="268"/>
                </a:lnTo>
                <a:lnTo>
                  <a:pt x="358" y="270"/>
                </a:lnTo>
                <a:lnTo>
                  <a:pt x="364" y="274"/>
                </a:lnTo>
                <a:lnTo>
                  <a:pt x="366" y="282"/>
                </a:lnTo>
                <a:lnTo>
                  <a:pt x="364" y="288"/>
                </a:lnTo>
                <a:lnTo>
                  <a:pt x="362" y="292"/>
                </a:lnTo>
                <a:lnTo>
                  <a:pt x="360" y="294"/>
                </a:lnTo>
                <a:lnTo>
                  <a:pt x="356" y="298"/>
                </a:lnTo>
                <a:lnTo>
                  <a:pt x="350" y="298"/>
                </a:lnTo>
                <a:lnTo>
                  <a:pt x="342" y="296"/>
                </a:lnTo>
                <a:lnTo>
                  <a:pt x="342" y="300"/>
                </a:lnTo>
                <a:close/>
                <a:moveTo>
                  <a:pt x="352" y="116"/>
                </a:moveTo>
                <a:lnTo>
                  <a:pt x="352" y="116"/>
                </a:lnTo>
                <a:lnTo>
                  <a:pt x="356" y="114"/>
                </a:lnTo>
                <a:lnTo>
                  <a:pt x="360" y="114"/>
                </a:lnTo>
                <a:lnTo>
                  <a:pt x="364" y="114"/>
                </a:lnTo>
                <a:lnTo>
                  <a:pt x="368" y="112"/>
                </a:lnTo>
                <a:lnTo>
                  <a:pt x="372" y="110"/>
                </a:lnTo>
                <a:lnTo>
                  <a:pt x="376" y="112"/>
                </a:lnTo>
                <a:lnTo>
                  <a:pt x="380" y="114"/>
                </a:lnTo>
                <a:lnTo>
                  <a:pt x="382" y="118"/>
                </a:lnTo>
                <a:lnTo>
                  <a:pt x="384" y="122"/>
                </a:lnTo>
                <a:lnTo>
                  <a:pt x="390" y="126"/>
                </a:lnTo>
                <a:lnTo>
                  <a:pt x="394" y="134"/>
                </a:lnTo>
                <a:lnTo>
                  <a:pt x="394" y="142"/>
                </a:lnTo>
                <a:lnTo>
                  <a:pt x="394" y="144"/>
                </a:lnTo>
                <a:lnTo>
                  <a:pt x="392" y="148"/>
                </a:lnTo>
                <a:lnTo>
                  <a:pt x="390" y="150"/>
                </a:lnTo>
                <a:lnTo>
                  <a:pt x="386" y="152"/>
                </a:lnTo>
                <a:lnTo>
                  <a:pt x="382" y="156"/>
                </a:lnTo>
                <a:lnTo>
                  <a:pt x="380" y="158"/>
                </a:lnTo>
                <a:lnTo>
                  <a:pt x="378" y="160"/>
                </a:lnTo>
                <a:lnTo>
                  <a:pt x="378" y="158"/>
                </a:lnTo>
                <a:lnTo>
                  <a:pt x="374" y="150"/>
                </a:lnTo>
                <a:lnTo>
                  <a:pt x="370" y="146"/>
                </a:lnTo>
                <a:lnTo>
                  <a:pt x="364" y="140"/>
                </a:lnTo>
                <a:lnTo>
                  <a:pt x="356" y="138"/>
                </a:lnTo>
                <a:lnTo>
                  <a:pt x="356" y="136"/>
                </a:lnTo>
                <a:lnTo>
                  <a:pt x="350" y="132"/>
                </a:lnTo>
                <a:lnTo>
                  <a:pt x="348" y="128"/>
                </a:lnTo>
                <a:lnTo>
                  <a:pt x="348" y="124"/>
                </a:lnTo>
                <a:lnTo>
                  <a:pt x="350" y="120"/>
                </a:lnTo>
                <a:lnTo>
                  <a:pt x="352" y="116"/>
                </a:lnTo>
                <a:close/>
                <a:moveTo>
                  <a:pt x="306" y="170"/>
                </a:moveTo>
                <a:lnTo>
                  <a:pt x="306" y="170"/>
                </a:lnTo>
                <a:lnTo>
                  <a:pt x="310" y="168"/>
                </a:lnTo>
                <a:lnTo>
                  <a:pt x="312" y="162"/>
                </a:lnTo>
                <a:lnTo>
                  <a:pt x="316" y="156"/>
                </a:lnTo>
                <a:lnTo>
                  <a:pt x="318" y="148"/>
                </a:lnTo>
                <a:lnTo>
                  <a:pt x="326" y="144"/>
                </a:lnTo>
                <a:lnTo>
                  <a:pt x="330" y="142"/>
                </a:lnTo>
                <a:lnTo>
                  <a:pt x="336" y="144"/>
                </a:lnTo>
                <a:lnTo>
                  <a:pt x="340" y="146"/>
                </a:lnTo>
                <a:lnTo>
                  <a:pt x="344" y="148"/>
                </a:lnTo>
                <a:lnTo>
                  <a:pt x="346" y="152"/>
                </a:lnTo>
                <a:lnTo>
                  <a:pt x="352" y="154"/>
                </a:lnTo>
                <a:lnTo>
                  <a:pt x="358" y="158"/>
                </a:lnTo>
                <a:lnTo>
                  <a:pt x="360" y="162"/>
                </a:lnTo>
                <a:lnTo>
                  <a:pt x="362" y="168"/>
                </a:lnTo>
                <a:lnTo>
                  <a:pt x="360" y="176"/>
                </a:lnTo>
                <a:lnTo>
                  <a:pt x="358" y="180"/>
                </a:lnTo>
                <a:lnTo>
                  <a:pt x="354" y="182"/>
                </a:lnTo>
                <a:lnTo>
                  <a:pt x="354" y="184"/>
                </a:lnTo>
                <a:lnTo>
                  <a:pt x="354" y="186"/>
                </a:lnTo>
                <a:lnTo>
                  <a:pt x="352" y="186"/>
                </a:lnTo>
                <a:lnTo>
                  <a:pt x="348" y="192"/>
                </a:lnTo>
                <a:lnTo>
                  <a:pt x="344" y="198"/>
                </a:lnTo>
                <a:lnTo>
                  <a:pt x="338" y="200"/>
                </a:lnTo>
                <a:lnTo>
                  <a:pt x="334" y="198"/>
                </a:lnTo>
                <a:lnTo>
                  <a:pt x="326" y="194"/>
                </a:lnTo>
                <a:lnTo>
                  <a:pt x="322" y="198"/>
                </a:lnTo>
                <a:lnTo>
                  <a:pt x="314" y="200"/>
                </a:lnTo>
                <a:lnTo>
                  <a:pt x="308" y="198"/>
                </a:lnTo>
                <a:lnTo>
                  <a:pt x="304" y="194"/>
                </a:lnTo>
                <a:lnTo>
                  <a:pt x="300" y="190"/>
                </a:lnTo>
                <a:lnTo>
                  <a:pt x="300" y="184"/>
                </a:lnTo>
                <a:lnTo>
                  <a:pt x="302" y="176"/>
                </a:lnTo>
                <a:lnTo>
                  <a:pt x="306" y="170"/>
                </a:lnTo>
                <a:close/>
                <a:moveTo>
                  <a:pt x="274" y="190"/>
                </a:moveTo>
                <a:lnTo>
                  <a:pt x="274" y="190"/>
                </a:lnTo>
                <a:lnTo>
                  <a:pt x="278" y="190"/>
                </a:lnTo>
                <a:lnTo>
                  <a:pt x="282" y="192"/>
                </a:lnTo>
                <a:lnTo>
                  <a:pt x="284" y="192"/>
                </a:lnTo>
                <a:lnTo>
                  <a:pt x="284" y="194"/>
                </a:lnTo>
                <a:lnTo>
                  <a:pt x="288" y="202"/>
                </a:lnTo>
                <a:lnTo>
                  <a:pt x="296" y="210"/>
                </a:lnTo>
                <a:lnTo>
                  <a:pt x="304" y="214"/>
                </a:lnTo>
                <a:lnTo>
                  <a:pt x="316" y="216"/>
                </a:lnTo>
                <a:lnTo>
                  <a:pt x="320" y="216"/>
                </a:lnTo>
                <a:lnTo>
                  <a:pt x="318" y="220"/>
                </a:lnTo>
                <a:lnTo>
                  <a:pt x="316" y="224"/>
                </a:lnTo>
                <a:lnTo>
                  <a:pt x="312" y="226"/>
                </a:lnTo>
                <a:lnTo>
                  <a:pt x="308" y="228"/>
                </a:lnTo>
                <a:lnTo>
                  <a:pt x="304" y="230"/>
                </a:lnTo>
                <a:lnTo>
                  <a:pt x="302" y="230"/>
                </a:lnTo>
                <a:lnTo>
                  <a:pt x="300" y="234"/>
                </a:lnTo>
                <a:lnTo>
                  <a:pt x="296" y="236"/>
                </a:lnTo>
                <a:lnTo>
                  <a:pt x="292" y="238"/>
                </a:lnTo>
                <a:lnTo>
                  <a:pt x="288" y="240"/>
                </a:lnTo>
                <a:lnTo>
                  <a:pt x="282" y="238"/>
                </a:lnTo>
                <a:lnTo>
                  <a:pt x="276" y="234"/>
                </a:lnTo>
                <a:lnTo>
                  <a:pt x="272" y="230"/>
                </a:lnTo>
                <a:lnTo>
                  <a:pt x="272" y="224"/>
                </a:lnTo>
                <a:lnTo>
                  <a:pt x="272" y="222"/>
                </a:lnTo>
                <a:lnTo>
                  <a:pt x="266" y="220"/>
                </a:lnTo>
                <a:lnTo>
                  <a:pt x="262" y="216"/>
                </a:lnTo>
                <a:lnTo>
                  <a:pt x="258" y="212"/>
                </a:lnTo>
                <a:lnTo>
                  <a:pt x="258" y="206"/>
                </a:lnTo>
                <a:lnTo>
                  <a:pt x="258" y="200"/>
                </a:lnTo>
                <a:lnTo>
                  <a:pt x="262" y="194"/>
                </a:lnTo>
                <a:lnTo>
                  <a:pt x="268" y="190"/>
                </a:lnTo>
                <a:lnTo>
                  <a:pt x="274" y="190"/>
                </a:lnTo>
                <a:close/>
                <a:moveTo>
                  <a:pt x="244" y="316"/>
                </a:moveTo>
                <a:lnTo>
                  <a:pt x="244" y="316"/>
                </a:lnTo>
                <a:lnTo>
                  <a:pt x="238" y="314"/>
                </a:lnTo>
                <a:lnTo>
                  <a:pt x="232" y="312"/>
                </a:lnTo>
                <a:lnTo>
                  <a:pt x="228" y="306"/>
                </a:lnTo>
                <a:lnTo>
                  <a:pt x="228" y="300"/>
                </a:lnTo>
                <a:lnTo>
                  <a:pt x="228" y="294"/>
                </a:lnTo>
                <a:lnTo>
                  <a:pt x="230" y="290"/>
                </a:lnTo>
                <a:lnTo>
                  <a:pt x="234" y="288"/>
                </a:lnTo>
                <a:lnTo>
                  <a:pt x="238" y="284"/>
                </a:lnTo>
                <a:lnTo>
                  <a:pt x="240" y="278"/>
                </a:lnTo>
                <a:lnTo>
                  <a:pt x="244" y="272"/>
                </a:lnTo>
                <a:lnTo>
                  <a:pt x="246" y="268"/>
                </a:lnTo>
                <a:lnTo>
                  <a:pt x="250" y="262"/>
                </a:lnTo>
                <a:lnTo>
                  <a:pt x="254" y="260"/>
                </a:lnTo>
                <a:lnTo>
                  <a:pt x="260" y="258"/>
                </a:lnTo>
                <a:lnTo>
                  <a:pt x="264" y="260"/>
                </a:lnTo>
                <a:lnTo>
                  <a:pt x="268" y="262"/>
                </a:lnTo>
                <a:lnTo>
                  <a:pt x="272" y="264"/>
                </a:lnTo>
                <a:lnTo>
                  <a:pt x="274" y="270"/>
                </a:lnTo>
                <a:lnTo>
                  <a:pt x="276" y="270"/>
                </a:lnTo>
                <a:lnTo>
                  <a:pt x="278" y="270"/>
                </a:lnTo>
                <a:lnTo>
                  <a:pt x="278" y="272"/>
                </a:lnTo>
                <a:lnTo>
                  <a:pt x="276" y="282"/>
                </a:lnTo>
                <a:lnTo>
                  <a:pt x="278" y="292"/>
                </a:lnTo>
                <a:lnTo>
                  <a:pt x="282" y="300"/>
                </a:lnTo>
                <a:lnTo>
                  <a:pt x="282" y="302"/>
                </a:lnTo>
                <a:lnTo>
                  <a:pt x="278" y="310"/>
                </a:lnTo>
                <a:lnTo>
                  <a:pt x="272" y="314"/>
                </a:lnTo>
                <a:lnTo>
                  <a:pt x="272" y="316"/>
                </a:lnTo>
                <a:lnTo>
                  <a:pt x="260" y="316"/>
                </a:lnTo>
                <a:lnTo>
                  <a:pt x="260" y="314"/>
                </a:lnTo>
                <a:lnTo>
                  <a:pt x="254" y="312"/>
                </a:lnTo>
                <a:lnTo>
                  <a:pt x="250" y="314"/>
                </a:lnTo>
                <a:lnTo>
                  <a:pt x="244" y="316"/>
                </a:lnTo>
                <a:close/>
                <a:moveTo>
                  <a:pt x="484" y="340"/>
                </a:moveTo>
                <a:lnTo>
                  <a:pt x="460" y="612"/>
                </a:lnTo>
                <a:lnTo>
                  <a:pt x="460" y="614"/>
                </a:lnTo>
                <a:lnTo>
                  <a:pt x="308" y="614"/>
                </a:lnTo>
                <a:lnTo>
                  <a:pt x="306" y="614"/>
                </a:lnTo>
                <a:lnTo>
                  <a:pt x="282" y="614"/>
                </a:lnTo>
                <a:lnTo>
                  <a:pt x="280" y="614"/>
                </a:lnTo>
                <a:lnTo>
                  <a:pt x="280" y="612"/>
                </a:lnTo>
                <a:lnTo>
                  <a:pt x="256" y="340"/>
                </a:lnTo>
                <a:lnTo>
                  <a:pt x="256" y="338"/>
                </a:lnTo>
                <a:lnTo>
                  <a:pt x="458" y="338"/>
                </a:lnTo>
                <a:lnTo>
                  <a:pt x="484" y="338"/>
                </a:lnTo>
                <a:lnTo>
                  <a:pt x="484" y="340"/>
                </a:lnTo>
                <a:close/>
                <a:moveTo>
                  <a:pt x="484" y="314"/>
                </a:moveTo>
                <a:lnTo>
                  <a:pt x="484" y="314"/>
                </a:lnTo>
                <a:lnTo>
                  <a:pt x="476" y="312"/>
                </a:lnTo>
                <a:lnTo>
                  <a:pt x="472" y="314"/>
                </a:lnTo>
                <a:lnTo>
                  <a:pt x="472" y="316"/>
                </a:lnTo>
                <a:lnTo>
                  <a:pt x="456" y="316"/>
                </a:lnTo>
                <a:lnTo>
                  <a:pt x="456" y="314"/>
                </a:lnTo>
                <a:lnTo>
                  <a:pt x="450" y="308"/>
                </a:lnTo>
                <a:lnTo>
                  <a:pt x="448" y="300"/>
                </a:lnTo>
                <a:lnTo>
                  <a:pt x="450" y="294"/>
                </a:lnTo>
                <a:lnTo>
                  <a:pt x="452" y="290"/>
                </a:lnTo>
                <a:lnTo>
                  <a:pt x="456" y="286"/>
                </a:lnTo>
                <a:lnTo>
                  <a:pt x="462" y="284"/>
                </a:lnTo>
                <a:lnTo>
                  <a:pt x="464" y="278"/>
                </a:lnTo>
                <a:lnTo>
                  <a:pt x="468" y="274"/>
                </a:lnTo>
                <a:lnTo>
                  <a:pt x="472" y="270"/>
                </a:lnTo>
                <a:lnTo>
                  <a:pt x="478" y="270"/>
                </a:lnTo>
                <a:lnTo>
                  <a:pt x="484" y="270"/>
                </a:lnTo>
                <a:lnTo>
                  <a:pt x="490" y="274"/>
                </a:lnTo>
                <a:lnTo>
                  <a:pt x="494" y="280"/>
                </a:lnTo>
                <a:lnTo>
                  <a:pt x="494" y="286"/>
                </a:lnTo>
                <a:lnTo>
                  <a:pt x="498" y="292"/>
                </a:lnTo>
                <a:lnTo>
                  <a:pt x="500" y="298"/>
                </a:lnTo>
                <a:lnTo>
                  <a:pt x="498" y="304"/>
                </a:lnTo>
                <a:lnTo>
                  <a:pt x="494" y="308"/>
                </a:lnTo>
                <a:lnTo>
                  <a:pt x="490" y="312"/>
                </a:lnTo>
                <a:lnTo>
                  <a:pt x="484" y="314"/>
                </a:lnTo>
                <a:close/>
                <a:moveTo>
                  <a:pt x="298" y="360"/>
                </a:moveTo>
                <a:lnTo>
                  <a:pt x="308" y="592"/>
                </a:lnTo>
                <a:lnTo>
                  <a:pt x="330" y="592"/>
                </a:lnTo>
                <a:lnTo>
                  <a:pt x="320" y="360"/>
                </a:lnTo>
                <a:lnTo>
                  <a:pt x="298" y="360"/>
                </a:lnTo>
                <a:close/>
                <a:moveTo>
                  <a:pt x="360" y="360"/>
                </a:moveTo>
                <a:lnTo>
                  <a:pt x="360" y="592"/>
                </a:lnTo>
                <a:lnTo>
                  <a:pt x="382" y="592"/>
                </a:lnTo>
                <a:lnTo>
                  <a:pt x="382" y="360"/>
                </a:lnTo>
                <a:lnTo>
                  <a:pt x="360" y="360"/>
                </a:lnTo>
                <a:close/>
                <a:moveTo>
                  <a:pt x="410" y="592"/>
                </a:moveTo>
                <a:lnTo>
                  <a:pt x="434" y="592"/>
                </a:lnTo>
                <a:lnTo>
                  <a:pt x="442" y="360"/>
                </a:lnTo>
                <a:lnTo>
                  <a:pt x="420" y="360"/>
                </a:lnTo>
                <a:lnTo>
                  <a:pt x="410" y="59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2" name="Freeform 52"/>
          <p:cNvSpPr>
            <a:spLocks noEditPoints="1"/>
          </p:cNvSpPr>
          <p:nvPr userDrawn="1"/>
        </p:nvSpPr>
        <p:spPr bwMode="auto">
          <a:xfrm>
            <a:off x="1760358" y="5414560"/>
            <a:ext cx="1080000" cy="1080000"/>
          </a:xfrm>
          <a:custGeom>
            <a:avLst/>
            <a:gdLst>
              <a:gd name="T0" fmla="*/ 434142 w 1768"/>
              <a:gd name="T1" fmla="*/ 11069 h 1768"/>
              <a:gd name="T2" fmla="*/ 284099 w 1768"/>
              <a:gd name="T3" fmla="*/ 65183 h 1768"/>
              <a:gd name="T4" fmla="*/ 158652 w 1768"/>
              <a:gd name="T5" fmla="*/ 158652 h 1768"/>
              <a:gd name="T6" fmla="*/ 65183 w 1768"/>
              <a:gd name="T7" fmla="*/ 284099 h 1768"/>
              <a:gd name="T8" fmla="*/ 11069 w 1768"/>
              <a:gd name="T9" fmla="*/ 434142 h 1768"/>
              <a:gd name="T10" fmla="*/ 1230 w 1768"/>
              <a:gd name="T11" fmla="*/ 571887 h 1768"/>
              <a:gd name="T12" fmla="*/ 33206 w 1768"/>
              <a:gd name="T13" fmla="*/ 730539 h 1768"/>
              <a:gd name="T14" fmla="*/ 108228 w 1768"/>
              <a:gd name="T15" fmla="*/ 868284 h 1768"/>
              <a:gd name="T16" fmla="*/ 218916 w 1768"/>
              <a:gd name="T17" fmla="*/ 978972 h 1768"/>
              <a:gd name="T18" fmla="*/ 356661 w 1768"/>
              <a:gd name="T19" fmla="*/ 1053994 h 1768"/>
              <a:gd name="T20" fmla="*/ 515313 w 1768"/>
              <a:gd name="T21" fmla="*/ 1085970 h 1768"/>
              <a:gd name="T22" fmla="*/ 653058 w 1768"/>
              <a:gd name="T23" fmla="*/ 1076131 h 1768"/>
              <a:gd name="T24" fmla="*/ 803101 w 1768"/>
              <a:gd name="T25" fmla="*/ 1022017 h 1768"/>
              <a:gd name="T26" fmla="*/ 928548 w 1768"/>
              <a:gd name="T27" fmla="*/ 928548 h 1768"/>
              <a:gd name="T28" fmla="*/ 1022017 w 1768"/>
              <a:gd name="T29" fmla="*/ 803101 h 1768"/>
              <a:gd name="T30" fmla="*/ 1076131 w 1768"/>
              <a:gd name="T31" fmla="*/ 653058 h 1768"/>
              <a:gd name="T32" fmla="*/ 1087200 w 1768"/>
              <a:gd name="T33" fmla="*/ 515313 h 1768"/>
              <a:gd name="T34" fmla="*/ 1053994 w 1768"/>
              <a:gd name="T35" fmla="*/ 356661 h 1768"/>
              <a:gd name="T36" fmla="*/ 978972 w 1768"/>
              <a:gd name="T37" fmla="*/ 217686 h 1768"/>
              <a:gd name="T38" fmla="*/ 869514 w 1768"/>
              <a:gd name="T39" fmla="*/ 108228 h 1768"/>
              <a:gd name="T40" fmla="*/ 730539 w 1768"/>
              <a:gd name="T41" fmla="*/ 33206 h 1768"/>
              <a:gd name="T42" fmla="*/ 571887 w 1768"/>
              <a:gd name="T43" fmla="*/ 0 h 1768"/>
              <a:gd name="T44" fmla="*/ 581726 w 1768"/>
              <a:gd name="T45" fmla="*/ 254582 h 1768"/>
              <a:gd name="T46" fmla="*/ 667816 w 1768"/>
              <a:gd name="T47" fmla="*/ 325914 h 1768"/>
              <a:gd name="T48" fmla="*/ 680115 w 1768"/>
              <a:gd name="T49" fmla="*/ 329604 h 1768"/>
              <a:gd name="T50" fmla="*/ 602633 w 1768"/>
              <a:gd name="T51" fmla="*/ 330833 h 1768"/>
              <a:gd name="T52" fmla="*/ 543600 w 1768"/>
              <a:gd name="T53" fmla="*/ 362810 h 1768"/>
              <a:gd name="T54" fmla="*/ 472268 w 1768"/>
              <a:gd name="T55" fmla="*/ 327144 h 1768"/>
              <a:gd name="T56" fmla="*/ 418154 w 1768"/>
              <a:gd name="T57" fmla="*/ 327144 h 1768"/>
              <a:gd name="T58" fmla="*/ 503014 w 1768"/>
              <a:gd name="T59" fmla="*/ 254582 h 1768"/>
              <a:gd name="T60" fmla="*/ 317305 w 1768"/>
              <a:gd name="T61" fmla="*/ 474728 h 1768"/>
              <a:gd name="T62" fmla="*/ 338213 w 1768"/>
              <a:gd name="T63" fmla="*/ 403395 h 1768"/>
              <a:gd name="T64" fmla="*/ 394786 w 1768"/>
              <a:gd name="T65" fmla="*/ 356661 h 1768"/>
              <a:gd name="T66" fmla="*/ 457510 w 1768"/>
              <a:gd name="T67" fmla="*/ 346822 h 1768"/>
              <a:gd name="T68" fmla="*/ 526382 w 1768"/>
              <a:gd name="T69" fmla="*/ 376338 h 1768"/>
              <a:gd name="T70" fmla="*/ 566967 w 1768"/>
              <a:gd name="T71" fmla="*/ 436602 h 1768"/>
              <a:gd name="T72" fmla="*/ 569427 w 1768"/>
              <a:gd name="T73" fmla="*/ 503014 h 1768"/>
              <a:gd name="T74" fmla="*/ 526382 w 1768"/>
              <a:gd name="T75" fmla="*/ 573117 h 1768"/>
              <a:gd name="T76" fmla="*/ 329604 w 1768"/>
              <a:gd name="T77" fmla="*/ 530071 h 1768"/>
              <a:gd name="T78" fmla="*/ 550979 w 1768"/>
              <a:gd name="T79" fmla="*/ 953145 h 1768"/>
              <a:gd name="T80" fmla="*/ 539910 w 1768"/>
              <a:gd name="T81" fmla="*/ 956834 h 1768"/>
              <a:gd name="T82" fmla="*/ 678885 w 1768"/>
              <a:gd name="T83" fmla="*/ 618622 h 1768"/>
              <a:gd name="T84" fmla="*/ 370189 w 1768"/>
              <a:gd name="T85" fmla="*/ 611243 h 1768"/>
              <a:gd name="T86" fmla="*/ 710862 w 1768"/>
              <a:gd name="T87" fmla="*/ 594024 h 1768"/>
              <a:gd name="T88" fmla="*/ 689954 w 1768"/>
              <a:gd name="T89" fmla="*/ 617392 h 1768"/>
              <a:gd name="T90" fmla="*/ 560818 w 1768"/>
              <a:gd name="T91" fmla="*/ 573117 h 1768"/>
              <a:gd name="T92" fmla="*/ 585415 w 1768"/>
              <a:gd name="T93" fmla="*/ 526382 h 1768"/>
              <a:gd name="T94" fmla="*/ 594024 w 1768"/>
              <a:gd name="T95" fmla="*/ 461199 h 1768"/>
              <a:gd name="T96" fmla="*/ 566967 w 1768"/>
              <a:gd name="T97" fmla="*/ 388637 h 1768"/>
              <a:gd name="T98" fmla="*/ 596484 w 1768"/>
              <a:gd name="T99" fmla="*/ 355431 h 1768"/>
              <a:gd name="T100" fmla="*/ 655518 w 1768"/>
              <a:gd name="T101" fmla="*/ 346822 h 1768"/>
              <a:gd name="T102" fmla="*/ 724390 w 1768"/>
              <a:gd name="T103" fmla="*/ 376338 h 1768"/>
              <a:gd name="T104" fmla="*/ 764976 w 1768"/>
              <a:gd name="T105" fmla="*/ 436602 h 1768"/>
              <a:gd name="T106" fmla="*/ 767435 w 1768"/>
              <a:gd name="T107" fmla="*/ 503014 h 1768"/>
              <a:gd name="T108" fmla="*/ 724390 w 1768"/>
              <a:gd name="T109" fmla="*/ 573117 h 176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6" y="40"/>
                </a:lnTo>
                <a:lnTo>
                  <a:pt x="1106" y="28"/>
                </a:lnTo>
                <a:lnTo>
                  <a:pt x="1062" y="18"/>
                </a:lnTo>
                <a:lnTo>
                  <a:pt x="1018" y="10"/>
                </a:lnTo>
                <a:lnTo>
                  <a:pt x="974" y="4"/>
                </a:lnTo>
                <a:lnTo>
                  <a:pt x="930" y="0"/>
                </a:lnTo>
                <a:lnTo>
                  <a:pt x="884" y="0"/>
                </a:lnTo>
                <a:close/>
                <a:moveTo>
                  <a:pt x="882" y="404"/>
                </a:moveTo>
                <a:lnTo>
                  <a:pt x="882" y="404"/>
                </a:lnTo>
                <a:lnTo>
                  <a:pt x="916" y="406"/>
                </a:lnTo>
                <a:lnTo>
                  <a:pt x="946" y="414"/>
                </a:lnTo>
                <a:lnTo>
                  <a:pt x="976" y="424"/>
                </a:lnTo>
                <a:lnTo>
                  <a:pt x="1004" y="440"/>
                </a:lnTo>
                <a:lnTo>
                  <a:pt x="1028" y="458"/>
                </a:lnTo>
                <a:lnTo>
                  <a:pt x="1050" y="478"/>
                </a:lnTo>
                <a:lnTo>
                  <a:pt x="1070" y="504"/>
                </a:lnTo>
                <a:lnTo>
                  <a:pt x="1086" y="530"/>
                </a:lnTo>
                <a:lnTo>
                  <a:pt x="1138" y="318"/>
                </a:lnTo>
                <a:lnTo>
                  <a:pt x="1218" y="338"/>
                </a:lnTo>
                <a:lnTo>
                  <a:pt x="1162" y="558"/>
                </a:lnTo>
                <a:lnTo>
                  <a:pt x="1134" y="546"/>
                </a:lnTo>
                <a:lnTo>
                  <a:pt x="1106" y="536"/>
                </a:lnTo>
                <a:lnTo>
                  <a:pt x="1076" y="530"/>
                </a:lnTo>
                <a:lnTo>
                  <a:pt x="1044" y="528"/>
                </a:lnTo>
                <a:lnTo>
                  <a:pt x="1022" y="530"/>
                </a:lnTo>
                <a:lnTo>
                  <a:pt x="1000" y="532"/>
                </a:lnTo>
                <a:lnTo>
                  <a:pt x="980" y="538"/>
                </a:lnTo>
                <a:lnTo>
                  <a:pt x="958" y="544"/>
                </a:lnTo>
                <a:lnTo>
                  <a:pt x="938" y="554"/>
                </a:lnTo>
                <a:lnTo>
                  <a:pt x="920" y="564"/>
                </a:lnTo>
                <a:lnTo>
                  <a:pt x="902" y="576"/>
                </a:lnTo>
                <a:lnTo>
                  <a:pt x="884" y="590"/>
                </a:lnTo>
                <a:lnTo>
                  <a:pt x="866" y="576"/>
                </a:lnTo>
                <a:lnTo>
                  <a:pt x="848" y="564"/>
                </a:lnTo>
                <a:lnTo>
                  <a:pt x="830" y="554"/>
                </a:lnTo>
                <a:lnTo>
                  <a:pt x="810" y="544"/>
                </a:lnTo>
                <a:lnTo>
                  <a:pt x="788" y="538"/>
                </a:lnTo>
                <a:lnTo>
                  <a:pt x="768" y="532"/>
                </a:lnTo>
                <a:lnTo>
                  <a:pt x="746" y="530"/>
                </a:lnTo>
                <a:lnTo>
                  <a:pt x="724" y="528"/>
                </a:lnTo>
                <a:lnTo>
                  <a:pt x="702" y="530"/>
                </a:lnTo>
                <a:lnTo>
                  <a:pt x="680" y="532"/>
                </a:lnTo>
                <a:lnTo>
                  <a:pt x="694" y="506"/>
                </a:lnTo>
                <a:lnTo>
                  <a:pt x="714" y="480"/>
                </a:lnTo>
                <a:lnTo>
                  <a:pt x="736" y="458"/>
                </a:lnTo>
                <a:lnTo>
                  <a:pt x="760" y="440"/>
                </a:lnTo>
                <a:lnTo>
                  <a:pt x="788" y="424"/>
                </a:lnTo>
                <a:lnTo>
                  <a:pt x="818" y="414"/>
                </a:lnTo>
                <a:lnTo>
                  <a:pt x="850" y="406"/>
                </a:lnTo>
                <a:lnTo>
                  <a:pt x="866" y="404"/>
                </a:lnTo>
                <a:lnTo>
                  <a:pt x="882" y="404"/>
                </a:lnTo>
                <a:close/>
                <a:moveTo>
                  <a:pt x="516" y="772"/>
                </a:moveTo>
                <a:lnTo>
                  <a:pt x="516" y="772"/>
                </a:lnTo>
                <a:lnTo>
                  <a:pt x="516" y="750"/>
                </a:lnTo>
                <a:lnTo>
                  <a:pt x="520" y="730"/>
                </a:lnTo>
                <a:lnTo>
                  <a:pt x="524" y="710"/>
                </a:lnTo>
                <a:lnTo>
                  <a:pt x="532" y="690"/>
                </a:lnTo>
                <a:lnTo>
                  <a:pt x="540" y="672"/>
                </a:lnTo>
                <a:lnTo>
                  <a:pt x="550" y="656"/>
                </a:lnTo>
                <a:lnTo>
                  <a:pt x="562" y="640"/>
                </a:lnTo>
                <a:lnTo>
                  <a:pt x="576" y="624"/>
                </a:lnTo>
                <a:lnTo>
                  <a:pt x="590" y="612"/>
                </a:lnTo>
                <a:lnTo>
                  <a:pt x="608" y="600"/>
                </a:lnTo>
                <a:lnTo>
                  <a:pt x="624" y="588"/>
                </a:lnTo>
                <a:lnTo>
                  <a:pt x="642" y="580"/>
                </a:lnTo>
                <a:lnTo>
                  <a:pt x="662" y="572"/>
                </a:lnTo>
                <a:lnTo>
                  <a:pt x="682" y="568"/>
                </a:lnTo>
                <a:lnTo>
                  <a:pt x="702" y="564"/>
                </a:lnTo>
                <a:lnTo>
                  <a:pt x="724" y="564"/>
                </a:lnTo>
                <a:lnTo>
                  <a:pt x="744" y="564"/>
                </a:lnTo>
                <a:lnTo>
                  <a:pt x="766" y="568"/>
                </a:lnTo>
                <a:lnTo>
                  <a:pt x="786" y="572"/>
                </a:lnTo>
                <a:lnTo>
                  <a:pt x="804" y="580"/>
                </a:lnTo>
                <a:lnTo>
                  <a:pt x="822" y="588"/>
                </a:lnTo>
                <a:lnTo>
                  <a:pt x="840" y="600"/>
                </a:lnTo>
                <a:lnTo>
                  <a:pt x="856" y="612"/>
                </a:lnTo>
                <a:lnTo>
                  <a:pt x="870" y="624"/>
                </a:lnTo>
                <a:lnTo>
                  <a:pt x="884" y="640"/>
                </a:lnTo>
                <a:lnTo>
                  <a:pt x="896" y="656"/>
                </a:lnTo>
                <a:lnTo>
                  <a:pt x="906" y="672"/>
                </a:lnTo>
                <a:lnTo>
                  <a:pt x="916" y="690"/>
                </a:lnTo>
                <a:lnTo>
                  <a:pt x="922" y="710"/>
                </a:lnTo>
                <a:lnTo>
                  <a:pt x="928" y="730"/>
                </a:lnTo>
                <a:lnTo>
                  <a:pt x="930" y="750"/>
                </a:lnTo>
                <a:lnTo>
                  <a:pt x="932" y="772"/>
                </a:lnTo>
                <a:lnTo>
                  <a:pt x="930" y="796"/>
                </a:lnTo>
                <a:lnTo>
                  <a:pt x="926" y="818"/>
                </a:lnTo>
                <a:lnTo>
                  <a:pt x="920" y="840"/>
                </a:lnTo>
                <a:lnTo>
                  <a:pt x="912" y="862"/>
                </a:lnTo>
                <a:lnTo>
                  <a:pt x="900" y="882"/>
                </a:lnTo>
                <a:lnTo>
                  <a:pt x="888" y="900"/>
                </a:lnTo>
                <a:lnTo>
                  <a:pt x="874" y="916"/>
                </a:lnTo>
                <a:lnTo>
                  <a:pt x="856" y="932"/>
                </a:lnTo>
                <a:lnTo>
                  <a:pt x="590" y="932"/>
                </a:lnTo>
                <a:lnTo>
                  <a:pt x="574" y="916"/>
                </a:lnTo>
                <a:lnTo>
                  <a:pt x="558" y="900"/>
                </a:lnTo>
                <a:lnTo>
                  <a:pt x="546" y="882"/>
                </a:lnTo>
                <a:lnTo>
                  <a:pt x="536" y="862"/>
                </a:lnTo>
                <a:lnTo>
                  <a:pt x="526" y="840"/>
                </a:lnTo>
                <a:lnTo>
                  <a:pt x="520" y="818"/>
                </a:lnTo>
                <a:lnTo>
                  <a:pt x="516" y="796"/>
                </a:lnTo>
                <a:lnTo>
                  <a:pt x="516" y="772"/>
                </a:lnTo>
                <a:close/>
                <a:moveTo>
                  <a:pt x="896" y="1550"/>
                </a:moveTo>
                <a:lnTo>
                  <a:pt x="896" y="1550"/>
                </a:lnTo>
                <a:lnTo>
                  <a:pt x="894" y="1554"/>
                </a:lnTo>
                <a:lnTo>
                  <a:pt x="890" y="1556"/>
                </a:lnTo>
                <a:lnTo>
                  <a:pt x="884" y="1556"/>
                </a:lnTo>
                <a:lnTo>
                  <a:pt x="878" y="1556"/>
                </a:lnTo>
                <a:lnTo>
                  <a:pt x="874" y="1554"/>
                </a:lnTo>
                <a:lnTo>
                  <a:pt x="872" y="1550"/>
                </a:lnTo>
                <a:lnTo>
                  <a:pt x="638" y="1050"/>
                </a:lnTo>
                <a:lnTo>
                  <a:pt x="1106" y="1050"/>
                </a:lnTo>
                <a:lnTo>
                  <a:pt x="896" y="1550"/>
                </a:lnTo>
                <a:close/>
                <a:moveTo>
                  <a:pt x="1104" y="1006"/>
                </a:moveTo>
                <a:lnTo>
                  <a:pt x="636" y="1006"/>
                </a:lnTo>
                <a:lnTo>
                  <a:pt x="626" y="1006"/>
                </a:lnTo>
                <a:lnTo>
                  <a:pt x="616" y="1004"/>
                </a:lnTo>
                <a:lnTo>
                  <a:pt x="608" y="1000"/>
                </a:lnTo>
                <a:lnTo>
                  <a:pt x="602" y="994"/>
                </a:lnTo>
                <a:lnTo>
                  <a:pt x="594" y="988"/>
                </a:lnTo>
                <a:lnTo>
                  <a:pt x="590" y="982"/>
                </a:lnTo>
                <a:lnTo>
                  <a:pt x="586" y="974"/>
                </a:lnTo>
                <a:lnTo>
                  <a:pt x="584" y="966"/>
                </a:lnTo>
                <a:lnTo>
                  <a:pt x="1156" y="966"/>
                </a:lnTo>
                <a:lnTo>
                  <a:pt x="1154" y="974"/>
                </a:lnTo>
                <a:lnTo>
                  <a:pt x="1150" y="982"/>
                </a:lnTo>
                <a:lnTo>
                  <a:pt x="1144" y="988"/>
                </a:lnTo>
                <a:lnTo>
                  <a:pt x="1138" y="994"/>
                </a:lnTo>
                <a:lnTo>
                  <a:pt x="1130" y="1000"/>
                </a:lnTo>
                <a:lnTo>
                  <a:pt x="1122" y="1004"/>
                </a:lnTo>
                <a:lnTo>
                  <a:pt x="1114" y="1006"/>
                </a:lnTo>
                <a:lnTo>
                  <a:pt x="1104" y="1006"/>
                </a:lnTo>
                <a:close/>
                <a:moveTo>
                  <a:pt x="1178" y="932"/>
                </a:moveTo>
                <a:lnTo>
                  <a:pt x="912" y="932"/>
                </a:lnTo>
                <a:lnTo>
                  <a:pt x="908" y="928"/>
                </a:lnTo>
                <a:lnTo>
                  <a:pt x="922" y="912"/>
                </a:lnTo>
                <a:lnTo>
                  <a:pt x="934" y="894"/>
                </a:lnTo>
                <a:lnTo>
                  <a:pt x="944" y="876"/>
                </a:lnTo>
                <a:lnTo>
                  <a:pt x="952" y="856"/>
                </a:lnTo>
                <a:lnTo>
                  <a:pt x="958" y="836"/>
                </a:lnTo>
                <a:lnTo>
                  <a:pt x="962" y="814"/>
                </a:lnTo>
                <a:lnTo>
                  <a:pt x="966" y="794"/>
                </a:lnTo>
                <a:lnTo>
                  <a:pt x="966" y="772"/>
                </a:lnTo>
                <a:lnTo>
                  <a:pt x="966" y="750"/>
                </a:lnTo>
                <a:lnTo>
                  <a:pt x="962" y="728"/>
                </a:lnTo>
                <a:lnTo>
                  <a:pt x="958" y="706"/>
                </a:lnTo>
                <a:lnTo>
                  <a:pt x="952" y="686"/>
                </a:lnTo>
                <a:lnTo>
                  <a:pt x="942" y="668"/>
                </a:lnTo>
                <a:lnTo>
                  <a:pt x="932" y="648"/>
                </a:lnTo>
                <a:lnTo>
                  <a:pt x="922" y="632"/>
                </a:lnTo>
                <a:lnTo>
                  <a:pt x="908" y="614"/>
                </a:lnTo>
                <a:lnTo>
                  <a:pt x="922" y="604"/>
                </a:lnTo>
                <a:lnTo>
                  <a:pt x="938" y="594"/>
                </a:lnTo>
                <a:lnTo>
                  <a:pt x="954" y="584"/>
                </a:lnTo>
                <a:lnTo>
                  <a:pt x="970" y="578"/>
                </a:lnTo>
                <a:lnTo>
                  <a:pt x="988" y="572"/>
                </a:lnTo>
                <a:lnTo>
                  <a:pt x="1006" y="566"/>
                </a:lnTo>
                <a:lnTo>
                  <a:pt x="1026" y="564"/>
                </a:lnTo>
                <a:lnTo>
                  <a:pt x="1044" y="564"/>
                </a:lnTo>
                <a:lnTo>
                  <a:pt x="1066" y="564"/>
                </a:lnTo>
                <a:lnTo>
                  <a:pt x="1086" y="568"/>
                </a:lnTo>
                <a:lnTo>
                  <a:pt x="1106" y="572"/>
                </a:lnTo>
                <a:lnTo>
                  <a:pt x="1126" y="580"/>
                </a:lnTo>
                <a:lnTo>
                  <a:pt x="1144" y="588"/>
                </a:lnTo>
                <a:lnTo>
                  <a:pt x="1162" y="600"/>
                </a:lnTo>
                <a:lnTo>
                  <a:pt x="1178" y="612"/>
                </a:lnTo>
                <a:lnTo>
                  <a:pt x="1192" y="624"/>
                </a:lnTo>
                <a:lnTo>
                  <a:pt x="1206" y="640"/>
                </a:lnTo>
                <a:lnTo>
                  <a:pt x="1218" y="656"/>
                </a:lnTo>
                <a:lnTo>
                  <a:pt x="1228" y="672"/>
                </a:lnTo>
                <a:lnTo>
                  <a:pt x="1236" y="690"/>
                </a:lnTo>
                <a:lnTo>
                  <a:pt x="1244" y="710"/>
                </a:lnTo>
                <a:lnTo>
                  <a:pt x="1248" y="730"/>
                </a:lnTo>
                <a:lnTo>
                  <a:pt x="1252" y="750"/>
                </a:lnTo>
                <a:lnTo>
                  <a:pt x="1254" y="772"/>
                </a:lnTo>
                <a:lnTo>
                  <a:pt x="1252" y="796"/>
                </a:lnTo>
                <a:lnTo>
                  <a:pt x="1248" y="818"/>
                </a:lnTo>
                <a:lnTo>
                  <a:pt x="1242" y="840"/>
                </a:lnTo>
                <a:lnTo>
                  <a:pt x="1232" y="862"/>
                </a:lnTo>
                <a:lnTo>
                  <a:pt x="1222" y="882"/>
                </a:lnTo>
                <a:lnTo>
                  <a:pt x="1210" y="900"/>
                </a:lnTo>
                <a:lnTo>
                  <a:pt x="1194" y="916"/>
                </a:lnTo>
                <a:lnTo>
                  <a:pt x="1178" y="932"/>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3" name="Freeform 25"/>
          <p:cNvSpPr>
            <a:spLocks/>
          </p:cNvSpPr>
          <p:nvPr userDrawn="1"/>
        </p:nvSpPr>
        <p:spPr bwMode="auto">
          <a:xfrm>
            <a:off x="3237951" y="5414560"/>
            <a:ext cx="1080000" cy="1080000"/>
          </a:xfrm>
          <a:custGeom>
            <a:avLst/>
            <a:gdLst>
              <a:gd name="T0" fmla="*/ 563278 w 1087200"/>
              <a:gd name="T1" fmla="*/ 644449 h 1087200"/>
              <a:gd name="T2" fmla="*/ 563278 w 1087200"/>
              <a:gd name="T3" fmla="*/ 709632 h 1087200"/>
              <a:gd name="T4" fmla="*/ 622311 w 1087200"/>
              <a:gd name="T5" fmla="*/ 732999 h 1087200"/>
              <a:gd name="T6" fmla="*/ 667816 w 1087200"/>
              <a:gd name="T7" fmla="*/ 688724 h 1087200"/>
              <a:gd name="T8" fmla="*/ 643219 w 1087200"/>
              <a:gd name="T9" fmla="*/ 628461 h 1087200"/>
              <a:gd name="T10" fmla="*/ 452589 w 1087200"/>
              <a:gd name="T11" fmla="*/ 623542 h 1087200"/>
              <a:gd name="T12" fmla="*/ 416923 w 1087200"/>
              <a:gd name="T13" fmla="*/ 676426 h 1087200"/>
              <a:gd name="T14" fmla="*/ 452589 w 1087200"/>
              <a:gd name="T15" fmla="*/ 730540 h 1087200"/>
              <a:gd name="T16" fmla="*/ 515312 w 1087200"/>
              <a:gd name="T17" fmla="*/ 718241 h 1087200"/>
              <a:gd name="T18" fmla="*/ 527611 w 1087200"/>
              <a:gd name="T19" fmla="*/ 654288 h 1087200"/>
              <a:gd name="T20" fmla="*/ 474726 w 1087200"/>
              <a:gd name="T21" fmla="*/ 618622 h 1087200"/>
              <a:gd name="T22" fmla="*/ 660436 w 1087200"/>
              <a:gd name="T23" fmla="*/ 606323 h 1087200"/>
              <a:gd name="T24" fmla="*/ 696102 w 1087200"/>
              <a:gd name="T25" fmla="*/ 664126 h 1087200"/>
              <a:gd name="T26" fmla="*/ 725619 w 1087200"/>
              <a:gd name="T27" fmla="*/ 665356 h 1087200"/>
              <a:gd name="T28" fmla="*/ 782193 w 1087200"/>
              <a:gd name="T29" fmla="*/ 669046 h 1087200"/>
              <a:gd name="T30" fmla="*/ 836307 w 1087200"/>
              <a:gd name="T31" fmla="*/ 641989 h 1087200"/>
              <a:gd name="T32" fmla="*/ 833847 w 1087200"/>
              <a:gd name="T33" fmla="*/ 566967 h 1087200"/>
              <a:gd name="T34" fmla="*/ 782193 w 1087200"/>
              <a:gd name="T35" fmla="*/ 539910 h 1087200"/>
              <a:gd name="T36" fmla="*/ 725619 w 1087200"/>
              <a:gd name="T37" fmla="*/ 544830 h 1087200"/>
              <a:gd name="T38" fmla="*/ 372648 w 1087200"/>
              <a:gd name="T39" fmla="*/ 538681 h 1087200"/>
              <a:gd name="T40" fmla="*/ 311155 w 1087200"/>
              <a:gd name="T41" fmla="*/ 543600 h 1087200"/>
              <a:gd name="T42" fmla="*/ 275489 w 1087200"/>
              <a:gd name="T43" fmla="*/ 555899 h 1087200"/>
              <a:gd name="T44" fmla="*/ 225064 w 1087200"/>
              <a:gd name="T45" fmla="*/ 630920 h 1087200"/>
              <a:gd name="T46" fmla="*/ 298856 w 1087200"/>
              <a:gd name="T47" fmla="*/ 672735 h 1087200"/>
              <a:gd name="T48" fmla="*/ 350510 w 1087200"/>
              <a:gd name="T49" fmla="*/ 661667 h 1087200"/>
              <a:gd name="T50" fmla="*/ 388636 w 1087200"/>
              <a:gd name="T51" fmla="*/ 676425 h 1087200"/>
              <a:gd name="T52" fmla="*/ 416923 w 1087200"/>
              <a:gd name="T53" fmla="*/ 612472 h 1087200"/>
              <a:gd name="T54" fmla="*/ 387406 w 1087200"/>
              <a:gd name="T55" fmla="*/ 525152 h 1087200"/>
              <a:gd name="T56" fmla="*/ 500554 w 1087200"/>
              <a:gd name="T57" fmla="*/ 537451 h 1087200"/>
              <a:gd name="T58" fmla="*/ 500554 w 1087200"/>
              <a:gd name="T59" fmla="*/ 595255 h 1087200"/>
              <a:gd name="T60" fmla="*/ 553438 w 1087200"/>
              <a:gd name="T61" fmla="*/ 616162 h 1087200"/>
              <a:gd name="T62" fmla="*/ 592794 w 1087200"/>
              <a:gd name="T63" fmla="*/ 576806 h 1087200"/>
              <a:gd name="T64" fmla="*/ 571887 w 1087200"/>
              <a:gd name="T65" fmla="*/ 523922 h 1087200"/>
              <a:gd name="T66" fmla="*/ 515313 w 1087200"/>
              <a:gd name="T67" fmla="*/ 286559 h 1087200"/>
              <a:gd name="T68" fmla="*/ 468578 w 1087200"/>
              <a:gd name="T69" fmla="*/ 356661 h 1087200"/>
              <a:gd name="T70" fmla="*/ 483336 w 1087200"/>
              <a:gd name="T71" fmla="*/ 393557 h 1087200"/>
              <a:gd name="T72" fmla="*/ 478416 w 1087200"/>
              <a:gd name="T73" fmla="*/ 451360 h 1087200"/>
              <a:gd name="T74" fmla="*/ 605093 w 1087200"/>
              <a:gd name="T75" fmla="*/ 453820 h 1087200"/>
              <a:gd name="T76" fmla="*/ 606323 w 1087200"/>
              <a:gd name="T77" fmla="*/ 404625 h 1087200"/>
              <a:gd name="T78" fmla="*/ 613702 w 1087200"/>
              <a:gd name="T79" fmla="*/ 362810 h 1087200"/>
              <a:gd name="T80" fmla="*/ 584185 w 1087200"/>
              <a:gd name="T81" fmla="*/ 312386 h 1087200"/>
              <a:gd name="T82" fmla="*/ 571887 w 1087200"/>
              <a:gd name="T83" fmla="*/ 0 h 1087200"/>
              <a:gd name="T84" fmla="*/ 730540 w 1087200"/>
              <a:gd name="T85" fmla="*/ 33206 h 1087200"/>
              <a:gd name="T86" fmla="*/ 869514 w 1087200"/>
              <a:gd name="T87" fmla="*/ 108228 h 1087200"/>
              <a:gd name="T88" fmla="*/ 978972 w 1087200"/>
              <a:gd name="T89" fmla="*/ 217686 h 1087200"/>
              <a:gd name="T90" fmla="*/ 1053994 w 1087200"/>
              <a:gd name="T91" fmla="*/ 356661 h 1087200"/>
              <a:gd name="T92" fmla="*/ 1087200 w 1087200"/>
              <a:gd name="T93" fmla="*/ 515313 h 1087200"/>
              <a:gd name="T94" fmla="*/ 1069982 w 1087200"/>
              <a:gd name="T95" fmla="*/ 678885 h 1087200"/>
              <a:gd name="T96" fmla="*/ 1008489 w 1087200"/>
              <a:gd name="T97" fmla="*/ 825239 h 1087200"/>
              <a:gd name="T98" fmla="*/ 908870 w 1087200"/>
              <a:gd name="T99" fmla="*/ 945766 h 1087200"/>
              <a:gd name="T100" fmla="*/ 779734 w 1087200"/>
              <a:gd name="T101" fmla="*/ 1033086 h 1087200"/>
              <a:gd name="T102" fmla="*/ 626001 w 1087200"/>
              <a:gd name="T103" fmla="*/ 1081051 h 1087200"/>
              <a:gd name="T104" fmla="*/ 461199 w 1087200"/>
              <a:gd name="T105" fmla="*/ 1081051 h 1087200"/>
              <a:gd name="T106" fmla="*/ 307466 w 1087200"/>
              <a:gd name="T107" fmla="*/ 1033086 h 1087200"/>
              <a:gd name="T108" fmla="*/ 178330 w 1087200"/>
              <a:gd name="T109" fmla="*/ 945766 h 1087200"/>
              <a:gd name="T110" fmla="*/ 78711 w 1087200"/>
              <a:gd name="T111" fmla="*/ 825239 h 1087200"/>
              <a:gd name="T112" fmla="*/ 17218 w 1087200"/>
              <a:gd name="T113" fmla="*/ 678885 h 1087200"/>
              <a:gd name="T114" fmla="*/ 1230 w 1087200"/>
              <a:gd name="T115" fmla="*/ 515313 h 1087200"/>
              <a:gd name="T116" fmla="*/ 33206 w 1087200"/>
              <a:gd name="T117" fmla="*/ 356661 h 1087200"/>
              <a:gd name="T118" fmla="*/ 108228 w 1087200"/>
              <a:gd name="T119" fmla="*/ 217686 h 1087200"/>
              <a:gd name="T120" fmla="*/ 218916 w 1087200"/>
              <a:gd name="T121" fmla="*/ 108228 h 1087200"/>
              <a:gd name="T122" fmla="*/ 356661 w 1087200"/>
              <a:gd name="T123" fmla="*/ 33206 h 1087200"/>
              <a:gd name="T124" fmla="*/ 515313 w 1087200"/>
              <a:gd name="T125"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611243" y="618622"/>
                </a:moveTo>
                <a:lnTo>
                  <a:pt x="598944" y="619852"/>
                </a:lnTo>
                <a:lnTo>
                  <a:pt x="589105" y="623542"/>
                </a:lnTo>
                <a:lnTo>
                  <a:pt x="579266" y="628461"/>
                </a:lnTo>
                <a:lnTo>
                  <a:pt x="570657" y="635840"/>
                </a:lnTo>
                <a:lnTo>
                  <a:pt x="563278" y="644449"/>
                </a:lnTo>
                <a:lnTo>
                  <a:pt x="558359" y="654288"/>
                </a:lnTo>
                <a:lnTo>
                  <a:pt x="554669" y="665357"/>
                </a:lnTo>
                <a:lnTo>
                  <a:pt x="553439" y="676426"/>
                </a:lnTo>
                <a:lnTo>
                  <a:pt x="554669" y="688724"/>
                </a:lnTo>
                <a:lnTo>
                  <a:pt x="558359" y="699793"/>
                </a:lnTo>
                <a:lnTo>
                  <a:pt x="563278" y="709632"/>
                </a:lnTo>
                <a:lnTo>
                  <a:pt x="570657" y="718241"/>
                </a:lnTo>
                <a:lnTo>
                  <a:pt x="579266" y="724390"/>
                </a:lnTo>
                <a:lnTo>
                  <a:pt x="589105" y="730540"/>
                </a:lnTo>
                <a:lnTo>
                  <a:pt x="598944" y="732999"/>
                </a:lnTo>
                <a:lnTo>
                  <a:pt x="611243" y="734229"/>
                </a:lnTo>
                <a:lnTo>
                  <a:pt x="622311" y="732999"/>
                </a:lnTo>
                <a:lnTo>
                  <a:pt x="633380" y="730540"/>
                </a:lnTo>
                <a:lnTo>
                  <a:pt x="643219" y="724390"/>
                </a:lnTo>
                <a:lnTo>
                  <a:pt x="651828" y="718241"/>
                </a:lnTo>
                <a:lnTo>
                  <a:pt x="659207" y="709632"/>
                </a:lnTo>
                <a:lnTo>
                  <a:pt x="664127" y="699793"/>
                </a:lnTo>
                <a:lnTo>
                  <a:pt x="667816" y="688724"/>
                </a:lnTo>
                <a:lnTo>
                  <a:pt x="669046" y="676426"/>
                </a:lnTo>
                <a:lnTo>
                  <a:pt x="667816" y="665357"/>
                </a:lnTo>
                <a:lnTo>
                  <a:pt x="664127" y="654288"/>
                </a:lnTo>
                <a:lnTo>
                  <a:pt x="659207" y="644449"/>
                </a:lnTo>
                <a:lnTo>
                  <a:pt x="651828" y="635840"/>
                </a:lnTo>
                <a:lnTo>
                  <a:pt x="643219" y="628461"/>
                </a:lnTo>
                <a:lnTo>
                  <a:pt x="633380" y="623542"/>
                </a:lnTo>
                <a:lnTo>
                  <a:pt x="622311" y="619852"/>
                </a:lnTo>
                <a:lnTo>
                  <a:pt x="611243" y="618622"/>
                </a:lnTo>
                <a:close/>
                <a:moveTo>
                  <a:pt x="474726" y="618622"/>
                </a:moveTo>
                <a:lnTo>
                  <a:pt x="463658" y="619852"/>
                </a:lnTo>
                <a:lnTo>
                  <a:pt x="452589" y="623542"/>
                </a:lnTo>
                <a:lnTo>
                  <a:pt x="442750" y="628461"/>
                </a:lnTo>
                <a:lnTo>
                  <a:pt x="434141" y="635840"/>
                </a:lnTo>
                <a:lnTo>
                  <a:pt x="426762" y="644449"/>
                </a:lnTo>
                <a:lnTo>
                  <a:pt x="421842" y="654288"/>
                </a:lnTo>
                <a:lnTo>
                  <a:pt x="418153" y="665357"/>
                </a:lnTo>
                <a:lnTo>
                  <a:pt x="416923" y="676426"/>
                </a:lnTo>
                <a:lnTo>
                  <a:pt x="418153" y="688724"/>
                </a:lnTo>
                <a:lnTo>
                  <a:pt x="421842" y="699793"/>
                </a:lnTo>
                <a:lnTo>
                  <a:pt x="426762" y="709632"/>
                </a:lnTo>
                <a:lnTo>
                  <a:pt x="434141" y="718241"/>
                </a:lnTo>
                <a:lnTo>
                  <a:pt x="442750" y="724390"/>
                </a:lnTo>
                <a:lnTo>
                  <a:pt x="452589" y="730540"/>
                </a:lnTo>
                <a:lnTo>
                  <a:pt x="463658" y="732999"/>
                </a:lnTo>
                <a:lnTo>
                  <a:pt x="474726" y="734229"/>
                </a:lnTo>
                <a:lnTo>
                  <a:pt x="487025" y="732999"/>
                </a:lnTo>
                <a:lnTo>
                  <a:pt x="496864" y="730540"/>
                </a:lnTo>
                <a:lnTo>
                  <a:pt x="506703" y="724390"/>
                </a:lnTo>
                <a:lnTo>
                  <a:pt x="515312" y="718241"/>
                </a:lnTo>
                <a:lnTo>
                  <a:pt x="522691" y="709632"/>
                </a:lnTo>
                <a:lnTo>
                  <a:pt x="527611" y="699793"/>
                </a:lnTo>
                <a:lnTo>
                  <a:pt x="531300" y="688724"/>
                </a:lnTo>
                <a:lnTo>
                  <a:pt x="532530" y="676426"/>
                </a:lnTo>
                <a:lnTo>
                  <a:pt x="531300" y="665357"/>
                </a:lnTo>
                <a:lnTo>
                  <a:pt x="527611" y="654288"/>
                </a:lnTo>
                <a:lnTo>
                  <a:pt x="522691" y="644449"/>
                </a:lnTo>
                <a:lnTo>
                  <a:pt x="515312" y="635840"/>
                </a:lnTo>
                <a:lnTo>
                  <a:pt x="506703" y="628461"/>
                </a:lnTo>
                <a:lnTo>
                  <a:pt x="496864" y="623542"/>
                </a:lnTo>
                <a:lnTo>
                  <a:pt x="487025" y="619852"/>
                </a:lnTo>
                <a:lnTo>
                  <a:pt x="474726" y="618622"/>
                </a:lnTo>
                <a:close/>
                <a:moveTo>
                  <a:pt x="699792" y="525152"/>
                </a:moveTo>
                <a:lnTo>
                  <a:pt x="688723" y="543600"/>
                </a:lnTo>
                <a:lnTo>
                  <a:pt x="676424" y="564508"/>
                </a:lnTo>
                <a:lnTo>
                  <a:pt x="662896" y="584185"/>
                </a:lnTo>
                <a:lnTo>
                  <a:pt x="650597" y="600174"/>
                </a:lnTo>
                <a:lnTo>
                  <a:pt x="660436" y="606323"/>
                </a:lnTo>
                <a:lnTo>
                  <a:pt x="669045" y="613702"/>
                </a:lnTo>
                <a:lnTo>
                  <a:pt x="677654" y="622311"/>
                </a:lnTo>
                <a:lnTo>
                  <a:pt x="683803" y="630920"/>
                </a:lnTo>
                <a:lnTo>
                  <a:pt x="689953" y="641989"/>
                </a:lnTo>
                <a:lnTo>
                  <a:pt x="693642" y="653058"/>
                </a:lnTo>
                <a:lnTo>
                  <a:pt x="696102" y="664126"/>
                </a:lnTo>
                <a:lnTo>
                  <a:pt x="697332" y="676425"/>
                </a:lnTo>
                <a:lnTo>
                  <a:pt x="697332" y="678885"/>
                </a:lnTo>
                <a:lnTo>
                  <a:pt x="699792" y="683804"/>
                </a:lnTo>
                <a:lnTo>
                  <a:pt x="705941" y="676425"/>
                </a:lnTo>
                <a:lnTo>
                  <a:pt x="715780" y="670276"/>
                </a:lnTo>
                <a:lnTo>
                  <a:pt x="725619" y="665356"/>
                </a:lnTo>
                <a:lnTo>
                  <a:pt x="737918" y="661667"/>
                </a:lnTo>
                <a:lnTo>
                  <a:pt x="750216" y="660437"/>
                </a:lnTo>
                <a:lnTo>
                  <a:pt x="762515" y="660437"/>
                </a:lnTo>
                <a:lnTo>
                  <a:pt x="769894" y="662897"/>
                </a:lnTo>
                <a:lnTo>
                  <a:pt x="776043" y="665356"/>
                </a:lnTo>
                <a:lnTo>
                  <a:pt x="782193" y="669046"/>
                </a:lnTo>
                <a:lnTo>
                  <a:pt x="788342" y="672735"/>
                </a:lnTo>
                <a:lnTo>
                  <a:pt x="790802" y="669046"/>
                </a:lnTo>
                <a:lnTo>
                  <a:pt x="795721" y="664126"/>
                </a:lnTo>
                <a:lnTo>
                  <a:pt x="803100" y="659207"/>
                </a:lnTo>
                <a:lnTo>
                  <a:pt x="812939" y="653058"/>
                </a:lnTo>
                <a:lnTo>
                  <a:pt x="836307" y="641989"/>
                </a:lnTo>
                <a:lnTo>
                  <a:pt x="862134" y="630920"/>
                </a:lnTo>
                <a:lnTo>
                  <a:pt x="910099" y="613702"/>
                </a:lnTo>
                <a:lnTo>
                  <a:pt x="932236" y="606323"/>
                </a:lnTo>
                <a:lnTo>
                  <a:pt x="907639" y="596484"/>
                </a:lnTo>
                <a:lnTo>
                  <a:pt x="859674" y="578036"/>
                </a:lnTo>
                <a:lnTo>
                  <a:pt x="833847" y="566967"/>
                </a:lnTo>
                <a:lnTo>
                  <a:pt x="811709" y="555899"/>
                </a:lnTo>
                <a:lnTo>
                  <a:pt x="803100" y="549749"/>
                </a:lnTo>
                <a:lnTo>
                  <a:pt x="795721" y="544830"/>
                </a:lnTo>
                <a:lnTo>
                  <a:pt x="790802" y="539910"/>
                </a:lnTo>
                <a:lnTo>
                  <a:pt x="788342" y="536221"/>
                </a:lnTo>
                <a:lnTo>
                  <a:pt x="782193" y="539910"/>
                </a:lnTo>
                <a:lnTo>
                  <a:pt x="776043" y="543600"/>
                </a:lnTo>
                <a:lnTo>
                  <a:pt x="768664" y="546060"/>
                </a:lnTo>
                <a:lnTo>
                  <a:pt x="762515" y="548519"/>
                </a:lnTo>
                <a:lnTo>
                  <a:pt x="750216" y="549749"/>
                </a:lnTo>
                <a:lnTo>
                  <a:pt x="736688" y="547290"/>
                </a:lnTo>
                <a:lnTo>
                  <a:pt x="725619" y="544830"/>
                </a:lnTo>
                <a:lnTo>
                  <a:pt x="714550" y="538681"/>
                </a:lnTo>
                <a:lnTo>
                  <a:pt x="705941" y="532531"/>
                </a:lnTo>
                <a:lnTo>
                  <a:pt x="699792" y="525152"/>
                </a:lnTo>
                <a:close/>
                <a:moveTo>
                  <a:pt x="387406" y="525152"/>
                </a:moveTo>
                <a:lnTo>
                  <a:pt x="381257" y="532531"/>
                </a:lnTo>
                <a:lnTo>
                  <a:pt x="372648" y="538681"/>
                </a:lnTo>
                <a:lnTo>
                  <a:pt x="361579" y="544830"/>
                </a:lnTo>
                <a:lnTo>
                  <a:pt x="350510" y="547290"/>
                </a:lnTo>
                <a:lnTo>
                  <a:pt x="336982" y="549749"/>
                </a:lnTo>
                <a:lnTo>
                  <a:pt x="324683" y="548519"/>
                </a:lnTo>
                <a:lnTo>
                  <a:pt x="318534" y="546060"/>
                </a:lnTo>
                <a:lnTo>
                  <a:pt x="311155" y="543600"/>
                </a:lnTo>
                <a:lnTo>
                  <a:pt x="305005" y="539910"/>
                </a:lnTo>
                <a:lnTo>
                  <a:pt x="298856" y="536221"/>
                </a:lnTo>
                <a:lnTo>
                  <a:pt x="296396" y="539910"/>
                </a:lnTo>
                <a:lnTo>
                  <a:pt x="291477" y="544830"/>
                </a:lnTo>
                <a:lnTo>
                  <a:pt x="284098" y="549749"/>
                </a:lnTo>
                <a:lnTo>
                  <a:pt x="275489" y="555899"/>
                </a:lnTo>
                <a:lnTo>
                  <a:pt x="253351" y="566967"/>
                </a:lnTo>
                <a:lnTo>
                  <a:pt x="227524" y="578036"/>
                </a:lnTo>
                <a:lnTo>
                  <a:pt x="180789" y="596484"/>
                </a:lnTo>
                <a:lnTo>
                  <a:pt x="154962" y="606323"/>
                </a:lnTo>
                <a:lnTo>
                  <a:pt x="177099" y="613702"/>
                </a:lnTo>
                <a:lnTo>
                  <a:pt x="225064" y="630920"/>
                </a:lnTo>
                <a:lnTo>
                  <a:pt x="250891" y="641989"/>
                </a:lnTo>
                <a:lnTo>
                  <a:pt x="274259" y="653058"/>
                </a:lnTo>
                <a:lnTo>
                  <a:pt x="284098" y="659207"/>
                </a:lnTo>
                <a:lnTo>
                  <a:pt x="291477" y="664126"/>
                </a:lnTo>
                <a:lnTo>
                  <a:pt x="296396" y="669046"/>
                </a:lnTo>
                <a:lnTo>
                  <a:pt x="298856" y="672735"/>
                </a:lnTo>
                <a:lnTo>
                  <a:pt x="305005" y="669046"/>
                </a:lnTo>
                <a:lnTo>
                  <a:pt x="311155" y="665356"/>
                </a:lnTo>
                <a:lnTo>
                  <a:pt x="318534" y="662897"/>
                </a:lnTo>
                <a:lnTo>
                  <a:pt x="324683" y="660437"/>
                </a:lnTo>
                <a:lnTo>
                  <a:pt x="336982" y="660437"/>
                </a:lnTo>
                <a:lnTo>
                  <a:pt x="350510" y="661667"/>
                </a:lnTo>
                <a:lnTo>
                  <a:pt x="361579" y="665356"/>
                </a:lnTo>
                <a:lnTo>
                  <a:pt x="372648" y="670276"/>
                </a:lnTo>
                <a:lnTo>
                  <a:pt x="381257" y="676425"/>
                </a:lnTo>
                <a:lnTo>
                  <a:pt x="387406" y="683804"/>
                </a:lnTo>
                <a:lnTo>
                  <a:pt x="388636" y="681344"/>
                </a:lnTo>
                <a:lnTo>
                  <a:pt x="388636" y="676425"/>
                </a:lnTo>
                <a:lnTo>
                  <a:pt x="389866" y="664126"/>
                </a:lnTo>
                <a:lnTo>
                  <a:pt x="392326" y="651828"/>
                </a:lnTo>
                <a:lnTo>
                  <a:pt x="396015" y="640759"/>
                </a:lnTo>
                <a:lnTo>
                  <a:pt x="402165" y="630920"/>
                </a:lnTo>
                <a:lnTo>
                  <a:pt x="409544" y="621081"/>
                </a:lnTo>
                <a:lnTo>
                  <a:pt x="416923" y="612472"/>
                </a:lnTo>
                <a:lnTo>
                  <a:pt x="426762" y="605093"/>
                </a:lnTo>
                <a:lnTo>
                  <a:pt x="436601" y="598944"/>
                </a:lnTo>
                <a:lnTo>
                  <a:pt x="424302" y="582956"/>
                </a:lnTo>
                <a:lnTo>
                  <a:pt x="410774" y="563278"/>
                </a:lnTo>
                <a:lnTo>
                  <a:pt x="398475" y="543600"/>
                </a:lnTo>
                <a:lnTo>
                  <a:pt x="387406" y="525152"/>
                </a:lnTo>
                <a:close/>
                <a:moveTo>
                  <a:pt x="542370" y="515313"/>
                </a:moveTo>
                <a:lnTo>
                  <a:pt x="532531" y="516543"/>
                </a:lnTo>
                <a:lnTo>
                  <a:pt x="522692" y="519003"/>
                </a:lnTo>
                <a:lnTo>
                  <a:pt x="514083" y="523922"/>
                </a:lnTo>
                <a:lnTo>
                  <a:pt x="506704" y="530072"/>
                </a:lnTo>
                <a:lnTo>
                  <a:pt x="500554" y="537451"/>
                </a:lnTo>
                <a:lnTo>
                  <a:pt x="495635" y="546060"/>
                </a:lnTo>
                <a:lnTo>
                  <a:pt x="493175" y="555899"/>
                </a:lnTo>
                <a:lnTo>
                  <a:pt x="491945" y="565738"/>
                </a:lnTo>
                <a:lnTo>
                  <a:pt x="493175" y="576806"/>
                </a:lnTo>
                <a:lnTo>
                  <a:pt x="495635" y="586645"/>
                </a:lnTo>
                <a:lnTo>
                  <a:pt x="500554" y="595255"/>
                </a:lnTo>
                <a:lnTo>
                  <a:pt x="506704" y="602634"/>
                </a:lnTo>
                <a:lnTo>
                  <a:pt x="514083" y="608783"/>
                </a:lnTo>
                <a:lnTo>
                  <a:pt x="522692" y="613703"/>
                </a:lnTo>
                <a:lnTo>
                  <a:pt x="532531" y="616162"/>
                </a:lnTo>
                <a:lnTo>
                  <a:pt x="542370" y="617392"/>
                </a:lnTo>
                <a:lnTo>
                  <a:pt x="553438" y="616162"/>
                </a:lnTo>
                <a:lnTo>
                  <a:pt x="562048" y="613703"/>
                </a:lnTo>
                <a:lnTo>
                  <a:pt x="571887" y="608783"/>
                </a:lnTo>
                <a:lnTo>
                  <a:pt x="579266" y="602634"/>
                </a:lnTo>
                <a:lnTo>
                  <a:pt x="585415" y="595255"/>
                </a:lnTo>
                <a:lnTo>
                  <a:pt x="590335" y="586645"/>
                </a:lnTo>
                <a:lnTo>
                  <a:pt x="592794" y="576806"/>
                </a:lnTo>
                <a:lnTo>
                  <a:pt x="594024" y="565738"/>
                </a:lnTo>
                <a:lnTo>
                  <a:pt x="592794" y="555899"/>
                </a:lnTo>
                <a:lnTo>
                  <a:pt x="590335" y="546060"/>
                </a:lnTo>
                <a:lnTo>
                  <a:pt x="585415" y="537451"/>
                </a:lnTo>
                <a:lnTo>
                  <a:pt x="579266" y="530072"/>
                </a:lnTo>
                <a:lnTo>
                  <a:pt x="571887" y="523922"/>
                </a:lnTo>
                <a:lnTo>
                  <a:pt x="562048" y="519003"/>
                </a:lnTo>
                <a:lnTo>
                  <a:pt x="553438" y="516543"/>
                </a:lnTo>
                <a:lnTo>
                  <a:pt x="542370" y="515313"/>
                </a:lnTo>
                <a:close/>
                <a:moveTo>
                  <a:pt x="543600" y="220146"/>
                </a:moveTo>
                <a:lnTo>
                  <a:pt x="534991" y="241054"/>
                </a:lnTo>
                <a:lnTo>
                  <a:pt x="515313" y="286559"/>
                </a:lnTo>
                <a:lnTo>
                  <a:pt x="503014" y="312386"/>
                </a:lnTo>
                <a:lnTo>
                  <a:pt x="490715" y="334523"/>
                </a:lnTo>
                <a:lnTo>
                  <a:pt x="484566" y="343132"/>
                </a:lnTo>
                <a:lnTo>
                  <a:pt x="478416" y="350511"/>
                </a:lnTo>
                <a:lnTo>
                  <a:pt x="473497" y="355431"/>
                </a:lnTo>
                <a:lnTo>
                  <a:pt x="468578" y="356661"/>
                </a:lnTo>
                <a:lnTo>
                  <a:pt x="473497" y="362810"/>
                </a:lnTo>
                <a:lnTo>
                  <a:pt x="477187" y="368959"/>
                </a:lnTo>
                <a:lnTo>
                  <a:pt x="479646" y="375109"/>
                </a:lnTo>
                <a:lnTo>
                  <a:pt x="482106" y="381258"/>
                </a:lnTo>
                <a:lnTo>
                  <a:pt x="482106" y="387407"/>
                </a:lnTo>
                <a:lnTo>
                  <a:pt x="483336" y="393557"/>
                </a:lnTo>
                <a:lnTo>
                  <a:pt x="480876" y="404625"/>
                </a:lnTo>
                <a:lnTo>
                  <a:pt x="477187" y="415694"/>
                </a:lnTo>
                <a:lnTo>
                  <a:pt x="471037" y="425533"/>
                </a:lnTo>
                <a:lnTo>
                  <a:pt x="463658" y="434142"/>
                </a:lnTo>
                <a:lnTo>
                  <a:pt x="456279" y="440291"/>
                </a:lnTo>
                <a:lnTo>
                  <a:pt x="478416" y="451360"/>
                </a:lnTo>
                <a:lnTo>
                  <a:pt x="504244" y="464889"/>
                </a:lnTo>
                <a:lnTo>
                  <a:pt x="527611" y="479647"/>
                </a:lnTo>
                <a:lnTo>
                  <a:pt x="536220" y="485796"/>
                </a:lnTo>
                <a:lnTo>
                  <a:pt x="543600" y="490716"/>
                </a:lnTo>
                <a:lnTo>
                  <a:pt x="575576" y="469808"/>
                </a:lnTo>
                <a:lnTo>
                  <a:pt x="605093" y="453820"/>
                </a:lnTo>
                <a:lnTo>
                  <a:pt x="618621" y="446441"/>
                </a:lnTo>
                <a:lnTo>
                  <a:pt x="630920" y="440291"/>
                </a:lnTo>
                <a:lnTo>
                  <a:pt x="623541" y="434142"/>
                </a:lnTo>
                <a:lnTo>
                  <a:pt x="616162" y="425533"/>
                </a:lnTo>
                <a:lnTo>
                  <a:pt x="610012" y="415694"/>
                </a:lnTo>
                <a:lnTo>
                  <a:pt x="606323" y="404625"/>
                </a:lnTo>
                <a:lnTo>
                  <a:pt x="603863" y="393557"/>
                </a:lnTo>
                <a:lnTo>
                  <a:pt x="605093" y="387407"/>
                </a:lnTo>
                <a:lnTo>
                  <a:pt x="606323" y="381258"/>
                </a:lnTo>
                <a:lnTo>
                  <a:pt x="607553" y="375109"/>
                </a:lnTo>
                <a:lnTo>
                  <a:pt x="610012" y="368959"/>
                </a:lnTo>
                <a:lnTo>
                  <a:pt x="613702" y="362810"/>
                </a:lnTo>
                <a:lnTo>
                  <a:pt x="618621" y="356661"/>
                </a:lnTo>
                <a:lnTo>
                  <a:pt x="613702" y="355431"/>
                </a:lnTo>
                <a:lnTo>
                  <a:pt x="608783" y="350511"/>
                </a:lnTo>
                <a:lnTo>
                  <a:pt x="602633" y="343132"/>
                </a:lnTo>
                <a:lnTo>
                  <a:pt x="596484" y="334523"/>
                </a:lnTo>
                <a:lnTo>
                  <a:pt x="584185" y="312386"/>
                </a:lnTo>
                <a:lnTo>
                  <a:pt x="571887" y="286559"/>
                </a:lnTo>
                <a:lnTo>
                  <a:pt x="552209" y="241054"/>
                </a:lnTo>
                <a:lnTo>
                  <a:pt x="543600" y="220146"/>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5"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5"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4" name="Freeform 31"/>
          <p:cNvSpPr>
            <a:spLocks/>
          </p:cNvSpPr>
          <p:nvPr userDrawn="1"/>
        </p:nvSpPr>
        <p:spPr bwMode="auto">
          <a:xfrm>
            <a:off x="4715544" y="5414560"/>
            <a:ext cx="1080000" cy="1080000"/>
          </a:xfrm>
          <a:custGeom>
            <a:avLst/>
            <a:gdLst>
              <a:gd name="T0" fmla="*/ 367730 w 1087200"/>
              <a:gd name="T1" fmla="*/ 824009 h 1087200"/>
              <a:gd name="T2" fmla="*/ 453821 w 1087200"/>
              <a:gd name="T3" fmla="*/ 879353 h 1087200"/>
              <a:gd name="T4" fmla="*/ 542371 w 1087200"/>
              <a:gd name="T5" fmla="*/ 895341 h 1087200"/>
              <a:gd name="T6" fmla="*/ 630922 w 1087200"/>
              <a:gd name="T7" fmla="*/ 879353 h 1087200"/>
              <a:gd name="T8" fmla="*/ 717012 w 1087200"/>
              <a:gd name="T9" fmla="*/ 824009 h 1087200"/>
              <a:gd name="T10" fmla="*/ 314846 w 1087200"/>
              <a:gd name="T11" fmla="*/ 753907 h 1087200"/>
              <a:gd name="T12" fmla="*/ 275490 w 1087200"/>
              <a:gd name="T13" fmla="*/ 614932 h 1087200"/>
              <a:gd name="T14" fmla="*/ 297628 w 1087200"/>
              <a:gd name="T15" fmla="*/ 717010 h 1087200"/>
              <a:gd name="T16" fmla="*/ 803102 w 1087200"/>
              <a:gd name="T17" fmla="*/ 660436 h 1087200"/>
              <a:gd name="T18" fmla="*/ 805562 w 1087200"/>
              <a:gd name="T19" fmla="*/ 534991 h 1087200"/>
              <a:gd name="T20" fmla="*/ 734229 w 1087200"/>
              <a:gd name="T21" fmla="*/ 387408 h 1087200"/>
              <a:gd name="T22" fmla="*/ 751447 w 1087200"/>
              <a:gd name="T23" fmla="*/ 414465 h 1087200"/>
              <a:gd name="T24" fmla="*/ 734229 w 1087200"/>
              <a:gd name="T25" fmla="*/ 440292 h 1087200"/>
              <a:gd name="T26" fmla="*/ 702252 w 1087200"/>
              <a:gd name="T27" fmla="*/ 434143 h 1087200"/>
              <a:gd name="T28" fmla="*/ 696103 w 1087200"/>
              <a:gd name="T29" fmla="*/ 402166 h 1087200"/>
              <a:gd name="T30" fmla="*/ 596485 w 1087200"/>
              <a:gd name="T31" fmla="*/ 384948 h 1087200"/>
              <a:gd name="T32" fmla="*/ 626002 w 1087200"/>
              <a:gd name="T33" fmla="*/ 397247 h 1087200"/>
              <a:gd name="T34" fmla="*/ 626002 w 1087200"/>
              <a:gd name="T35" fmla="*/ 430453 h 1087200"/>
              <a:gd name="T36" fmla="*/ 596485 w 1087200"/>
              <a:gd name="T37" fmla="*/ 442752 h 1087200"/>
              <a:gd name="T38" fmla="*/ 574347 w 1087200"/>
              <a:gd name="T39" fmla="*/ 419385 h 1087200"/>
              <a:gd name="T40" fmla="*/ 586646 w 1087200"/>
              <a:gd name="T41" fmla="*/ 389868 h 1087200"/>
              <a:gd name="T42" fmla="*/ 494406 w 1087200"/>
              <a:gd name="T43" fmla="*/ 387408 h 1087200"/>
              <a:gd name="T44" fmla="*/ 511624 w 1087200"/>
              <a:gd name="T45" fmla="*/ 414465 h 1087200"/>
              <a:gd name="T46" fmla="*/ 494406 w 1087200"/>
              <a:gd name="T47" fmla="*/ 440292 h 1087200"/>
              <a:gd name="T48" fmla="*/ 462429 w 1087200"/>
              <a:gd name="T49" fmla="*/ 434143 h 1087200"/>
              <a:gd name="T50" fmla="*/ 456280 w 1087200"/>
              <a:gd name="T51" fmla="*/ 402166 h 1087200"/>
              <a:gd name="T52" fmla="*/ 356661 w 1087200"/>
              <a:gd name="T53" fmla="*/ 384948 h 1087200"/>
              <a:gd name="T54" fmla="*/ 386178 w 1087200"/>
              <a:gd name="T55" fmla="*/ 397247 h 1087200"/>
              <a:gd name="T56" fmla="*/ 386178 w 1087200"/>
              <a:gd name="T57" fmla="*/ 430453 h 1087200"/>
              <a:gd name="T58" fmla="*/ 356661 w 1087200"/>
              <a:gd name="T59" fmla="*/ 442752 h 1087200"/>
              <a:gd name="T60" fmla="*/ 334523 w 1087200"/>
              <a:gd name="T61" fmla="*/ 419385 h 1087200"/>
              <a:gd name="T62" fmla="*/ 346822 w 1087200"/>
              <a:gd name="T63" fmla="*/ 389868 h 1087200"/>
              <a:gd name="T64" fmla="*/ 308696 w 1087200"/>
              <a:gd name="T65" fmla="*/ 420614 h 1087200"/>
              <a:gd name="T66" fmla="*/ 782194 w 1087200"/>
              <a:gd name="T67" fmla="*/ 434142 h 1087200"/>
              <a:gd name="T68" fmla="*/ 542370 w 1087200"/>
              <a:gd name="T69" fmla="*/ 206617 h 1087200"/>
              <a:gd name="T70" fmla="*/ 432913 w 1087200"/>
              <a:gd name="T71" fmla="*/ 243513 h 1087200"/>
              <a:gd name="T72" fmla="*/ 721930 w 1087200"/>
              <a:gd name="T73" fmla="*/ 316075 h 1087200"/>
              <a:gd name="T74" fmla="*/ 634610 w 1087200"/>
              <a:gd name="T75" fmla="*/ 232444 h 1087200"/>
              <a:gd name="T76" fmla="*/ 515313 w 1087200"/>
              <a:gd name="T77" fmla="*/ 0 h 1087200"/>
              <a:gd name="T78" fmla="*/ 680115 w 1087200"/>
              <a:gd name="T79" fmla="*/ 17218 h 1087200"/>
              <a:gd name="T80" fmla="*/ 825239 w 1087200"/>
              <a:gd name="T81" fmla="*/ 78711 h 1087200"/>
              <a:gd name="T82" fmla="*/ 945766 w 1087200"/>
              <a:gd name="T83" fmla="*/ 178330 h 1087200"/>
              <a:gd name="T84" fmla="*/ 1033086 w 1087200"/>
              <a:gd name="T85" fmla="*/ 307466 h 1087200"/>
              <a:gd name="T86" fmla="*/ 1081051 w 1087200"/>
              <a:gd name="T87" fmla="*/ 461199 h 1087200"/>
              <a:gd name="T88" fmla="*/ 1081051 w 1087200"/>
              <a:gd name="T89" fmla="*/ 626001 h 1087200"/>
              <a:gd name="T90" fmla="*/ 1033086 w 1087200"/>
              <a:gd name="T91" fmla="*/ 779734 h 1087200"/>
              <a:gd name="T92" fmla="*/ 945766 w 1087200"/>
              <a:gd name="T93" fmla="*/ 908870 h 1087200"/>
              <a:gd name="T94" fmla="*/ 825239 w 1087200"/>
              <a:gd name="T95" fmla="*/ 1008489 h 1087200"/>
              <a:gd name="T96" fmla="*/ 680115 w 1087200"/>
              <a:gd name="T97" fmla="*/ 1069982 h 1087200"/>
              <a:gd name="T98" fmla="*/ 515313 w 1087200"/>
              <a:gd name="T99" fmla="*/ 1085970 h 1087200"/>
              <a:gd name="T100" fmla="*/ 356661 w 1087200"/>
              <a:gd name="T101" fmla="*/ 1053994 h 1087200"/>
              <a:gd name="T102" fmla="*/ 218916 w 1087200"/>
              <a:gd name="T103" fmla="*/ 978972 h 1087200"/>
              <a:gd name="T104" fmla="*/ 108228 w 1087200"/>
              <a:gd name="T105" fmla="*/ 868284 h 1087200"/>
              <a:gd name="T106" fmla="*/ 33207 w 1087200"/>
              <a:gd name="T107" fmla="*/ 730540 h 1087200"/>
              <a:gd name="T108" fmla="*/ 1230 w 1087200"/>
              <a:gd name="T109" fmla="*/ 571887 h 1087200"/>
              <a:gd name="T110" fmla="*/ 17218 w 1087200"/>
              <a:gd name="T111" fmla="*/ 407085 h 1087200"/>
              <a:gd name="T112" fmla="*/ 78712 w 1087200"/>
              <a:gd name="T113" fmla="*/ 261961 h 1087200"/>
              <a:gd name="T114" fmla="*/ 178331 w 1087200"/>
              <a:gd name="T115" fmla="*/ 141434 h 1087200"/>
              <a:gd name="T116" fmla="*/ 307466 w 1087200"/>
              <a:gd name="T117" fmla="*/ 54114 h 1087200"/>
              <a:gd name="T118" fmla="*/ 461199 w 1087200"/>
              <a:gd name="T119"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7200" h="1087200">
                <a:moveTo>
                  <a:pt x="314846" y="753907"/>
                </a:moveTo>
                <a:lnTo>
                  <a:pt x="324685" y="769895"/>
                </a:lnTo>
                <a:lnTo>
                  <a:pt x="334524" y="784654"/>
                </a:lnTo>
                <a:lnTo>
                  <a:pt x="344363" y="798182"/>
                </a:lnTo>
                <a:lnTo>
                  <a:pt x="355432" y="811711"/>
                </a:lnTo>
                <a:lnTo>
                  <a:pt x="367730" y="824009"/>
                </a:lnTo>
                <a:lnTo>
                  <a:pt x="380029" y="836308"/>
                </a:lnTo>
                <a:lnTo>
                  <a:pt x="393558" y="847377"/>
                </a:lnTo>
                <a:lnTo>
                  <a:pt x="408316" y="857215"/>
                </a:lnTo>
                <a:lnTo>
                  <a:pt x="423074" y="865824"/>
                </a:lnTo>
                <a:lnTo>
                  <a:pt x="437833" y="873204"/>
                </a:lnTo>
                <a:lnTo>
                  <a:pt x="453821" y="879353"/>
                </a:lnTo>
                <a:lnTo>
                  <a:pt x="469809" y="885502"/>
                </a:lnTo>
                <a:lnTo>
                  <a:pt x="487027" y="890422"/>
                </a:lnTo>
                <a:lnTo>
                  <a:pt x="504245" y="892881"/>
                </a:lnTo>
                <a:lnTo>
                  <a:pt x="521464" y="895341"/>
                </a:lnTo>
                <a:lnTo>
                  <a:pt x="539912" y="895341"/>
                </a:lnTo>
                <a:lnTo>
                  <a:pt x="542371" y="895341"/>
                </a:lnTo>
                <a:lnTo>
                  <a:pt x="544831" y="895341"/>
                </a:lnTo>
                <a:lnTo>
                  <a:pt x="563279" y="895341"/>
                </a:lnTo>
                <a:lnTo>
                  <a:pt x="580497" y="892881"/>
                </a:lnTo>
                <a:lnTo>
                  <a:pt x="597715" y="890422"/>
                </a:lnTo>
                <a:lnTo>
                  <a:pt x="614933" y="885502"/>
                </a:lnTo>
                <a:lnTo>
                  <a:pt x="630922" y="879353"/>
                </a:lnTo>
                <a:lnTo>
                  <a:pt x="646910" y="873204"/>
                </a:lnTo>
                <a:lnTo>
                  <a:pt x="661668" y="865824"/>
                </a:lnTo>
                <a:lnTo>
                  <a:pt x="676427" y="857215"/>
                </a:lnTo>
                <a:lnTo>
                  <a:pt x="691185" y="847377"/>
                </a:lnTo>
                <a:lnTo>
                  <a:pt x="704713" y="836308"/>
                </a:lnTo>
                <a:lnTo>
                  <a:pt x="717012" y="824009"/>
                </a:lnTo>
                <a:lnTo>
                  <a:pt x="729311" y="811711"/>
                </a:lnTo>
                <a:lnTo>
                  <a:pt x="740379" y="798182"/>
                </a:lnTo>
                <a:lnTo>
                  <a:pt x="751448" y="784654"/>
                </a:lnTo>
                <a:lnTo>
                  <a:pt x="761287" y="769895"/>
                </a:lnTo>
                <a:lnTo>
                  <a:pt x="769896" y="753907"/>
                </a:lnTo>
                <a:lnTo>
                  <a:pt x="314846" y="753907"/>
                </a:lnTo>
                <a:close/>
                <a:moveTo>
                  <a:pt x="282869" y="511623"/>
                </a:moveTo>
                <a:lnTo>
                  <a:pt x="279180" y="534991"/>
                </a:lnTo>
                <a:lnTo>
                  <a:pt x="276720" y="557128"/>
                </a:lnTo>
                <a:lnTo>
                  <a:pt x="275490" y="576806"/>
                </a:lnTo>
                <a:lnTo>
                  <a:pt x="275490" y="596484"/>
                </a:lnTo>
                <a:lnTo>
                  <a:pt x="275490" y="614932"/>
                </a:lnTo>
                <a:lnTo>
                  <a:pt x="277950" y="630920"/>
                </a:lnTo>
                <a:lnTo>
                  <a:pt x="281640" y="660436"/>
                </a:lnTo>
                <a:lnTo>
                  <a:pt x="286559" y="683804"/>
                </a:lnTo>
                <a:lnTo>
                  <a:pt x="291478" y="701022"/>
                </a:lnTo>
                <a:lnTo>
                  <a:pt x="297628" y="715780"/>
                </a:lnTo>
                <a:lnTo>
                  <a:pt x="297628" y="717010"/>
                </a:lnTo>
                <a:lnTo>
                  <a:pt x="787114" y="717010"/>
                </a:lnTo>
                <a:lnTo>
                  <a:pt x="787114" y="715780"/>
                </a:lnTo>
                <a:lnTo>
                  <a:pt x="788344" y="715780"/>
                </a:lnTo>
                <a:lnTo>
                  <a:pt x="793263" y="701022"/>
                </a:lnTo>
                <a:lnTo>
                  <a:pt x="798182" y="683804"/>
                </a:lnTo>
                <a:lnTo>
                  <a:pt x="803102" y="660436"/>
                </a:lnTo>
                <a:lnTo>
                  <a:pt x="808021" y="630920"/>
                </a:lnTo>
                <a:lnTo>
                  <a:pt x="809251" y="614932"/>
                </a:lnTo>
                <a:lnTo>
                  <a:pt x="809251" y="596484"/>
                </a:lnTo>
                <a:lnTo>
                  <a:pt x="809251" y="576806"/>
                </a:lnTo>
                <a:lnTo>
                  <a:pt x="808021" y="557128"/>
                </a:lnTo>
                <a:lnTo>
                  <a:pt x="805562" y="534991"/>
                </a:lnTo>
                <a:lnTo>
                  <a:pt x="801872" y="511623"/>
                </a:lnTo>
                <a:lnTo>
                  <a:pt x="282869" y="511623"/>
                </a:lnTo>
                <a:close/>
                <a:moveTo>
                  <a:pt x="717011" y="384948"/>
                </a:moveTo>
                <a:lnTo>
                  <a:pt x="721930" y="384948"/>
                </a:lnTo>
                <a:lnTo>
                  <a:pt x="728080" y="384948"/>
                </a:lnTo>
                <a:lnTo>
                  <a:pt x="734229" y="387408"/>
                </a:lnTo>
                <a:lnTo>
                  <a:pt x="739149" y="389868"/>
                </a:lnTo>
                <a:lnTo>
                  <a:pt x="742838" y="393557"/>
                </a:lnTo>
                <a:lnTo>
                  <a:pt x="746528" y="397247"/>
                </a:lnTo>
                <a:lnTo>
                  <a:pt x="748988" y="402166"/>
                </a:lnTo>
                <a:lnTo>
                  <a:pt x="751447" y="408316"/>
                </a:lnTo>
                <a:lnTo>
                  <a:pt x="751447" y="414465"/>
                </a:lnTo>
                <a:lnTo>
                  <a:pt x="751447" y="419385"/>
                </a:lnTo>
                <a:lnTo>
                  <a:pt x="748988" y="425534"/>
                </a:lnTo>
                <a:lnTo>
                  <a:pt x="746528" y="430453"/>
                </a:lnTo>
                <a:lnTo>
                  <a:pt x="742838" y="434143"/>
                </a:lnTo>
                <a:lnTo>
                  <a:pt x="739149" y="437833"/>
                </a:lnTo>
                <a:lnTo>
                  <a:pt x="734229" y="440292"/>
                </a:lnTo>
                <a:lnTo>
                  <a:pt x="728080" y="442752"/>
                </a:lnTo>
                <a:lnTo>
                  <a:pt x="721930" y="442752"/>
                </a:lnTo>
                <a:lnTo>
                  <a:pt x="717011" y="442752"/>
                </a:lnTo>
                <a:lnTo>
                  <a:pt x="710861" y="440292"/>
                </a:lnTo>
                <a:lnTo>
                  <a:pt x="705942" y="437833"/>
                </a:lnTo>
                <a:lnTo>
                  <a:pt x="702252" y="434143"/>
                </a:lnTo>
                <a:lnTo>
                  <a:pt x="698563" y="430453"/>
                </a:lnTo>
                <a:lnTo>
                  <a:pt x="696103" y="425534"/>
                </a:lnTo>
                <a:lnTo>
                  <a:pt x="693643" y="419385"/>
                </a:lnTo>
                <a:lnTo>
                  <a:pt x="693643" y="414465"/>
                </a:lnTo>
                <a:lnTo>
                  <a:pt x="693643" y="408316"/>
                </a:lnTo>
                <a:lnTo>
                  <a:pt x="696103" y="402166"/>
                </a:lnTo>
                <a:lnTo>
                  <a:pt x="698563" y="397247"/>
                </a:lnTo>
                <a:lnTo>
                  <a:pt x="702252" y="393557"/>
                </a:lnTo>
                <a:lnTo>
                  <a:pt x="705942" y="389868"/>
                </a:lnTo>
                <a:lnTo>
                  <a:pt x="710861" y="387408"/>
                </a:lnTo>
                <a:lnTo>
                  <a:pt x="717011" y="384948"/>
                </a:lnTo>
                <a:close/>
                <a:moveTo>
                  <a:pt x="596485" y="384948"/>
                </a:moveTo>
                <a:lnTo>
                  <a:pt x="602634" y="384948"/>
                </a:lnTo>
                <a:lnTo>
                  <a:pt x="608784" y="384948"/>
                </a:lnTo>
                <a:lnTo>
                  <a:pt x="613703" y="387408"/>
                </a:lnTo>
                <a:lnTo>
                  <a:pt x="618623" y="389868"/>
                </a:lnTo>
                <a:lnTo>
                  <a:pt x="623542" y="393557"/>
                </a:lnTo>
                <a:lnTo>
                  <a:pt x="626002" y="397247"/>
                </a:lnTo>
                <a:lnTo>
                  <a:pt x="629691" y="402166"/>
                </a:lnTo>
                <a:lnTo>
                  <a:pt x="630921" y="408316"/>
                </a:lnTo>
                <a:lnTo>
                  <a:pt x="630921" y="414465"/>
                </a:lnTo>
                <a:lnTo>
                  <a:pt x="630921" y="419385"/>
                </a:lnTo>
                <a:lnTo>
                  <a:pt x="629691" y="425534"/>
                </a:lnTo>
                <a:lnTo>
                  <a:pt x="626002" y="430453"/>
                </a:lnTo>
                <a:lnTo>
                  <a:pt x="623542" y="434143"/>
                </a:lnTo>
                <a:lnTo>
                  <a:pt x="618623" y="437833"/>
                </a:lnTo>
                <a:lnTo>
                  <a:pt x="613703" y="440292"/>
                </a:lnTo>
                <a:lnTo>
                  <a:pt x="608784" y="442752"/>
                </a:lnTo>
                <a:lnTo>
                  <a:pt x="602634" y="442752"/>
                </a:lnTo>
                <a:lnTo>
                  <a:pt x="596485" y="442752"/>
                </a:lnTo>
                <a:lnTo>
                  <a:pt x="591565" y="440292"/>
                </a:lnTo>
                <a:lnTo>
                  <a:pt x="586646" y="437833"/>
                </a:lnTo>
                <a:lnTo>
                  <a:pt x="581726" y="434143"/>
                </a:lnTo>
                <a:lnTo>
                  <a:pt x="578037" y="430453"/>
                </a:lnTo>
                <a:lnTo>
                  <a:pt x="575577" y="425534"/>
                </a:lnTo>
                <a:lnTo>
                  <a:pt x="574347" y="419385"/>
                </a:lnTo>
                <a:lnTo>
                  <a:pt x="573117" y="414465"/>
                </a:lnTo>
                <a:lnTo>
                  <a:pt x="574347" y="408316"/>
                </a:lnTo>
                <a:lnTo>
                  <a:pt x="575577" y="402166"/>
                </a:lnTo>
                <a:lnTo>
                  <a:pt x="578037" y="397247"/>
                </a:lnTo>
                <a:lnTo>
                  <a:pt x="581726" y="393557"/>
                </a:lnTo>
                <a:lnTo>
                  <a:pt x="586646" y="389868"/>
                </a:lnTo>
                <a:lnTo>
                  <a:pt x="591565" y="387408"/>
                </a:lnTo>
                <a:lnTo>
                  <a:pt x="596485" y="384948"/>
                </a:lnTo>
                <a:close/>
                <a:moveTo>
                  <a:pt x="477188" y="384948"/>
                </a:moveTo>
                <a:lnTo>
                  <a:pt x="482107" y="384948"/>
                </a:lnTo>
                <a:lnTo>
                  <a:pt x="488257" y="384948"/>
                </a:lnTo>
                <a:lnTo>
                  <a:pt x="494406" y="387408"/>
                </a:lnTo>
                <a:lnTo>
                  <a:pt x="499326" y="389868"/>
                </a:lnTo>
                <a:lnTo>
                  <a:pt x="503015" y="393557"/>
                </a:lnTo>
                <a:lnTo>
                  <a:pt x="506705" y="397247"/>
                </a:lnTo>
                <a:lnTo>
                  <a:pt x="509165" y="402166"/>
                </a:lnTo>
                <a:lnTo>
                  <a:pt x="511624" y="408316"/>
                </a:lnTo>
                <a:lnTo>
                  <a:pt x="511624" y="414465"/>
                </a:lnTo>
                <a:lnTo>
                  <a:pt x="511624" y="419385"/>
                </a:lnTo>
                <a:lnTo>
                  <a:pt x="509165" y="425534"/>
                </a:lnTo>
                <a:lnTo>
                  <a:pt x="506705" y="430453"/>
                </a:lnTo>
                <a:lnTo>
                  <a:pt x="503015" y="434143"/>
                </a:lnTo>
                <a:lnTo>
                  <a:pt x="499326" y="437833"/>
                </a:lnTo>
                <a:lnTo>
                  <a:pt x="494406" y="440292"/>
                </a:lnTo>
                <a:lnTo>
                  <a:pt x="488257" y="442752"/>
                </a:lnTo>
                <a:lnTo>
                  <a:pt x="482107" y="442752"/>
                </a:lnTo>
                <a:lnTo>
                  <a:pt x="477188" y="442752"/>
                </a:lnTo>
                <a:lnTo>
                  <a:pt x="471038" y="440292"/>
                </a:lnTo>
                <a:lnTo>
                  <a:pt x="466119" y="437833"/>
                </a:lnTo>
                <a:lnTo>
                  <a:pt x="462429" y="434143"/>
                </a:lnTo>
                <a:lnTo>
                  <a:pt x="458740" y="430453"/>
                </a:lnTo>
                <a:lnTo>
                  <a:pt x="456280" y="425534"/>
                </a:lnTo>
                <a:lnTo>
                  <a:pt x="453820" y="419385"/>
                </a:lnTo>
                <a:lnTo>
                  <a:pt x="453820" y="414465"/>
                </a:lnTo>
                <a:lnTo>
                  <a:pt x="453820" y="408316"/>
                </a:lnTo>
                <a:lnTo>
                  <a:pt x="456280" y="402166"/>
                </a:lnTo>
                <a:lnTo>
                  <a:pt x="458740" y="397247"/>
                </a:lnTo>
                <a:lnTo>
                  <a:pt x="462429" y="393557"/>
                </a:lnTo>
                <a:lnTo>
                  <a:pt x="466119" y="389868"/>
                </a:lnTo>
                <a:lnTo>
                  <a:pt x="471038" y="387408"/>
                </a:lnTo>
                <a:lnTo>
                  <a:pt x="477188" y="384948"/>
                </a:lnTo>
                <a:close/>
                <a:moveTo>
                  <a:pt x="356661" y="384948"/>
                </a:moveTo>
                <a:lnTo>
                  <a:pt x="362810" y="384948"/>
                </a:lnTo>
                <a:lnTo>
                  <a:pt x="368960" y="384948"/>
                </a:lnTo>
                <a:lnTo>
                  <a:pt x="373879" y="387408"/>
                </a:lnTo>
                <a:lnTo>
                  <a:pt x="378799" y="389868"/>
                </a:lnTo>
                <a:lnTo>
                  <a:pt x="383718" y="393557"/>
                </a:lnTo>
                <a:lnTo>
                  <a:pt x="386178" y="397247"/>
                </a:lnTo>
                <a:lnTo>
                  <a:pt x="389867" y="402166"/>
                </a:lnTo>
                <a:lnTo>
                  <a:pt x="391097" y="408316"/>
                </a:lnTo>
                <a:lnTo>
                  <a:pt x="391097" y="414465"/>
                </a:lnTo>
                <a:lnTo>
                  <a:pt x="391097" y="419385"/>
                </a:lnTo>
                <a:lnTo>
                  <a:pt x="389867" y="425534"/>
                </a:lnTo>
                <a:lnTo>
                  <a:pt x="386178" y="430453"/>
                </a:lnTo>
                <a:lnTo>
                  <a:pt x="383718" y="434143"/>
                </a:lnTo>
                <a:lnTo>
                  <a:pt x="378799" y="437833"/>
                </a:lnTo>
                <a:lnTo>
                  <a:pt x="373879" y="440292"/>
                </a:lnTo>
                <a:lnTo>
                  <a:pt x="368960" y="442752"/>
                </a:lnTo>
                <a:lnTo>
                  <a:pt x="362810" y="442752"/>
                </a:lnTo>
                <a:lnTo>
                  <a:pt x="356661" y="442752"/>
                </a:lnTo>
                <a:lnTo>
                  <a:pt x="351741" y="440292"/>
                </a:lnTo>
                <a:lnTo>
                  <a:pt x="346822" y="437833"/>
                </a:lnTo>
                <a:lnTo>
                  <a:pt x="341902" y="434143"/>
                </a:lnTo>
                <a:lnTo>
                  <a:pt x="338213" y="430453"/>
                </a:lnTo>
                <a:lnTo>
                  <a:pt x="335753" y="425534"/>
                </a:lnTo>
                <a:lnTo>
                  <a:pt x="334523" y="419385"/>
                </a:lnTo>
                <a:lnTo>
                  <a:pt x="333293" y="414465"/>
                </a:lnTo>
                <a:lnTo>
                  <a:pt x="334523" y="408316"/>
                </a:lnTo>
                <a:lnTo>
                  <a:pt x="335753" y="402166"/>
                </a:lnTo>
                <a:lnTo>
                  <a:pt x="338213" y="397247"/>
                </a:lnTo>
                <a:lnTo>
                  <a:pt x="341902" y="393557"/>
                </a:lnTo>
                <a:lnTo>
                  <a:pt x="346822" y="389868"/>
                </a:lnTo>
                <a:lnTo>
                  <a:pt x="351741" y="387408"/>
                </a:lnTo>
                <a:lnTo>
                  <a:pt x="356661" y="384948"/>
                </a:lnTo>
                <a:close/>
                <a:moveTo>
                  <a:pt x="340673" y="354201"/>
                </a:moveTo>
                <a:lnTo>
                  <a:pt x="327144" y="378798"/>
                </a:lnTo>
                <a:lnTo>
                  <a:pt x="316076" y="402166"/>
                </a:lnTo>
                <a:lnTo>
                  <a:pt x="308696" y="420614"/>
                </a:lnTo>
                <a:lnTo>
                  <a:pt x="302547" y="434142"/>
                </a:lnTo>
                <a:lnTo>
                  <a:pt x="296398" y="453820"/>
                </a:lnTo>
                <a:lnTo>
                  <a:pt x="291478" y="473498"/>
                </a:lnTo>
                <a:lnTo>
                  <a:pt x="793263" y="473498"/>
                </a:lnTo>
                <a:lnTo>
                  <a:pt x="788344" y="453820"/>
                </a:lnTo>
                <a:lnTo>
                  <a:pt x="782194" y="434142"/>
                </a:lnTo>
                <a:lnTo>
                  <a:pt x="777275" y="420614"/>
                </a:lnTo>
                <a:lnTo>
                  <a:pt x="768666" y="402166"/>
                </a:lnTo>
                <a:lnTo>
                  <a:pt x="757597" y="378798"/>
                </a:lnTo>
                <a:lnTo>
                  <a:pt x="744069" y="354201"/>
                </a:lnTo>
                <a:lnTo>
                  <a:pt x="340673" y="354201"/>
                </a:lnTo>
                <a:close/>
                <a:moveTo>
                  <a:pt x="542370" y="206617"/>
                </a:moveTo>
                <a:lnTo>
                  <a:pt x="523922" y="207847"/>
                </a:lnTo>
                <a:lnTo>
                  <a:pt x="505474" y="210307"/>
                </a:lnTo>
                <a:lnTo>
                  <a:pt x="487027" y="215226"/>
                </a:lnTo>
                <a:lnTo>
                  <a:pt x="468579" y="222605"/>
                </a:lnTo>
                <a:lnTo>
                  <a:pt x="450131" y="232444"/>
                </a:lnTo>
                <a:lnTo>
                  <a:pt x="432913" y="243513"/>
                </a:lnTo>
                <a:lnTo>
                  <a:pt x="415694" y="257042"/>
                </a:lnTo>
                <a:lnTo>
                  <a:pt x="398476" y="271800"/>
                </a:lnTo>
                <a:lnTo>
                  <a:pt x="389867" y="281639"/>
                </a:lnTo>
                <a:lnTo>
                  <a:pt x="380028" y="292708"/>
                </a:lnTo>
                <a:lnTo>
                  <a:pt x="364040" y="316075"/>
                </a:lnTo>
                <a:lnTo>
                  <a:pt x="721930" y="316075"/>
                </a:lnTo>
                <a:lnTo>
                  <a:pt x="704712" y="292708"/>
                </a:lnTo>
                <a:lnTo>
                  <a:pt x="696103" y="281639"/>
                </a:lnTo>
                <a:lnTo>
                  <a:pt x="686264" y="271800"/>
                </a:lnTo>
                <a:lnTo>
                  <a:pt x="669046" y="257042"/>
                </a:lnTo>
                <a:lnTo>
                  <a:pt x="651828" y="243513"/>
                </a:lnTo>
                <a:lnTo>
                  <a:pt x="634610" y="232444"/>
                </a:lnTo>
                <a:lnTo>
                  <a:pt x="616162" y="222605"/>
                </a:lnTo>
                <a:lnTo>
                  <a:pt x="597714" y="215226"/>
                </a:lnTo>
                <a:lnTo>
                  <a:pt x="579266" y="210307"/>
                </a:lnTo>
                <a:lnTo>
                  <a:pt x="560818" y="207847"/>
                </a:lnTo>
                <a:lnTo>
                  <a:pt x="542370" y="206617"/>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308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308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7466" y="1033086"/>
                </a:lnTo>
                <a:lnTo>
                  <a:pt x="284099" y="1022017"/>
                </a:lnTo>
                <a:lnTo>
                  <a:pt x="261961" y="1008489"/>
                </a:lnTo>
                <a:lnTo>
                  <a:pt x="239824" y="993730"/>
                </a:lnTo>
                <a:lnTo>
                  <a:pt x="218916" y="978972"/>
                </a:lnTo>
                <a:lnTo>
                  <a:pt x="198008" y="962984"/>
                </a:lnTo>
                <a:lnTo>
                  <a:pt x="178331" y="945766"/>
                </a:lnTo>
                <a:lnTo>
                  <a:pt x="158653" y="928548"/>
                </a:lnTo>
                <a:lnTo>
                  <a:pt x="141435" y="908870"/>
                </a:lnTo>
                <a:lnTo>
                  <a:pt x="124217" y="889192"/>
                </a:lnTo>
                <a:lnTo>
                  <a:pt x="108228" y="868284"/>
                </a:lnTo>
                <a:lnTo>
                  <a:pt x="9224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2240" y="239824"/>
                </a:lnTo>
                <a:lnTo>
                  <a:pt x="108228" y="217686"/>
                </a:lnTo>
                <a:lnTo>
                  <a:pt x="124217" y="198008"/>
                </a:lnTo>
                <a:lnTo>
                  <a:pt x="141435" y="178330"/>
                </a:lnTo>
                <a:lnTo>
                  <a:pt x="158653" y="158653"/>
                </a:lnTo>
                <a:lnTo>
                  <a:pt x="178331" y="141434"/>
                </a:lnTo>
                <a:lnTo>
                  <a:pt x="198008" y="124216"/>
                </a:lnTo>
                <a:lnTo>
                  <a:pt x="218916" y="108228"/>
                </a:lnTo>
                <a:lnTo>
                  <a:pt x="239824" y="92240"/>
                </a:lnTo>
                <a:lnTo>
                  <a:pt x="261961" y="78711"/>
                </a:lnTo>
                <a:lnTo>
                  <a:pt x="284099" y="65183"/>
                </a:lnTo>
                <a:lnTo>
                  <a:pt x="30746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5" name="Freeform 475"/>
          <p:cNvSpPr>
            <a:spLocks noEditPoints="1"/>
          </p:cNvSpPr>
          <p:nvPr userDrawn="1"/>
        </p:nvSpPr>
        <p:spPr bwMode="auto">
          <a:xfrm>
            <a:off x="282765" y="5414560"/>
            <a:ext cx="1080000" cy="1080000"/>
          </a:xfrm>
          <a:custGeom>
            <a:avLst/>
            <a:gdLst>
              <a:gd name="T0" fmla="*/ 232 w 726"/>
              <a:gd name="T1" fmla="*/ 162 h 726"/>
              <a:gd name="T2" fmla="*/ 340 w 726"/>
              <a:gd name="T3" fmla="*/ 348 h 726"/>
              <a:gd name="T4" fmla="*/ 394 w 726"/>
              <a:gd name="T5" fmla="*/ 350 h 726"/>
              <a:gd name="T6" fmla="*/ 494 w 726"/>
              <a:gd name="T7" fmla="*/ 162 h 726"/>
              <a:gd name="T8" fmla="*/ 326 w 726"/>
              <a:gd name="T9" fmla="*/ 2 h 726"/>
              <a:gd name="T10" fmla="*/ 160 w 726"/>
              <a:gd name="T11" fmla="*/ 62 h 726"/>
              <a:gd name="T12" fmla="*/ 44 w 726"/>
              <a:gd name="T13" fmla="*/ 190 h 726"/>
              <a:gd name="T14" fmla="*/ 0 w 726"/>
              <a:gd name="T15" fmla="*/ 362 h 726"/>
              <a:gd name="T16" fmla="*/ 30 w 726"/>
              <a:gd name="T17" fmla="*/ 504 h 726"/>
              <a:gd name="T18" fmla="*/ 132 w 726"/>
              <a:gd name="T19" fmla="*/ 642 h 726"/>
              <a:gd name="T20" fmla="*/ 290 w 726"/>
              <a:gd name="T21" fmla="*/ 718 h 726"/>
              <a:gd name="T22" fmla="*/ 436 w 726"/>
              <a:gd name="T23" fmla="*/ 718 h 726"/>
              <a:gd name="T24" fmla="*/ 594 w 726"/>
              <a:gd name="T25" fmla="*/ 642 h 726"/>
              <a:gd name="T26" fmla="*/ 698 w 726"/>
              <a:gd name="T27" fmla="*/ 504 h 726"/>
              <a:gd name="T28" fmla="*/ 726 w 726"/>
              <a:gd name="T29" fmla="*/ 362 h 726"/>
              <a:gd name="T30" fmla="*/ 682 w 726"/>
              <a:gd name="T31" fmla="*/ 190 h 726"/>
              <a:gd name="T32" fmla="*/ 566 w 726"/>
              <a:gd name="T33" fmla="*/ 62 h 726"/>
              <a:gd name="T34" fmla="*/ 400 w 726"/>
              <a:gd name="T35" fmla="*/ 2 h 726"/>
              <a:gd name="T36" fmla="*/ 326 w 726"/>
              <a:gd name="T37" fmla="*/ 580 h 726"/>
              <a:gd name="T38" fmla="*/ 268 w 726"/>
              <a:gd name="T39" fmla="*/ 512 h 726"/>
              <a:gd name="T40" fmla="*/ 284 w 726"/>
              <a:gd name="T41" fmla="*/ 438 h 726"/>
              <a:gd name="T42" fmla="*/ 364 w 726"/>
              <a:gd name="T43" fmla="*/ 396 h 726"/>
              <a:gd name="T44" fmla="*/ 432 w 726"/>
              <a:gd name="T45" fmla="*/ 424 h 726"/>
              <a:gd name="T46" fmla="*/ 460 w 726"/>
              <a:gd name="T47" fmla="*/ 492 h 726"/>
              <a:gd name="T48" fmla="*/ 418 w 726"/>
              <a:gd name="T49" fmla="*/ 572 h 726"/>
              <a:gd name="T50" fmla="*/ 428 w 726"/>
              <a:gd name="T51" fmla="*/ 374 h 726"/>
              <a:gd name="T52" fmla="*/ 428 w 726"/>
              <a:gd name="T53" fmla="*/ 376 h 726"/>
              <a:gd name="T54" fmla="*/ 426 w 726"/>
              <a:gd name="T55" fmla="*/ 378 h 726"/>
              <a:gd name="T56" fmla="*/ 424 w 726"/>
              <a:gd name="T57" fmla="*/ 378 h 726"/>
              <a:gd name="T58" fmla="*/ 422 w 726"/>
              <a:gd name="T59" fmla="*/ 380 h 726"/>
              <a:gd name="T60" fmla="*/ 420 w 726"/>
              <a:gd name="T61" fmla="*/ 380 h 726"/>
              <a:gd name="T62" fmla="*/ 418 w 726"/>
              <a:gd name="T63" fmla="*/ 382 h 726"/>
              <a:gd name="T64" fmla="*/ 416 w 726"/>
              <a:gd name="T65" fmla="*/ 382 h 726"/>
              <a:gd name="T66" fmla="*/ 414 w 726"/>
              <a:gd name="T67" fmla="*/ 380 h 726"/>
              <a:gd name="T68" fmla="*/ 412 w 726"/>
              <a:gd name="T69" fmla="*/ 380 h 726"/>
              <a:gd name="T70" fmla="*/ 364 w 726"/>
              <a:gd name="T71" fmla="*/ 370 h 726"/>
              <a:gd name="T72" fmla="*/ 316 w 726"/>
              <a:gd name="T73" fmla="*/ 380 h 726"/>
              <a:gd name="T74" fmla="*/ 312 w 726"/>
              <a:gd name="T75" fmla="*/ 382 h 726"/>
              <a:gd name="T76" fmla="*/ 308 w 726"/>
              <a:gd name="T77" fmla="*/ 382 h 726"/>
              <a:gd name="T78" fmla="*/ 304 w 726"/>
              <a:gd name="T79" fmla="*/ 380 h 726"/>
              <a:gd name="T80" fmla="*/ 302 w 726"/>
              <a:gd name="T81" fmla="*/ 378 h 726"/>
              <a:gd name="T82" fmla="*/ 300 w 726"/>
              <a:gd name="T83" fmla="*/ 376 h 726"/>
              <a:gd name="T84" fmla="*/ 300 w 726"/>
              <a:gd name="T85" fmla="*/ 376 h 726"/>
              <a:gd name="T86" fmla="*/ 300 w 726"/>
              <a:gd name="T87" fmla="*/ 376 h 726"/>
              <a:gd name="T88" fmla="*/ 300 w 726"/>
              <a:gd name="T89" fmla="*/ 376 h 726"/>
              <a:gd name="T90" fmla="*/ 300 w 726"/>
              <a:gd name="T91" fmla="*/ 374 h 726"/>
              <a:gd name="T92" fmla="*/ 298 w 726"/>
              <a:gd name="T93" fmla="*/ 372 h 726"/>
              <a:gd name="T94" fmla="*/ 284 w 726"/>
              <a:gd name="T95" fmla="*/ 340 h 726"/>
              <a:gd name="T96" fmla="*/ 202 w 726"/>
              <a:gd name="T97" fmla="*/ 148 h 726"/>
              <a:gd name="T98" fmla="*/ 320 w 726"/>
              <a:gd name="T99" fmla="*/ 138 h 726"/>
              <a:gd name="T100" fmla="*/ 396 w 726"/>
              <a:gd name="T101" fmla="*/ 144 h 726"/>
              <a:gd name="T102" fmla="*/ 514 w 726"/>
              <a:gd name="T103" fmla="*/ 138 h 726"/>
              <a:gd name="T104" fmla="*/ 524 w 726"/>
              <a:gd name="T105" fmla="*/ 15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52" y="252"/>
                </a:moveTo>
                <a:lnTo>
                  <a:pt x="352" y="252"/>
                </a:lnTo>
                <a:lnTo>
                  <a:pt x="312" y="162"/>
                </a:lnTo>
                <a:lnTo>
                  <a:pt x="232" y="162"/>
                </a:lnTo>
                <a:lnTo>
                  <a:pt x="272" y="252"/>
                </a:lnTo>
                <a:lnTo>
                  <a:pt x="316" y="354"/>
                </a:lnTo>
                <a:lnTo>
                  <a:pt x="340" y="348"/>
                </a:lnTo>
                <a:lnTo>
                  <a:pt x="364" y="346"/>
                </a:lnTo>
                <a:lnTo>
                  <a:pt x="380" y="346"/>
                </a:lnTo>
                <a:lnTo>
                  <a:pt x="394" y="350"/>
                </a:lnTo>
                <a:lnTo>
                  <a:pt x="356" y="260"/>
                </a:lnTo>
                <a:lnTo>
                  <a:pt x="352" y="252"/>
                </a:lnTo>
                <a:close/>
                <a:moveTo>
                  <a:pt x="378" y="248"/>
                </a:moveTo>
                <a:lnTo>
                  <a:pt x="416" y="338"/>
                </a:lnTo>
                <a:lnTo>
                  <a:pt x="494" y="162"/>
                </a:lnTo>
                <a:lnTo>
                  <a:pt x="414" y="162"/>
                </a:lnTo>
                <a:lnTo>
                  <a:pt x="378" y="2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88"/>
                </a:moveTo>
                <a:lnTo>
                  <a:pt x="364" y="588"/>
                </a:lnTo>
                <a:lnTo>
                  <a:pt x="344" y="586"/>
                </a:lnTo>
                <a:lnTo>
                  <a:pt x="326" y="580"/>
                </a:lnTo>
                <a:lnTo>
                  <a:pt x="310" y="572"/>
                </a:lnTo>
                <a:lnTo>
                  <a:pt x="296" y="560"/>
                </a:lnTo>
                <a:lnTo>
                  <a:pt x="284" y="546"/>
                </a:lnTo>
                <a:lnTo>
                  <a:pt x="274" y="530"/>
                </a:lnTo>
                <a:lnTo>
                  <a:pt x="268" y="512"/>
                </a:lnTo>
                <a:lnTo>
                  <a:pt x="266" y="492"/>
                </a:lnTo>
                <a:lnTo>
                  <a:pt x="268" y="472"/>
                </a:lnTo>
                <a:lnTo>
                  <a:pt x="274" y="454"/>
                </a:lnTo>
                <a:lnTo>
                  <a:pt x="284" y="438"/>
                </a:lnTo>
                <a:lnTo>
                  <a:pt x="296" y="424"/>
                </a:lnTo>
                <a:lnTo>
                  <a:pt x="310" y="412"/>
                </a:lnTo>
                <a:lnTo>
                  <a:pt x="326" y="402"/>
                </a:lnTo>
                <a:lnTo>
                  <a:pt x="344" y="396"/>
                </a:lnTo>
                <a:lnTo>
                  <a:pt x="364" y="396"/>
                </a:lnTo>
                <a:lnTo>
                  <a:pt x="384" y="396"/>
                </a:lnTo>
                <a:lnTo>
                  <a:pt x="402" y="402"/>
                </a:lnTo>
                <a:lnTo>
                  <a:pt x="418" y="412"/>
                </a:lnTo>
                <a:lnTo>
                  <a:pt x="432" y="424"/>
                </a:lnTo>
                <a:lnTo>
                  <a:pt x="444" y="438"/>
                </a:lnTo>
                <a:lnTo>
                  <a:pt x="452" y="454"/>
                </a:lnTo>
                <a:lnTo>
                  <a:pt x="458" y="472"/>
                </a:lnTo>
                <a:lnTo>
                  <a:pt x="460" y="492"/>
                </a:lnTo>
                <a:lnTo>
                  <a:pt x="458" y="512"/>
                </a:lnTo>
                <a:lnTo>
                  <a:pt x="452" y="530"/>
                </a:lnTo>
                <a:lnTo>
                  <a:pt x="444" y="546"/>
                </a:lnTo>
                <a:lnTo>
                  <a:pt x="432" y="560"/>
                </a:lnTo>
                <a:lnTo>
                  <a:pt x="418" y="572"/>
                </a:lnTo>
                <a:lnTo>
                  <a:pt x="402" y="580"/>
                </a:lnTo>
                <a:lnTo>
                  <a:pt x="384" y="586"/>
                </a:lnTo>
                <a:lnTo>
                  <a:pt x="364" y="588"/>
                </a:lnTo>
                <a:close/>
                <a:moveTo>
                  <a:pt x="524" y="154"/>
                </a:moveTo>
                <a:lnTo>
                  <a:pt x="428" y="374"/>
                </a:lnTo>
                <a:lnTo>
                  <a:pt x="428" y="376"/>
                </a:lnTo>
                <a:lnTo>
                  <a:pt x="426" y="376"/>
                </a:lnTo>
                <a:lnTo>
                  <a:pt x="426" y="378"/>
                </a:lnTo>
                <a:lnTo>
                  <a:pt x="424" y="378"/>
                </a:lnTo>
                <a:lnTo>
                  <a:pt x="424" y="380"/>
                </a:lnTo>
                <a:lnTo>
                  <a:pt x="422" y="380"/>
                </a:lnTo>
                <a:lnTo>
                  <a:pt x="420" y="380"/>
                </a:lnTo>
                <a:lnTo>
                  <a:pt x="420" y="382"/>
                </a:lnTo>
                <a:lnTo>
                  <a:pt x="418" y="382"/>
                </a:lnTo>
                <a:lnTo>
                  <a:pt x="416" y="382"/>
                </a:lnTo>
                <a:lnTo>
                  <a:pt x="414" y="380"/>
                </a:lnTo>
                <a:lnTo>
                  <a:pt x="412" y="380"/>
                </a:lnTo>
                <a:lnTo>
                  <a:pt x="400" y="376"/>
                </a:lnTo>
                <a:lnTo>
                  <a:pt x="388" y="372"/>
                </a:lnTo>
                <a:lnTo>
                  <a:pt x="376" y="372"/>
                </a:lnTo>
                <a:lnTo>
                  <a:pt x="364" y="370"/>
                </a:lnTo>
                <a:lnTo>
                  <a:pt x="350" y="372"/>
                </a:lnTo>
                <a:lnTo>
                  <a:pt x="338" y="372"/>
                </a:lnTo>
                <a:lnTo>
                  <a:pt x="326" y="376"/>
                </a:lnTo>
                <a:lnTo>
                  <a:pt x="316" y="380"/>
                </a:lnTo>
                <a:lnTo>
                  <a:pt x="312" y="382"/>
                </a:lnTo>
                <a:lnTo>
                  <a:pt x="310" y="382"/>
                </a:lnTo>
                <a:lnTo>
                  <a:pt x="308" y="382"/>
                </a:lnTo>
                <a:lnTo>
                  <a:pt x="304" y="380"/>
                </a:lnTo>
                <a:lnTo>
                  <a:pt x="302" y="378"/>
                </a:lnTo>
                <a:lnTo>
                  <a:pt x="300" y="376"/>
                </a:lnTo>
                <a:lnTo>
                  <a:pt x="300" y="374"/>
                </a:lnTo>
                <a:lnTo>
                  <a:pt x="298" y="374"/>
                </a:lnTo>
                <a:lnTo>
                  <a:pt x="298" y="372"/>
                </a:lnTo>
                <a:lnTo>
                  <a:pt x="296" y="364"/>
                </a:lnTo>
                <a:lnTo>
                  <a:pt x="284" y="340"/>
                </a:lnTo>
                <a:lnTo>
                  <a:pt x="250" y="264"/>
                </a:lnTo>
                <a:lnTo>
                  <a:pt x="202" y="154"/>
                </a:lnTo>
                <a:lnTo>
                  <a:pt x="202" y="148"/>
                </a:lnTo>
                <a:lnTo>
                  <a:pt x="204" y="142"/>
                </a:lnTo>
                <a:lnTo>
                  <a:pt x="208" y="138"/>
                </a:lnTo>
                <a:lnTo>
                  <a:pt x="214" y="138"/>
                </a:lnTo>
                <a:lnTo>
                  <a:pt x="320" y="138"/>
                </a:lnTo>
                <a:lnTo>
                  <a:pt x="328" y="140"/>
                </a:lnTo>
                <a:lnTo>
                  <a:pt x="332" y="144"/>
                </a:lnTo>
                <a:lnTo>
                  <a:pt x="364" y="216"/>
                </a:lnTo>
                <a:lnTo>
                  <a:pt x="396" y="144"/>
                </a:lnTo>
                <a:lnTo>
                  <a:pt x="400" y="140"/>
                </a:lnTo>
                <a:lnTo>
                  <a:pt x="406" y="138"/>
                </a:lnTo>
                <a:lnTo>
                  <a:pt x="514" y="138"/>
                </a:lnTo>
                <a:lnTo>
                  <a:pt x="520" y="138"/>
                </a:lnTo>
                <a:lnTo>
                  <a:pt x="524" y="142"/>
                </a:lnTo>
                <a:lnTo>
                  <a:pt x="526" y="148"/>
                </a:lnTo>
                <a:lnTo>
                  <a:pt x="524" y="1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6" name="Freeform 46"/>
          <p:cNvSpPr>
            <a:spLocks noEditPoints="1"/>
          </p:cNvSpPr>
          <p:nvPr userDrawn="1"/>
        </p:nvSpPr>
        <p:spPr bwMode="auto">
          <a:xfrm>
            <a:off x="10614569" y="3983222"/>
            <a:ext cx="1080000" cy="1080000"/>
          </a:xfrm>
          <a:custGeom>
            <a:avLst/>
            <a:gdLst>
              <a:gd name="T0" fmla="*/ 796 w 1450"/>
              <a:gd name="T1" fmla="*/ 851 h 1450"/>
              <a:gd name="T2" fmla="*/ 1127 w 1450"/>
              <a:gd name="T3" fmla="*/ 710 h 1450"/>
              <a:gd name="T4" fmla="*/ 1127 w 1450"/>
              <a:gd name="T5" fmla="*/ 758 h 1450"/>
              <a:gd name="T6" fmla="*/ 796 w 1450"/>
              <a:gd name="T7" fmla="*/ 899 h 1450"/>
              <a:gd name="T8" fmla="*/ 1127 w 1450"/>
              <a:gd name="T9" fmla="*/ 899 h 1450"/>
              <a:gd name="T10" fmla="*/ 687 w 1450"/>
              <a:gd name="T11" fmla="*/ 0 h 1450"/>
              <a:gd name="T12" fmla="*/ 579 w 1450"/>
              <a:gd name="T13" fmla="*/ 15 h 1450"/>
              <a:gd name="T14" fmla="*/ 476 w 1450"/>
              <a:gd name="T15" fmla="*/ 44 h 1450"/>
              <a:gd name="T16" fmla="*/ 379 w 1450"/>
              <a:gd name="T17" fmla="*/ 87 h 1450"/>
              <a:gd name="T18" fmla="*/ 292 w 1450"/>
              <a:gd name="T19" fmla="*/ 144 h 1450"/>
              <a:gd name="T20" fmla="*/ 212 w 1450"/>
              <a:gd name="T21" fmla="*/ 212 h 1450"/>
              <a:gd name="T22" fmla="*/ 144 w 1450"/>
              <a:gd name="T23" fmla="*/ 290 h 1450"/>
              <a:gd name="T24" fmla="*/ 87 w 1450"/>
              <a:gd name="T25" fmla="*/ 379 h 1450"/>
              <a:gd name="T26" fmla="*/ 44 w 1450"/>
              <a:gd name="T27" fmla="*/ 476 h 1450"/>
              <a:gd name="T28" fmla="*/ 15 w 1450"/>
              <a:gd name="T29" fmla="*/ 579 h 1450"/>
              <a:gd name="T30" fmla="*/ 2 w 1450"/>
              <a:gd name="T31" fmla="*/ 687 h 1450"/>
              <a:gd name="T32" fmla="*/ 2 w 1450"/>
              <a:gd name="T33" fmla="*/ 763 h 1450"/>
              <a:gd name="T34" fmla="*/ 15 w 1450"/>
              <a:gd name="T35" fmla="*/ 871 h 1450"/>
              <a:gd name="T36" fmla="*/ 44 w 1450"/>
              <a:gd name="T37" fmla="*/ 974 h 1450"/>
              <a:gd name="T38" fmla="*/ 87 w 1450"/>
              <a:gd name="T39" fmla="*/ 1071 h 1450"/>
              <a:gd name="T40" fmla="*/ 144 w 1450"/>
              <a:gd name="T41" fmla="*/ 1158 h 1450"/>
              <a:gd name="T42" fmla="*/ 212 w 1450"/>
              <a:gd name="T43" fmla="*/ 1238 h 1450"/>
              <a:gd name="T44" fmla="*/ 292 w 1450"/>
              <a:gd name="T45" fmla="*/ 1306 h 1450"/>
              <a:gd name="T46" fmla="*/ 379 w 1450"/>
              <a:gd name="T47" fmla="*/ 1363 h 1450"/>
              <a:gd name="T48" fmla="*/ 476 w 1450"/>
              <a:gd name="T49" fmla="*/ 1406 h 1450"/>
              <a:gd name="T50" fmla="*/ 579 w 1450"/>
              <a:gd name="T51" fmla="*/ 1435 h 1450"/>
              <a:gd name="T52" fmla="*/ 687 w 1450"/>
              <a:gd name="T53" fmla="*/ 1448 h 1450"/>
              <a:gd name="T54" fmla="*/ 763 w 1450"/>
              <a:gd name="T55" fmla="*/ 1448 h 1450"/>
              <a:gd name="T56" fmla="*/ 871 w 1450"/>
              <a:gd name="T57" fmla="*/ 1435 h 1450"/>
              <a:gd name="T58" fmla="*/ 974 w 1450"/>
              <a:gd name="T59" fmla="*/ 1406 h 1450"/>
              <a:gd name="T60" fmla="*/ 1071 w 1450"/>
              <a:gd name="T61" fmla="*/ 1363 h 1450"/>
              <a:gd name="T62" fmla="*/ 1160 w 1450"/>
              <a:gd name="T63" fmla="*/ 1306 h 1450"/>
              <a:gd name="T64" fmla="*/ 1238 w 1450"/>
              <a:gd name="T65" fmla="*/ 1238 h 1450"/>
              <a:gd name="T66" fmla="*/ 1306 w 1450"/>
              <a:gd name="T67" fmla="*/ 1158 h 1450"/>
              <a:gd name="T68" fmla="*/ 1363 w 1450"/>
              <a:gd name="T69" fmla="*/ 1071 h 1450"/>
              <a:gd name="T70" fmla="*/ 1406 w 1450"/>
              <a:gd name="T71" fmla="*/ 974 h 1450"/>
              <a:gd name="T72" fmla="*/ 1435 w 1450"/>
              <a:gd name="T73" fmla="*/ 871 h 1450"/>
              <a:gd name="T74" fmla="*/ 1448 w 1450"/>
              <a:gd name="T75" fmla="*/ 763 h 1450"/>
              <a:gd name="T76" fmla="*/ 1448 w 1450"/>
              <a:gd name="T77" fmla="*/ 687 h 1450"/>
              <a:gd name="T78" fmla="*/ 1435 w 1450"/>
              <a:gd name="T79" fmla="*/ 579 h 1450"/>
              <a:gd name="T80" fmla="*/ 1406 w 1450"/>
              <a:gd name="T81" fmla="*/ 476 h 1450"/>
              <a:gd name="T82" fmla="*/ 1363 w 1450"/>
              <a:gd name="T83" fmla="*/ 379 h 1450"/>
              <a:gd name="T84" fmla="*/ 1306 w 1450"/>
              <a:gd name="T85" fmla="*/ 290 h 1450"/>
              <a:gd name="T86" fmla="*/ 1238 w 1450"/>
              <a:gd name="T87" fmla="*/ 212 h 1450"/>
              <a:gd name="T88" fmla="*/ 1160 w 1450"/>
              <a:gd name="T89" fmla="*/ 144 h 1450"/>
              <a:gd name="T90" fmla="*/ 1071 w 1450"/>
              <a:gd name="T91" fmla="*/ 87 h 1450"/>
              <a:gd name="T92" fmla="*/ 974 w 1450"/>
              <a:gd name="T93" fmla="*/ 44 h 1450"/>
              <a:gd name="T94" fmla="*/ 871 w 1450"/>
              <a:gd name="T95" fmla="*/ 15 h 1450"/>
              <a:gd name="T96" fmla="*/ 763 w 1450"/>
              <a:gd name="T97" fmla="*/ 0 h 1450"/>
              <a:gd name="T98" fmla="*/ 1173 w 1450"/>
              <a:gd name="T99" fmla="*/ 1038 h 1450"/>
              <a:gd name="T100" fmla="*/ 1173 w 1450"/>
              <a:gd name="T101" fmla="*/ 412 h 1450"/>
              <a:gd name="T102" fmla="*/ 1022 w 1450"/>
              <a:gd name="T103" fmla="*/ 459 h 1450"/>
              <a:gd name="T104" fmla="*/ 1124 w 1450"/>
              <a:gd name="T105" fmla="*/ 459 h 1450"/>
              <a:gd name="T106" fmla="*/ 702 w 1450"/>
              <a:gd name="T107" fmla="*/ 991 h 1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450" h="1450">
                <a:moveTo>
                  <a:pt x="1127" y="804"/>
                </a:moveTo>
                <a:lnTo>
                  <a:pt x="796" y="804"/>
                </a:lnTo>
                <a:lnTo>
                  <a:pt x="796" y="851"/>
                </a:lnTo>
                <a:lnTo>
                  <a:pt x="1127" y="851"/>
                </a:lnTo>
                <a:lnTo>
                  <a:pt x="1127" y="804"/>
                </a:lnTo>
                <a:close/>
                <a:moveTo>
                  <a:pt x="1127" y="710"/>
                </a:moveTo>
                <a:lnTo>
                  <a:pt x="796" y="710"/>
                </a:lnTo>
                <a:lnTo>
                  <a:pt x="796" y="758"/>
                </a:lnTo>
                <a:lnTo>
                  <a:pt x="1127" y="758"/>
                </a:lnTo>
                <a:lnTo>
                  <a:pt x="1127" y="710"/>
                </a:lnTo>
                <a:close/>
                <a:moveTo>
                  <a:pt x="1127" y="899"/>
                </a:moveTo>
                <a:lnTo>
                  <a:pt x="796" y="899"/>
                </a:lnTo>
                <a:lnTo>
                  <a:pt x="796" y="946"/>
                </a:lnTo>
                <a:lnTo>
                  <a:pt x="1127" y="946"/>
                </a:lnTo>
                <a:lnTo>
                  <a:pt x="1127" y="899"/>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1173" y="1038"/>
                </a:moveTo>
                <a:lnTo>
                  <a:pt x="277" y="1038"/>
                </a:lnTo>
                <a:lnTo>
                  <a:pt x="277" y="412"/>
                </a:lnTo>
                <a:lnTo>
                  <a:pt x="1173" y="412"/>
                </a:lnTo>
                <a:lnTo>
                  <a:pt x="1173" y="1038"/>
                </a:lnTo>
                <a:close/>
                <a:moveTo>
                  <a:pt x="1124" y="459"/>
                </a:moveTo>
                <a:lnTo>
                  <a:pt x="1022" y="459"/>
                </a:lnTo>
                <a:lnTo>
                  <a:pt x="1022" y="582"/>
                </a:lnTo>
                <a:lnTo>
                  <a:pt x="1124" y="582"/>
                </a:lnTo>
                <a:lnTo>
                  <a:pt x="1124" y="459"/>
                </a:lnTo>
                <a:close/>
                <a:moveTo>
                  <a:pt x="748" y="456"/>
                </a:moveTo>
                <a:lnTo>
                  <a:pt x="702" y="456"/>
                </a:lnTo>
                <a:lnTo>
                  <a:pt x="702" y="991"/>
                </a:lnTo>
                <a:lnTo>
                  <a:pt x="748" y="991"/>
                </a:lnTo>
                <a:lnTo>
                  <a:pt x="748" y="45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7" name="Freeform 487"/>
          <p:cNvSpPr>
            <a:spLocks noEditPoints="1"/>
          </p:cNvSpPr>
          <p:nvPr userDrawn="1"/>
        </p:nvSpPr>
        <p:spPr bwMode="auto">
          <a:xfrm>
            <a:off x="12090544" y="3983222"/>
            <a:ext cx="1080000" cy="1080000"/>
          </a:xfrm>
          <a:custGeom>
            <a:avLst/>
            <a:gdLst>
              <a:gd name="T0" fmla="*/ 206 w 726"/>
              <a:gd name="T1" fmla="*/ 266 h 726"/>
              <a:gd name="T2" fmla="*/ 212 w 726"/>
              <a:gd name="T3" fmla="*/ 290 h 726"/>
              <a:gd name="T4" fmla="*/ 226 w 726"/>
              <a:gd name="T5" fmla="*/ 306 h 726"/>
              <a:gd name="T6" fmla="*/ 242 w 726"/>
              <a:gd name="T7" fmla="*/ 196 h 726"/>
              <a:gd name="T8" fmla="*/ 486 w 726"/>
              <a:gd name="T9" fmla="*/ 298 h 726"/>
              <a:gd name="T10" fmla="*/ 494 w 726"/>
              <a:gd name="T11" fmla="*/ 310 h 726"/>
              <a:gd name="T12" fmla="*/ 512 w 726"/>
              <a:gd name="T13" fmla="*/ 296 h 726"/>
              <a:gd name="T14" fmla="*/ 522 w 726"/>
              <a:gd name="T15" fmla="*/ 274 h 726"/>
              <a:gd name="T16" fmla="*/ 522 w 726"/>
              <a:gd name="T17" fmla="*/ 196 h 726"/>
              <a:gd name="T18" fmla="*/ 364 w 726"/>
              <a:gd name="T19" fmla="*/ 0 h 726"/>
              <a:gd name="T20" fmla="*/ 290 w 726"/>
              <a:gd name="T21" fmla="*/ 8 h 726"/>
              <a:gd name="T22" fmla="*/ 190 w 726"/>
              <a:gd name="T23" fmla="*/ 44 h 726"/>
              <a:gd name="T24" fmla="*/ 108 w 726"/>
              <a:gd name="T25" fmla="*/ 106 h 726"/>
              <a:gd name="T26" fmla="*/ 44 w 726"/>
              <a:gd name="T27" fmla="*/ 190 h 726"/>
              <a:gd name="T28" fmla="*/ 8 w 726"/>
              <a:gd name="T29" fmla="*/ 290 h 726"/>
              <a:gd name="T30" fmla="*/ 0 w 726"/>
              <a:gd name="T31" fmla="*/ 362 h 726"/>
              <a:gd name="T32" fmla="*/ 18 w 726"/>
              <a:gd name="T33" fmla="*/ 470 h 726"/>
              <a:gd name="T34" fmla="*/ 62 w 726"/>
              <a:gd name="T35" fmla="*/ 566 h 726"/>
              <a:gd name="T36" fmla="*/ 134 w 726"/>
              <a:gd name="T37" fmla="*/ 642 h 726"/>
              <a:gd name="T38" fmla="*/ 222 w 726"/>
              <a:gd name="T39" fmla="*/ 698 h 726"/>
              <a:gd name="T40" fmla="*/ 326 w 726"/>
              <a:gd name="T41" fmla="*/ 724 h 726"/>
              <a:gd name="T42" fmla="*/ 400 w 726"/>
              <a:gd name="T43" fmla="*/ 724 h 726"/>
              <a:gd name="T44" fmla="*/ 506 w 726"/>
              <a:gd name="T45" fmla="*/ 698 h 726"/>
              <a:gd name="T46" fmla="*/ 594 w 726"/>
              <a:gd name="T47" fmla="*/ 642 h 726"/>
              <a:gd name="T48" fmla="*/ 664 w 726"/>
              <a:gd name="T49" fmla="*/ 566 h 726"/>
              <a:gd name="T50" fmla="*/ 710 w 726"/>
              <a:gd name="T51" fmla="*/ 470 h 726"/>
              <a:gd name="T52" fmla="*/ 726 w 726"/>
              <a:gd name="T53" fmla="*/ 362 h 726"/>
              <a:gd name="T54" fmla="*/ 720 w 726"/>
              <a:gd name="T55" fmla="*/ 290 h 726"/>
              <a:gd name="T56" fmla="*/ 682 w 726"/>
              <a:gd name="T57" fmla="*/ 190 h 726"/>
              <a:gd name="T58" fmla="*/ 620 w 726"/>
              <a:gd name="T59" fmla="*/ 106 h 726"/>
              <a:gd name="T60" fmla="*/ 536 w 726"/>
              <a:gd name="T61" fmla="*/ 44 h 726"/>
              <a:gd name="T62" fmla="*/ 436 w 726"/>
              <a:gd name="T63" fmla="*/ 8 h 726"/>
              <a:gd name="T64" fmla="*/ 548 w 726"/>
              <a:gd name="T65" fmla="*/ 246 h 726"/>
              <a:gd name="T66" fmla="*/ 546 w 726"/>
              <a:gd name="T67" fmla="*/ 280 h 726"/>
              <a:gd name="T68" fmla="*/ 530 w 726"/>
              <a:gd name="T69" fmla="*/ 314 h 726"/>
              <a:gd name="T70" fmla="*/ 498 w 726"/>
              <a:gd name="T71" fmla="*/ 334 h 726"/>
              <a:gd name="T72" fmla="*/ 484 w 726"/>
              <a:gd name="T73" fmla="*/ 358 h 726"/>
              <a:gd name="T74" fmla="*/ 460 w 726"/>
              <a:gd name="T75" fmla="*/ 408 h 726"/>
              <a:gd name="T76" fmla="*/ 416 w 726"/>
              <a:gd name="T77" fmla="*/ 444 h 726"/>
              <a:gd name="T78" fmla="*/ 478 w 726"/>
              <a:gd name="T79" fmla="*/ 534 h 726"/>
              <a:gd name="T80" fmla="*/ 480 w 726"/>
              <a:gd name="T81" fmla="*/ 546 h 726"/>
              <a:gd name="T82" fmla="*/ 258 w 726"/>
              <a:gd name="T83" fmla="*/ 554 h 726"/>
              <a:gd name="T84" fmla="*/ 246 w 726"/>
              <a:gd name="T85" fmla="*/ 546 h 726"/>
              <a:gd name="T86" fmla="*/ 250 w 726"/>
              <a:gd name="T87" fmla="*/ 534 h 726"/>
              <a:gd name="T88" fmla="*/ 312 w 726"/>
              <a:gd name="T89" fmla="*/ 444 h 726"/>
              <a:gd name="T90" fmla="*/ 268 w 726"/>
              <a:gd name="T91" fmla="*/ 408 h 726"/>
              <a:gd name="T92" fmla="*/ 244 w 726"/>
              <a:gd name="T93" fmla="*/ 358 h 726"/>
              <a:gd name="T94" fmla="*/ 228 w 726"/>
              <a:gd name="T95" fmla="*/ 334 h 726"/>
              <a:gd name="T96" fmla="*/ 198 w 726"/>
              <a:gd name="T97" fmla="*/ 314 h 726"/>
              <a:gd name="T98" fmla="*/ 182 w 726"/>
              <a:gd name="T99" fmla="*/ 280 h 726"/>
              <a:gd name="T100" fmla="*/ 180 w 726"/>
              <a:gd name="T101" fmla="*/ 184 h 726"/>
              <a:gd name="T102" fmla="*/ 184 w 726"/>
              <a:gd name="T103" fmla="*/ 176 h 726"/>
              <a:gd name="T104" fmla="*/ 192 w 726"/>
              <a:gd name="T105" fmla="*/ 172 h 726"/>
              <a:gd name="T106" fmla="*/ 474 w 726"/>
              <a:gd name="T107" fmla="*/ 172 h 726"/>
              <a:gd name="T108" fmla="*/ 540 w 726"/>
              <a:gd name="T109" fmla="*/ 172 h 726"/>
              <a:gd name="T110" fmla="*/ 546 w 726"/>
              <a:gd name="T111" fmla="*/ 180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206" y="246"/>
                </a:moveTo>
                <a:lnTo>
                  <a:pt x="206" y="266"/>
                </a:lnTo>
                <a:lnTo>
                  <a:pt x="206" y="274"/>
                </a:lnTo>
                <a:lnTo>
                  <a:pt x="208" y="282"/>
                </a:lnTo>
                <a:lnTo>
                  <a:pt x="212" y="290"/>
                </a:lnTo>
                <a:lnTo>
                  <a:pt x="216" y="296"/>
                </a:lnTo>
                <a:lnTo>
                  <a:pt x="220" y="302"/>
                </a:lnTo>
                <a:lnTo>
                  <a:pt x="226" y="306"/>
                </a:lnTo>
                <a:lnTo>
                  <a:pt x="234" y="310"/>
                </a:lnTo>
                <a:lnTo>
                  <a:pt x="242" y="312"/>
                </a:lnTo>
                <a:lnTo>
                  <a:pt x="242" y="196"/>
                </a:lnTo>
                <a:lnTo>
                  <a:pt x="206" y="196"/>
                </a:lnTo>
                <a:lnTo>
                  <a:pt x="206" y="246"/>
                </a:lnTo>
                <a:close/>
                <a:moveTo>
                  <a:pt x="486" y="298"/>
                </a:moveTo>
                <a:lnTo>
                  <a:pt x="486" y="312"/>
                </a:lnTo>
                <a:lnTo>
                  <a:pt x="494" y="310"/>
                </a:lnTo>
                <a:lnTo>
                  <a:pt x="500" y="306"/>
                </a:lnTo>
                <a:lnTo>
                  <a:pt x="506" y="302"/>
                </a:lnTo>
                <a:lnTo>
                  <a:pt x="512" y="296"/>
                </a:lnTo>
                <a:lnTo>
                  <a:pt x="516" y="290"/>
                </a:lnTo>
                <a:lnTo>
                  <a:pt x="520" y="282"/>
                </a:lnTo>
                <a:lnTo>
                  <a:pt x="522" y="274"/>
                </a:lnTo>
                <a:lnTo>
                  <a:pt x="522" y="266"/>
                </a:lnTo>
                <a:lnTo>
                  <a:pt x="522" y="246"/>
                </a:lnTo>
                <a:lnTo>
                  <a:pt x="522" y="196"/>
                </a:lnTo>
                <a:lnTo>
                  <a:pt x="486" y="196"/>
                </a:lnTo>
                <a:lnTo>
                  <a:pt x="486" y="298"/>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8" y="246"/>
                </a:moveTo>
                <a:lnTo>
                  <a:pt x="548" y="266"/>
                </a:lnTo>
                <a:lnTo>
                  <a:pt x="546" y="280"/>
                </a:lnTo>
                <a:lnTo>
                  <a:pt x="542" y="292"/>
                </a:lnTo>
                <a:lnTo>
                  <a:pt x="536" y="304"/>
                </a:lnTo>
                <a:lnTo>
                  <a:pt x="530" y="314"/>
                </a:lnTo>
                <a:lnTo>
                  <a:pt x="520" y="322"/>
                </a:lnTo>
                <a:lnTo>
                  <a:pt x="510" y="330"/>
                </a:lnTo>
                <a:lnTo>
                  <a:pt x="498" y="334"/>
                </a:lnTo>
                <a:lnTo>
                  <a:pt x="486" y="338"/>
                </a:lnTo>
                <a:lnTo>
                  <a:pt x="484" y="358"/>
                </a:lnTo>
                <a:lnTo>
                  <a:pt x="478" y="376"/>
                </a:lnTo>
                <a:lnTo>
                  <a:pt x="470" y="394"/>
                </a:lnTo>
                <a:lnTo>
                  <a:pt x="460" y="408"/>
                </a:lnTo>
                <a:lnTo>
                  <a:pt x="448" y="422"/>
                </a:lnTo>
                <a:lnTo>
                  <a:pt x="432" y="434"/>
                </a:lnTo>
                <a:lnTo>
                  <a:pt x="416" y="444"/>
                </a:lnTo>
                <a:lnTo>
                  <a:pt x="398" y="450"/>
                </a:lnTo>
                <a:lnTo>
                  <a:pt x="478" y="534"/>
                </a:lnTo>
                <a:lnTo>
                  <a:pt x="482" y="540"/>
                </a:lnTo>
                <a:lnTo>
                  <a:pt x="480" y="546"/>
                </a:lnTo>
                <a:lnTo>
                  <a:pt x="476" y="552"/>
                </a:lnTo>
                <a:lnTo>
                  <a:pt x="470" y="554"/>
                </a:lnTo>
                <a:lnTo>
                  <a:pt x="258" y="554"/>
                </a:lnTo>
                <a:lnTo>
                  <a:pt x="252" y="552"/>
                </a:lnTo>
                <a:lnTo>
                  <a:pt x="246" y="546"/>
                </a:lnTo>
                <a:lnTo>
                  <a:pt x="246" y="540"/>
                </a:lnTo>
                <a:lnTo>
                  <a:pt x="250" y="534"/>
                </a:lnTo>
                <a:lnTo>
                  <a:pt x="330" y="450"/>
                </a:lnTo>
                <a:lnTo>
                  <a:pt x="312" y="444"/>
                </a:lnTo>
                <a:lnTo>
                  <a:pt x="296" y="434"/>
                </a:lnTo>
                <a:lnTo>
                  <a:pt x="280" y="422"/>
                </a:lnTo>
                <a:lnTo>
                  <a:pt x="268" y="408"/>
                </a:lnTo>
                <a:lnTo>
                  <a:pt x="258" y="394"/>
                </a:lnTo>
                <a:lnTo>
                  <a:pt x="250" y="376"/>
                </a:lnTo>
                <a:lnTo>
                  <a:pt x="244" y="358"/>
                </a:lnTo>
                <a:lnTo>
                  <a:pt x="242" y="338"/>
                </a:lnTo>
                <a:lnTo>
                  <a:pt x="228" y="334"/>
                </a:lnTo>
                <a:lnTo>
                  <a:pt x="218" y="330"/>
                </a:lnTo>
                <a:lnTo>
                  <a:pt x="206" y="322"/>
                </a:lnTo>
                <a:lnTo>
                  <a:pt x="198" y="314"/>
                </a:lnTo>
                <a:lnTo>
                  <a:pt x="190" y="304"/>
                </a:lnTo>
                <a:lnTo>
                  <a:pt x="186" y="292"/>
                </a:lnTo>
                <a:lnTo>
                  <a:pt x="182" y="280"/>
                </a:lnTo>
                <a:lnTo>
                  <a:pt x="180" y="266"/>
                </a:lnTo>
                <a:lnTo>
                  <a:pt x="180" y="246"/>
                </a:lnTo>
                <a:lnTo>
                  <a:pt x="180" y="184"/>
                </a:lnTo>
                <a:lnTo>
                  <a:pt x="182" y="180"/>
                </a:lnTo>
                <a:lnTo>
                  <a:pt x="184" y="176"/>
                </a:lnTo>
                <a:lnTo>
                  <a:pt x="188" y="172"/>
                </a:lnTo>
                <a:lnTo>
                  <a:pt x="192" y="172"/>
                </a:lnTo>
                <a:lnTo>
                  <a:pt x="474" y="172"/>
                </a:lnTo>
                <a:lnTo>
                  <a:pt x="534" y="172"/>
                </a:lnTo>
                <a:lnTo>
                  <a:pt x="540" y="172"/>
                </a:lnTo>
                <a:lnTo>
                  <a:pt x="544" y="176"/>
                </a:lnTo>
                <a:lnTo>
                  <a:pt x="546" y="180"/>
                </a:lnTo>
                <a:lnTo>
                  <a:pt x="548" y="184"/>
                </a:lnTo>
                <a:lnTo>
                  <a:pt x="548" y="24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8" name="Freeform 90"/>
          <p:cNvSpPr>
            <a:spLocks noEditPoints="1"/>
          </p:cNvSpPr>
          <p:nvPr userDrawn="1"/>
        </p:nvSpPr>
        <p:spPr bwMode="auto">
          <a:xfrm>
            <a:off x="9138597" y="2536609"/>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494 w 724"/>
              <a:gd name="T47" fmla="*/ 462 h 726"/>
              <a:gd name="T48" fmla="*/ 442 w 724"/>
              <a:gd name="T49" fmla="*/ 486 h 726"/>
              <a:gd name="T50" fmla="*/ 384 w 724"/>
              <a:gd name="T51" fmla="*/ 498 h 726"/>
              <a:gd name="T52" fmla="*/ 342 w 724"/>
              <a:gd name="T53" fmla="*/ 498 h 726"/>
              <a:gd name="T54" fmla="*/ 282 w 724"/>
              <a:gd name="T55" fmla="*/ 486 h 726"/>
              <a:gd name="T56" fmla="*/ 230 w 724"/>
              <a:gd name="T57" fmla="*/ 462 h 726"/>
              <a:gd name="T58" fmla="*/ 188 w 724"/>
              <a:gd name="T59" fmla="*/ 432 h 726"/>
              <a:gd name="T60" fmla="*/ 128 w 724"/>
              <a:gd name="T61" fmla="*/ 362 h 726"/>
              <a:gd name="T62" fmla="*/ 164 w 724"/>
              <a:gd name="T63" fmla="*/ 316 h 726"/>
              <a:gd name="T64" fmla="*/ 214 w 724"/>
              <a:gd name="T65" fmla="*/ 274 h 726"/>
              <a:gd name="T66" fmla="*/ 264 w 724"/>
              <a:gd name="T67" fmla="*/ 246 h 726"/>
              <a:gd name="T68" fmla="*/ 320 w 724"/>
              <a:gd name="T69" fmla="*/ 230 h 726"/>
              <a:gd name="T70" fmla="*/ 362 w 724"/>
              <a:gd name="T71" fmla="*/ 226 h 726"/>
              <a:gd name="T72" fmla="*/ 424 w 724"/>
              <a:gd name="T73" fmla="*/ 234 h 726"/>
              <a:gd name="T74" fmla="*/ 478 w 724"/>
              <a:gd name="T75" fmla="*/ 254 h 726"/>
              <a:gd name="T76" fmla="*/ 510 w 724"/>
              <a:gd name="T77" fmla="*/ 274 h 726"/>
              <a:gd name="T78" fmla="*/ 580 w 724"/>
              <a:gd name="T79" fmla="*/ 340 h 726"/>
              <a:gd name="T80" fmla="*/ 580 w 724"/>
              <a:gd name="T81" fmla="*/ 386 h 726"/>
              <a:gd name="T82" fmla="*/ 510 w 724"/>
              <a:gd name="T83" fmla="*/ 452 h 726"/>
              <a:gd name="T84" fmla="*/ 390 w 724"/>
              <a:gd name="T85" fmla="*/ 264 h 726"/>
              <a:gd name="T86" fmla="*/ 330 w 724"/>
              <a:gd name="T87" fmla="*/ 266 h 726"/>
              <a:gd name="T88" fmla="*/ 282 w 724"/>
              <a:gd name="T89" fmla="*/ 300 h 726"/>
              <a:gd name="T90" fmla="*/ 264 w 724"/>
              <a:gd name="T91" fmla="*/ 336 h 726"/>
              <a:gd name="T92" fmla="*/ 266 w 724"/>
              <a:gd name="T93" fmla="*/ 394 h 726"/>
              <a:gd name="T94" fmla="*/ 298 w 724"/>
              <a:gd name="T95" fmla="*/ 442 h 726"/>
              <a:gd name="T96" fmla="*/ 336 w 724"/>
              <a:gd name="T97" fmla="*/ 462 h 726"/>
              <a:gd name="T98" fmla="*/ 394 w 724"/>
              <a:gd name="T99" fmla="*/ 460 h 726"/>
              <a:gd name="T100" fmla="*/ 442 w 724"/>
              <a:gd name="T101" fmla="*/ 426 h 726"/>
              <a:gd name="T102" fmla="*/ 460 w 724"/>
              <a:gd name="T103" fmla="*/ 390 h 726"/>
              <a:gd name="T104" fmla="*/ 460 w 724"/>
              <a:gd name="T105" fmla="*/ 332 h 726"/>
              <a:gd name="T106" fmla="*/ 426 w 724"/>
              <a:gd name="T107" fmla="*/ 282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10" y="452"/>
                </a:moveTo>
                <a:lnTo>
                  <a:pt x="510" y="452"/>
                </a:lnTo>
                <a:lnTo>
                  <a:pt x="494" y="462"/>
                </a:lnTo>
                <a:lnTo>
                  <a:pt x="478" y="472"/>
                </a:lnTo>
                <a:lnTo>
                  <a:pt x="460" y="480"/>
                </a:lnTo>
                <a:lnTo>
                  <a:pt x="442" y="486"/>
                </a:lnTo>
                <a:lnTo>
                  <a:pt x="424" y="492"/>
                </a:lnTo>
                <a:lnTo>
                  <a:pt x="404" y="496"/>
                </a:lnTo>
                <a:lnTo>
                  <a:pt x="384" y="498"/>
                </a:lnTo>
                <a:lnTo>
                  <a:pt x="362" y="500"/>
                </a:lnTo>
                <a:lnTo>
                  <a:pt x="342" y="498"/>
                </a:lnTo>
                <a:lnTo>
                  <a:pt x="320" y="496"/>
                </a:lnTo>
                <a:lnTo>
                  <a:pt x="302" y="492"/>
                </a:lnTo>
                <a:lnTo>
                  <a:pt x="282" y="486"/>
                </a:lnTo>
                <a:lnTo>
                  <a:pt x="264" y="480"/>
                </a:lnTo>
                <a:lnTo>
                  <a:pt x="246" y="472"/>
                </a:lnTo>
                <a:lnTo>
                  <a:pt x="230" y="462"/>
                </a:lnTo>
                <a:lnTo>
                  <a:pt x="214" y="452"/>
                </a:lnTo>
                <a:lnTo>
                  <a:pt x="188" y="432"/>
                </a:lnTo>
                <a:lnTo>
                  <a:pt x="164" y="410"/>
                </a:lnTo>
                <a:lnTo>
                  <a:pt x="144" y="386"/>
                </a:lnTo>
                <a:lnTo>
                  <a:pt x="128" y="362"/>
                </a:lnTo>
                <a:lnTo>
                  <a:pt x="144" y="340"/>
                </a:lnTo>
                <a:lnTo>
                  <a:pt x="164" y="316"/>
                </a:lnTo>
                <a:lnTo>
                  <a:pt x="188" y="294"/>
                </a:lnTo>
                <a:lnTo>
                  <a:pt x="214" y="274"/>
                </a:lnTo>
                <a:lnTo>
                  <a:pt x="230" y="264"/>
                </a:lnTo>
                <a:lnTo>
                  <a:pt x="246" y="254"/>
                </a:lnTo>
                <a:lnTo>
                  <a:pt x="264" y="246"/>
                </a:lnTo>
                <a:lnTo>
                  <a:pt x="282" y="240"/>
                </a:lnTo>
                <a:lnTo>
                  <a:pt x="302" y="234"/>
                </a:lnTo>
                <a:lnTo>
                  <a:pt x="320" y="230"/>
                </a:lnTo>
                <a:lnTo>
                  <a:pt x="342" y="228"/>
                </a:lnTo>
                <a:lnTo>
                  <a:pt x="362" y="226"/>
                </a:lnTo>
                <a:lnTo>
                  <a:pt x="384" y="228"/>
                </a:lnTo>
                <a:lnTo>
                  <a:pt x="404" y="230"/>
                </a:lnTo>
                <a:lnTo>
                  <a:pt x="424" y="234"/>
                </a:lnTo>
                <a:lnTo>
                  <a:pt x="442" y="240"/>
                </a:lnTo>
                <a:lnTo>
                  <a:pt x="460" y="246"/>
                </a:lnTo>
                <a:lnTo>
                  <a:pt x="478" y="254"/>
                </a:lnTo>
                <a:lnTo>
                  <a:pt x="494" y="264"/>
                </a:lnTo>
                <a:lnTo>
                  <a:pt x="510" y="274"/>
                </a:lnTo>
                <a:lnTo>
                  <a:pt x="536" y="294"/>
                </a:lnTo>
                <a:lnTo>
                  <a:pt x="560" y="316"/>
                </a:lnTo>
                <a:lnTo>
                  <a:pt x="580" y="340"/>
                </a:lnTo>
                <a:lnTo>
                  <a:pt x="596" y="362"/>
                </a:lnTo>
                <a:lnTo>
                  <a:pt x="580" y="386"/>
                </a:lnTo>
                <a:lnTo>
                  <a:pt x="560" y="410"/>
                </a:lnTo>
                <a:lnTo>
                  <a:pt x="536" y="432"/>
                </a:lnTo>
                <a:lnTo>
                  <a:pt x="510" y="452"/>
                </a:lnTo>
                <a:close/>
                <a:moveTo>
                  <a:pt x="408" y="272"/>
                </a:moveTo>
                <a:lnTo>
                  <a:pt x="408" y="272"/>
                </a:lnTo>
                <a:lnTo>
                  <a:pt x="390" y="264"/>
                </a:lnTo>
                <a:lnTo>
                  <a:pt x="370" y="260"/>
                </a:lnTo>
                <a:lnTo>
                  <a:pt x="350" y="262"/>
                </a:lnTo>
                <a:lnTo>
                  <a:pt x="330" y="266"/>
                </a:lnTo>
                <a:lnTo>
                  <a:pt x="312" y="274"/>
                </a:lnTo>
                <a:lnTo>
                  <a:pt x="296" y="284"/>
                </a:lnTo>
                <a:lnTo>
                  <a:pt x="282" y="300"/>
                </a:lnTo>
                <a:lnTo>
                  <a:pt x="272" y="316"/>
                </a:lnTo>
                <a:lnTo>
                  <a:pt x="264" y="336"/>
                </a:lnTo>
                <a:lnTo>
                  <a:pt x="260" y="356"/>
                </a:lnTo>
                <a:lnTo>
                  <a:pt x="260" y="376"/>
                </a:lnTo>
                <a:lnTo>
                  <a:pt x="266" y="394"/>
                </a:lnTo>
                <a:lnTo>
                  <a:pt x="272" y="412"/>
                </a:lnTo>
                <a:lnTo>
                  <a:pt x="284" y="428"/>
                </a:lnTo>
                <a:lnTo>
                  <a:pt x="298" y="442"/>
                </a:lnTo>
                <a:lnTo>
                  <a:pt x="316" y="454"/>
                </a:lnTo>
                <a:lnTo>
                  <a:pt x="336" y="462"/>
                </a:lnTo>
                <a:lnTo>
                  <a:pt x="354" y="464"/>
                </a:lnTo>
                <a:lnTo>
                  <a:pt x="374" y="464"/>
                </a:lnTo>
                <a:lnTo>
                  <a:pt x="394" y="460"/>
                </a:lnTo>
                <a:lnTo>
                  <a:pt x="412" y="452"/>
                </a:lnTo>
                <a:lnTo>
                  <a:pt x="428" y="440"/>
                </a:lnTo>
                <a:lnTo>
                  <a:pt x="442" y="426"/>
                </a:lnTo>
                <a:lnTo>
                  <a:pt x="454" y="410"/>
                </a:lnTo>
                <a:lnTo>
                  <a:pt x="460" y="390"/>
                </a:lnTo>
                <a:lnTo>
                  <a:pt x="464" y="370"/>
                </a:lnTo>
                <a:lnTo>
                  <a:pt x="464" y="350"/>
                </a:lnTo>
                <a:lnTo>
                  <a:pt x="460" y="332"/>
                </a:lnTo>
                <a:lnTo>
                  <a:pt x="452" y="314"/>
                </a:lnTo>
                <a:lnTo>
                  <a:pt x="440" y="296"/>
                </a:lnTo>
                <a:lnTo>
                  <a:pt x="426" y="282"/>
                </a:lnTo>
                <a:lnTo>
                  <a:pt x="408" y="27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Freeform 101"/>
          <p:cNvSpPr>
            <a:spLocks noEditPoints="1"/>
          </p:cNvSpPr>
          <p:nvPr userDrawn="1"/>
        </p:nvSpPr>
        <p:spPr bwMode="auto">
          <a:xfrm>
            <a:off x="12090544"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0" name="Freeform 120"/>
          <p:cNvSpPr>
            <a:spLocks noEditPoints="1"/>
          </p:cNvSpPr>
          <p:nvPr userDrawn="1"/>
        </p:nvSpPr>
        <p:spPr bwMode="auto">
          <a:xfrm>
            <a:off x="282765" y="2536609"/>
            <a:ext cx="1080000" cy="1080000"/>
          </a:xfrm>
          <a:custGeom>
            <a:avLst/>
            <a:gdLst>
              <a:gd name="T0" fmla="*/ 294 w 726"/>
              <a:gd name="T1" fmla="*/ 396 h 726"/>
              <a:gd name="T2" fmla="*/ 350 w 726"/>
              <a:gd name="T3" fmla="*/ 324 h 726"/>
              <a:gd name="T4" fmla="*/ 350 w 726"/>
              <a:gd name="T5" fmla="*/ 520 h 726"/>
              <a:gd name="T6" fmla="*/ 234 w 726"/>
              <a:gd name="T7" fmla="*/ 448 h 726"/>
              <a:gd name="T8" fmla="*/ 234 w 726"/>
              <a:gd name="T9" fmla="*/ 448 h 726"/>
              <a:gd name="T10" fmla="*/ 206 w 726"/>
              <a:gd name="T11" fmla="*/ 324 h 726"/>
              <a:gd name="T12" fmla="*/ 250 w 726"/>
              <a:gd name="T13" fmla="*/ 520 h 726"/>
              <a:gd name="T14" fmla="*/ 270 w 726"/>
              <a:gd name="T15" fmla="*/ 474 h 726"/>
              <a:gd name="T16" fmla="*/ 432 w 726"/>
              <a:gd name="T17" fmla="*/ 520 h 726"/>
              <a:gd name="T18" fmla="*/ 362 w 726"/>
              <a:gd name="T19" fmla="*/ 204 h 726"/>
              <a:gd name="T20" fmla="*/ 358 w 726"/>
              <a:gd name="T21" fmla="*/ 300 h 726"/>
              <a:gd name="T22" fmla="*/ 366 w 726"/>
              <a:gd name="T23" fmla="*/ 206 h 726"/>
              <a:gd name="T24" fmla="*/ 522 w 726"/>
              <a:gd name="T25" fmla="*/ 324 h 726"/>
              <a:gd name="T26" fmla="*/ 432 w 726"/>
              <a:gd name="T27" fmla="*/ 448 h 726"/>
              <a:gd name="T28" fmla="*/ 364 w 726"/>
              <a:gd name="T29" fmla="*/ 0 h 726"/>
              <a:gd name="T30" fmla="*/ 256 w 726"/>
              <a:gd name="T31" fmla="*/ 16 h 726"/>
              <a:gd name="T32" fmla="*/ 132 w 726"/>
              <a:gd name="T33" fmla="*/ 82 h 726"/>
              <a:gd name="T34" fmla="*/ 44 w 726"/>
              <a:gd name="T35" fmla="*/ 190 h 726"/>
              <a:gd name="T36" fmla="*/ 2 w 726"/>
              <a:gd name="T37" fmla="*/ 326 h 726"/>
              <a:gd name="T38" fmla="*/ 8 w 726"/>
              <a:gd name="T39" fmla="*/ 436 h 726"/>
              <a:gd name="T40" fmla="*/ 62 w 726"/>
              <a:gd name="T41" fmla="*/ 566 h 726"/>
              <a:gd name="T42" fmla="*/ 160 w 726"/>
              <a:gd name="T43" fmla="*/ 664 h 726"/>
              <a:gd name="T44" fmla="*/ 290 w 726"/>
              <a:gd name="T45" fmla="*/ 718 h 726"/>
              <a:gd name="T46" fmla="*/ 400 w 726"/>
              <a:gd name="T47" fmla="*/ 724 h 726"/>
              <a:gd name="T48" fmla="*/ 536 w 726"/>
              <a:gd name="T49" fmla="*/ 682 h 726"/>
              <a:gd name="T50" fmla="*/ 644 w 726"/>
              <a:gd name="T51" fmla="*/ 594 h 726"/>
              <a:gd name="T52" fmla="*/ 710 w 726"/>
              <a:gd name="T53" fmla="*/ 470 h 726"/>
              <a:gd name="T54" fmla="*/ 726 w 726"/>
              <a:gd name="T55" fmla="*/ 362 h 726"/>
              <a:gd name="T56" fmla="*/ 698 w 726"/>
              <a:gd name="T57" fmla="*/ 222 h 726"/>
              <a:gd name="T58" fmla="*/ 620 w 726"/>
              <a:gd name="T59" fmla="*/ 106 h 726"/>
              <a:gd name="T60" fmla="*/ 504 w 726"/>
              <a:gd name="T61" fmla="*/ 28 h 726"/>
              <a:gd name="T62" fmla="*/ 364 w 726"/>
              <a:gd name="T63" fmla="*/ 0 h 726"/>
              <a:gd name="T64" fmla="*/ 498 w 726"/>
              <a:gd name="T65" fmla="*/ 532 h 726"/>
              <a:gd name="T66" fmla="*/ 474 w 726"/>
              <a:gd name="T67" fmla="*/ 544 h 726"/>
              <a:gd name="T68" fmla="*/ 234 w 726"/>
              <a:gd name="T69" fmla="*/ 538 h 726"/>
              <a:gd name="T70" fmla="*/ 180 w 726"/>
              <a:gd name="T71" fmla="*/ 328 h 726"/>
              <a:gd name="T72" fmla="*/ 182 w 726"/>
              <a:gd name="T73" fmla="*/ 314 h 726"/>
              <a:gd name="T74" fmla="*/ 202 w 726"/>
              <a:gd name="T75" fmla="*/ 300 h 726"/>
              <a:gd name="T76" fmla="*/ 334 w 726"/>
              <a:gd name="T77" fmla="*/ 190 h 726"/>
              <a:gd name="T78" fmla="*/ 376 w 726"/>
              <a:gd name="T79" fmla="*/ 180 h 726"/>
              <a:gd name="T80" fmla="*/ 392 w 726"/>
              <a:gd name="T81" fmla="*/ 190 h 726"/>
              <a:gd name="T82" fmla="*/ 524 w 726"/>
              <a:gd name="T83" fmla="*/ 300 h 726"/>
              <a:gd name="T84" fmla="*/ 546 w 726"/>
              <a:gd name="T85" fmla="*/ 314 h 726"/>
              <a:gd name="T86" fmla="*/ 458 w 726"/>
              <a:gd name="T87" fmla="*/ 448 h 726"/>
              <a:gd name="T88" fmla="*/ 458 w 726"/>
              <a:gd name="T89" fmla="*/ 448 h 726"/>
              <a:gd name="T90" fmla="*/ 476 w 726"/>
              <a:gd name="T91" fmla="*/ 520 h 726"/>
              <a:gd name="T92" fmla="*/ 458 w 726"/>
              <a:gd name="T93" fmla="*/ 474 h 726"/>
              <a:gd name="T94" fmla="*/ 432 w 726"/>
              <a:gd name="T95" fmla="*/ 32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294" y="448"/>
                </a:moveTo>
                <a:lnTo>
                  <a:pt x="350" y="448"/>
                </a:lnTo>
                <a:lnTo>
                  <a:pt x="350" y="396"/>
                </a:lnTo>
                <a:lnTo>
                  <a:pt x="294" y="396"/>
                </a:lnTo>
                <a:lnTo>
                  <a:pt x="294" y="448"/>
                </a:lnTo>
                <a:close/>
                <a:moveTo>
                  <a:pt x="294" y="370"/>
                </a:moveTo>
                <a:lnTo>
                  <a:pt x="350" y="370"/>
                </a:lnTo>
                <a:lnTo>
                  <a:pt x="350" y="324"/>
                </a:lnTo>
                <a:lnTo>
                  <a:pt x="294" y="324"/>
                </a:lnTo>
                <a:lnTo>
                  <a:pt x="294" y="370"/>
                </a:lnTo>
                <a:close/>
                <a:moveTo>
                  <a:pt x="294" y="520"/>
                </a:moveTo>
                <a:lnTo>
                  <a:pt x="350" y="520"/>
                </a:lnTo>
                <a:lnTo>
                  <a:pt x="350" y="474"/>
                </a:lnTo>
                <a:lnTo>
                  <a:pt x="294" y="474"/>
                </a:lnTo>
                <a:lnTo>
                  <a:pt x="294" y="520"/>
                </a:lnTo>
                <a:close/>
                <a:moveTo>
                  <a:pt x="234" y="448"/>
                </a:moveTo>
                <a:lnTo>
                  <a:pt x="270" y="448"/>
                </a:lnTo>
                <a:lnTo>
                  <a:pt x="270" y="396"/>
                </a:lnTo>
                <a:lnTo>
                  <a:pt x="222" y="396"/>
                </a:lnTo>
                <a:lnTo>
                  <a:pt x="234" y="448"/>
                </a:lnTo>
                <a:close/>
                <a:moveTo>
                  <a:pt x="216" y="370"/>
                </a:moveTo>
                <a:lnTo>
                  <a:pt x="270" y="370"/>
                </a:lnTo>
                <a:lnTo>
                  <a:pt x="270" y="324"/>
                </a:lnTo>
                <a:lnTo>
                  <a:pt x="206" y="324"/>
                </a:lnTo>
                <a:lnTo>
                  <a:pt x="216" y="370"/>
                </a:lnTo>
                <a:close/>
                <a:moveTo>
                  <a:pt x="248" y="518"/>
                </a:moveTo>
                <a:lnTo>
                  <a:pt x="248" y="518"/>
                </a:lnTo>
                <a:lnTo>
                  <a:pt x="250" y="520"/>
                </a:lnTo>
                <a:lnTo>
                  <a:pt x="252" y="520"/>
                </a:lnTo>
                <a:lnTo>
                  <a:pt x="270" y="520"/>
                </a:lnTo>
                <a:lnTo>
                  <a:pt x="270" y="474"/>
                </a:lnTo>
                <a:lnTo>
                  <a:pt x="238" y="474"/>
                </a:lnTo>
                <a:lnTo>
                  <a:pt x="248" y="518"/>
                </a:lnTo>
                <a:close/>
                <a:moveTo>
                  <a:pt x="376" y="520"/>
                </a:moveTo>
                <a:lnTo>
                  <a:pt x="432" y="520"/>
                </a:lnTo>
                <a:lnTo>
                  <a:pt x="432" y="474"/>
                </a:lnTo>
                <a:lnTo>
                  <a:pt x="376" y="474"/>
                </a:lnTo>
                <a:lnTo>
                  <a:pt x="376" y="520"/>
                </a:lnTo>
                <a:close/>
                <a:moveTo>
                  <a:pt x="362" y="204"/>
                </a:moveTo>
                <a:lnTo>
                  <a:pt x="362" y="204"/>
                </a:lnTo>
                <a:lnTo>
                  <a:pt x="360" y="206"/>
                </a:lnTo>
                <a:lnTo>
                  <a:pt x="358" y="208"/>
                </a:lnTo>
                <a:lnTo>
                  <a:pt x="358" y="300"/>
                </a:lnTo>
                <a:lnTo>
                  <a:pt x="368" y="300"/>
                </a:lnTo>
                <a:lnTo>
                  <a:pt x="368" y="208"/>
                </a:lnTo>
                <a:lnTo>
                  <a:pt x="366" y="206"/>
                </a:lnTo>
                <a:lnTo>
                  <a:pt x="362" y="204"/>
                </a:lnTo>
                <a:close/>
                <a:moveTo>
                  <a:pt x="458" y="370"/>
                </a:moveTo>
                <a:lnTo>
                  <a:pt x="510" y="370"/>
                </a:lnTo>
                <a:lnTo>
                  <a:pt x="522" y="324"/>
                </a:lnTo>
                <a:lnTo>
                  <a:pt x="458" y="324"/>
                </a:lnTo>
                <a:lnTo>
                  <a:pt x="458" y="370"/>
                </a:lnTo>
                <a:close/>
                <a:moveTo>
                  <a:pt x="376" y="448"/>
                </a:moveTo>
                <a:lnTo>
                  <a:pt x="432" y="448"/>
                </a:lnTo>
                <a:lnTo>
                  <a:pt x="432" y="396"/>
                </a:lnTo>
                <a:lnTo>
                  <a:pt x="376" y="396"/>
                </a:lnTo>
                <a:lnTo>
                  <a:pt x="376" y="4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46" y="326"/>
                </a:moveTo>
                <a:lnTo>
                  <a:pt x="502" y="524"/>
                </a:lnTo>
                <a:lnTo>
                  <a:pt x="498" y="532"/>
                </a:lnTo>
                <a:lnTo>
                  <a:pt x="492" y="538"/>
                </a:lnTo>
                <a:lnTo>
                  <a:pt x="484" y="544"/>
                </a:lnTo>
                <a:lnTo>
                  <a:pt x="474" y="544"/>
                </a:lnTo>
                <a:lnTo>
                  <a:pt x="252" y="544"/>
                </a:lnTo>
                <a:lnTo>
                  <a:pt x="242" y="544"/>
                </a:lnTo>
                <a:lnTo>
                  <a:pt x="234" y="538"/>
                </a:lnTo>
                <a:lnTo>
                  <a:pt x="228" y="532"/>
                </a:lnTo>
                <a:lnTo>
                  <a:pt x="224" y="524"/>
                </a:lnTo>
                <a:lnTo>
                  <a:pt x="180" y="328"/>
                </a:lnTo>
                <a:lnTo>
                  <a:pt x="180" y="322"/>
                </a:lnTo>
                <a:lnTo>
                  <a:pt x="182" y="314"/>
                </a:lnTo>
                <a:lnTo>
                  <a:pt x="186" y="306"/>
                </a:lnTo>
                <a:lnTo>
                  <a:pt x="194" y="302"/>
                </a:lnTo>
                <a:lnTo>
                  <a:pt x="202" y="300"/>
                </a:lnTo>
                <a:lnTo>
                  <a:pt x="332" y="300"/>
                </a:lnTo>
                <a:lnTo>
                  <a:pt x="332" y="196"/>
                </a:lnTo>
                <a:lnTo>
                  <a:pt x="334" y="190"/>
                </a:lnTo>
                <a:lnTo>
                  <a:pt x="338" y="186"/>
                </a:lnTo>
                <a:lnTo>
                  <a:pt x="342" y="182"/>
                </a:lnTo>
                <a:lnTo>
                  <a:pt x="348" y="180"/>
                </a:lnTo>
                <a:lnTo>
                  <a:pt x="376" y="180"/>
                </a:lnTo>
                <a:lnTo>
                  <a:pt x="382" y="182"/>
                </a:lnTo>
                <a:lnTo>
                  <a:pt x="388" y="186"/>
                </a:lnTo>
                <a:lnTo>
                  <a:pt x="392" y="190"/>
                </a:lnTo>
                <a:lnTo>
                  <a:pt x="392" y="196"/>
                </a:lnTo>
                <a:lnTo>
                  <a:pt x="392" y="300"/>
                </a:lnTo>
                <a:lnTo>
                  <a:pt x="524" y="300"/>
                </a:lnTo>
                <a:lnTo>
                  <a:pt x="534" y="302"/>
                </a:lnTo>
                <a:lnTo>
                  <a:pt x="540" y="306"/>
                </a:lnTo>
                <a:lnTo>
                  <a:pt x="546" y="314"/>
                </a:lnTo>
                <a:lnTo>
                  <a:pt x="548" y="322"/>
                </a:lnTo>
                <a:lnTo>
                  <a:pt x="546" y="326"/>
                </a:lnTo>
                <a:close/>
                <a:moveTo>
                  <a:pt x="458" y="448"/>
                </a:moveTo>
                <a:lnTo>
                  <a:pt x="494" y="448"/>
                </a:lnTo>
                <a:lnTo>
                  <a:pt x="506" y="396"/>
                </a:lnTo>
                <a:lnTo>
                  <a:pt x="458" y="396"/>
                </a:lnTo>
                <a:lnTo>
                  <a:pt x="458" y="448"/>
                </a:lnTo>
                <a:close/>
                <a:moveTo>
                  <a:pt x="458" y="520"/>
                </a:moveTo>
                <a:lnTo>
                  <a:pt x="474" y="520"/>
                </a:lnTo>
                <a:lnTo>
                  <a:pt x="476" y="520"/>
                </a:lnTo>
                <a:lnTo>
                  <a:pt x="478" y="518"/>
                </a:lnTo>
                <a:lnTo>
                  <a:pt x="488" y="474"/>
                </a:lnTo>
                <a:lnTo>
                  <a:pt x="458" y="474"/>
                </a:lnTo>
                <a:lnTo>
                  <a:pt x="458" y="520"/>
                </a:lnTo>
                <a:close/>
                <a:moveTo>
                  <a:pt x="376" y="370"/>
                </a:moveTo>
                <a:lnTo>
                  <a:pt x="432" y="370"/>
                </a:lnTo>
                <a:lnTo>
                  <a:pt x="432" y="324"/>
                </a:lnTo>
                <a:lnTo>
                  <a:pt x="376" y="324"/>
                </a:lnTo>
                <a:lnTo>
                  <a:pt x="376" y="3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Freeform 255"/>
          <p:cNvSpPr>
            <a:spLocks noEditPoints="1"/>
          </p:cNvSpPr>
          <p:nvPr userDrawn="1"/>
        </p:nvSpPr>
        <p:spPr bwMode="auto">
          <a:xfrm>
            <a:off x="7662625" y="2536609"/>
            <a:ext cx="1080000" cy="1080000"/>
          </a:xfrm>
          <a:custGeom>
            <a:avLst/>
            <a:gdLst>
              <a:gd name="T0" fmla="*/ 106 w 726"/>
              <a:gd name="T1" fmla="*/ 106 h 726"/>
              <a:gd name="T2" fmla="*/ 2 w 726"/>
              <a:gd name="T3" fmla="*/ 400 h 726"/>
              <a:gd name="T4" fmla="*/ 190 w 726"/>
              <a:gd name="T5" fmla="*/ 682 h 726"/>
              <a:gd name="T6" fmla="*/ 504 w 726"/>
              <a:gd name="T7" fmla="*/ 698 h 726"/>
              <a:gd name="T8" fmla="*/ 718 w 726"/>
              <a:gd name="T9" fmla="*/ 436 h 726"/>
              <a:gd name="T10" fmla="*/ 642 w 726"/>
              <a:gd name="T11" fmla="*/ 132 h 726"/>
              <a:gd name="T12" fmla="*/ 516 w 726"/>
              <a:gd name="T13" fmla="*/ 452 h 726"/>
              <a:gd name="T14" fmla="*/ 410 w 726"/>
              <a:gd name="T15" fmla="*/ 610 h 726"/>
              <a:gd name="T16" fmla="*/ 276 w 726"/>
              <a:gd name="T17" fmla="*/ 582 h 726"/>
              <a:gd name="T18" fmla="*/ 188 w 726"/>
              <a:gd name="T19" fmla="*/ 366 h 726"/>
              <a:gd name="T20" fmla="*/ 224 w 726"/>
              <a:gd name="T21" fmla="*/ 174 h 726"/>
              <a:gd name="T22" fmla="*/ 362 w 726"/>
              <a:gd name="T23" fmla="*/ 106 h 726"/>
              <a:gd name="T24" fmla="*/ 510 w 726"/>
              <a:gd name="T25" fmla="*/ 188 h 726"/>
              <a:gd name="T26" fmla="*/ 530 w 726"/>
              <a:gd name="T27" fmla="*/ 406 h 726"/>
              <a:gd name="T28" fmla="*/ 454 w 726"/>
              <a:gd name="T29" fmla="*/ 320 h 726"/>
              <a:gd name="T30" fmla="*/ 406 w 726"/>
              <a:gd name="T31" fmla="*/ 346 h 726"/>
              <a:gd name="T32" fmla="*/ 440 w 726"/>
              <a:gd name="T33" fmla="*/ 388 h 726"/>
              <a:gd name="T34" fmla="*/ 398 w 726"/>
              <a:gd name="T35" fmla="*/ 270 h 726"/>
              <a:gd name="T36" fmla="*/ 398 w 726"/>
              <a:gd name="T37" fmla="*/ 236 h 726"/>
              <a:gd name="T38" fmla="*/ 398 w 726"/>
              <a:gd name="T39" fmla="*/ 270 h 726"/>
              <a:gd name="T40" fmla="*/ 468 w 726"/>
              <a:gd name="T41" fmla="*/ 240 h 726"/>
              <a:gd name="T42" fmla="*/ 438 w 726"/>
              <a:gd name="T43" fmla="*/ 228 h 726"/>
              <a:gd name="T44" fmla="*/ 458 w 726"/>
              <a:gd name="T45" fmla="*/ 164 h 726"/>
              <a:gd name="T46" fmla="*/ 434 w 726"/>
              <a:gd name="T47" fmla="*/ 186 h 726"/>
              <a:gd name="T48" fmla="*/ 390 w 726"/>
              <a:gd name="T49" fmla="*/ 572 h 726"/>
              <a:gd name="T50" fmla="*/ 422 w 726"/>
              <a:gd name="T51" fmla="*/ 558 h 726"/>
              <a:gd name="T52" fmla="*/ 418 w 726"/>
              <a:gd name="T53" fmla="*/ 520 h 726"/>
              <a:gd name="T54" fmla="*/ 386 w 726"/>
              <a:gd name="T55" fmla="*/ 520 h 726"/>
              <a:gd name="T56" fmla="*/ 416 w 726"/>
              <a:gd name="T57" fmla="*/ 476 h 726"/>
              <a:gd name="T58" fmla="*/ 382 w 726"/>
              <a:gd name="T59" fmla="*/ 476 h 726"/>
              <a:gd name="T60" fmla="*/ 518 w 726"/>
              <a:gd name="T61" fmla="*/ 300 h 726"/>
              <a:gd name="T62" fmla="*/ 486 w 726"/>
              <a:gd name="T63" fmla="*/ 288 h 726"/>
              <a:gd name="T64" fmla="*/ 468 w 726"/>
              <a:gd name="T65" fmla="*/ 420 h 726"/>
              <a:gd name="T66" fmla="*/ 492 w 726"/>
              <a:gd name="T67" fmla="*/ 444 h 726"/>
              <a:gd name="T68" fmla="*/ 318 w 726"/>
              <a:gd name="T69" fmla="*/ 346 h 726"/>
              <a:gd name="T70" fmla="*/ 270 w 726"/>
              <a:gd name="T71" fmla="*/ 320 h 726"/>
              <a:gd name="T72" fmla="*/ 256 w 726"/>
              <a:gd name="T73" fmla="*/ 372 h 726"/>
              <a:gd name="T74" fmla="*/ 308 w 726"/>
              <a:gd name="T75" fmla="*/ 378 h 726"/>
              <a:gd name="T76" fmla="*/ 344 w 726"/>
              <a:gd name="T77" fmla="*/ 254 h 726"/>
              <a:gd name="T78" fmla="*/ 310 w 726"/>
              <a:gd name="T79" fmla="*/ 254 h 726"/>
              <a:gd name="T80" fmla="*/ 288 w 726"/>
              <a:gd name="T81" fmla="*/ 240 h 726"/>
              <a:gd name="T82" fmla="*/ 256 w 726"/>
              <a:gd name="T83" fmla="*/ 228 h 726"/>
              <a:gd name="T84" fmla="*/ 292 w 726"/>
              <a:gd name="T85" fmla="*/ 186 h 726"/>
              <a:gd name="T86" fmla="*/ 268 w 726"/>
              <a:gd name="T87" fmla="*/ 164 h 726"/>
              <a:gd name="T88" fmla="*/ 312 w 726"/>
              <a:gd name="T89" fmla="*/ 550 h 726"/>
              <a:gd name="T90" fmla="*/ 326 w 726"/>
              <a:gd name="T91" fmla="*/ 580 h 726"/>
              <a:gd name="T92" fmla="*/ 322 w 726"/>
              <a:gd name="T93" fmla="*/ 504 h 726"/>
              <a:gd name="T94" fmla="*/ 322 w 726"/>
              <a:gd name="T95" fmla="*/ 538 h 726"/>
              <a:gd name="T96" fmla="*/ 326 w 726"/>
              <a:gd name="T97" fmla="*/ 460 h 726"/>
              <a:gd name="T98" fmla="*/ 326 w 726"/>
              <a:gd name="T99" fmla="*/ 494 h 726"/>
              <a:gd name="T100" fmla="*/ 326 w 726"/>
              <a:gd name="T101" fmla="*/ 460 h 726"/>
              <a:gd name="T102" fmla="*/ 208 w 726"/>
              <a:gd name="T103" fmla="*/ 288 h 726"/>
              <a:gd name="T104" fmla="*/ 238 w 726"/>
              <a:gd name="T105" fmla="*/ 300 h 726"/>
              <a:gd name="T106" fmla="*/ 234 w 726"/>
              <a:gd name="T107" fmla="*/ 444 h 726"/>
              <a:gd name="T108" fmla="*/ 258 w 726"/>
              <a:gd name="T109" fmla="*/ 420 h 726"/>
              <a:gd name="T110" fmla="*/ 346 w 726"/>
              <a:gd name="T111" fmla="*/ 442 h 726"/>
              <a:gd name="T112" fmla="*/ 378 w 726"/>
              <a:gd name="T113" fmla="*/ 428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16" y="452"/>
                </a:moveTo>
                <a:lnTo>
                  <a:pt x="516" y="452"/>
                </a:lnTo>
                <a:lnTo>
                  <a:pt x="508" y="476"/>
                </a:lnTo>
                <a:lnTo>
                  <a:pt x="498" y="504"/>
                </a:lnTo>
                <a:lnTo>
                  <a:pt x="484" y="532"/>
                </a:lnTo>
                <a:lnTo>
                  <a:pt x="468" y="558"/>
                </a:lnTo>
                <a:lnTo>
                  <a:pt x="458" y="570"/>
                </a:lnTo>
                <a:lnTo>
                  <a:pt x="448" y="582"/>
                </a:lnTo>
                <a:lnTo>
                  <a:pt x="436" y="592"/>
                </a:lnTo>
                <a:lnTo>
                  <a:pt x="424" y="602"/>
                </a:lnTo>
                <a:lnTo>
                  <a:pt x="410" y="610"/>
                </a:lnTo>
                <a:lnTo>
                  <a:pt x="396" y="614"/>
                </a:lnTo>
                <a:lnTo>
                  <a:pt x="380" y="618"/>
                </a:lnTo>
                <a:lnTo>
                  <a:pt x="362" y="620"/>
                </a:lnTo>
                <a:lnTo>
                  <a:pt x="346" y="618"/>
                </a:lnTo>
                <a:lnTo>
                  <a:pt x="330" y="614"/>
                </a:lnTo>
                <a:lnTo>
                  <a:pt x="314" y="610"/>
                </a:lnTo>
                <a:lnTo>
                  <a:pt x="300" y="602"/>
                </a:lnTo>
                <a:lnTo>
                  <a:pt x="288" y="592"/>
                </a:lnTo>
                <a:lnTo>
                  <a:pt x="276" y="582"/>
                </a:lnTo>
                <a:lnTo>
                  <a:pt x="266" y="570"/>
                </a:lnTo>
                <a:lnTo>
                  <a:pt x="256" y="558"/>
                </a:lnTo>
                <a:lnTo>
                  <a:pt x="240" y="532"/>
                </a:lnTo>
                <a:lnTo>
                  <a:pt x="228" y="504"/>
                </a:lnTo>
                <a:lnTo>
                  <a:pt x="216" y="476"/>
                </a:lnTo>
                <a:lnTo>
                  <a:pt x="208" y="452"/>
                </a:lnTo>
                <a:lnTo>
                  <a:pt x="200" y="428"/>
                </a:lnTo>
                <a:lnTo>
                  <a:pt x="196" y="406"/>
                </a:lnTo>
                <a:lnTo>
                  <a:pt x="188" y="366"/>
                </a:lnTo>
                <a:lnTo>
                  <a:pt x="184" y="328"/>
                </a:lnTo>
                <a:lnTo>
                  <a:pt x="184" y="290"/>
                </a:lnTo>
                <a:lnTo>
                  <a:pt x="184" y="272"/>
                </a:lnTo>
                <a:lnTo>
                  <a:pt x="188" y="254"/>
                </a:lnTo>
                <a:lnTo>
                  <a:pt x="192" y="236"/>
                </a:lnTo>
                <a:lnTo>
                  <a:pt x="198" y="218"/>
                </a:lnTo>
                <a:lnTo>
                  <a:pt x="206" y="202"/>
                </a:lnTo>
                <a:lnTo>
                  <a:pt x="214" y="188"/>
                </a:lnTo>
                <a:lnTo>
                  <a:pt x="224" y="174"/>
                </a:lnTo>
                <a:lnTo>
                  <a:pt x="236" y="160"/>
                </a:lnTo>
                <a:lnTo>
                  <a:pt x="248" y="148"/>
                </a:lnTo>
                <a:lnTo>
                  <a:pt x="262" y="138"/>
                </a:lnTo>
                <a:lnTo>
                  <a:pt x="278" y="128"/>
                </a:lnTo>
                <a:lnTo>
                  <a:pt x="294" y="120"/>
                </a:lnTo>
                <a:lnTo>
                  <a:pt x="310" y="114"/>
                </a:lnTo>
                <a:lnTo>
                  <a:pt x="326" y="110"/>
                </a:lnTo>
                <a:lnTo>
                  <a:pt x="344" y="106"/>
                </a:lnTo>
                <a:lnTo>
                  <a:pt x="362" y="106"/>
                </a:lnTo>
                <a:lnTo>
                  <a:pt x="380" y="106"/>
                </a:lnTo>
                <a:lnTo>
                  <a:pt x="398" y="110"/>
                </a:lnTo>
                <a:lnTo>
                  <a:pt x="416" y="114"/>
                </a:lnTo>
                <a:lnTo>
                  <a:pt x="432" y="120"/>
                </a:lnTo>
                <a:lnTo>
                  <a:pt x="448" y="128"/>
                </a:lnTo>
                <a:lnTo>
                  <a:pt x="462" y="138"/>
                </a:lnTo>
                <a:lnTo>
                  <a:pt x="476" y="148"/>
                </a:lnTo>
                <a:lnTo>
                  <a:pt x="488" y="160"/>
                </a:lnTo>
                <a:lnTo>
                  <a:pt x="500" y="174"/>
                </a:lnTo>
                <a:lnTo>
                  <a:pt x="510" y="188"/>
                </a:lnTo>
                <a:lnTo>
                  <a:pt x="520" y="202"/>
                </a:lnTo>
                <a:lnTo>
                  <a:pt x="526" y="218"/>
                </a:lnTo>
                <a:lnTo>
                  <a:pt x="532" y="236"/>
                </a:lnTo>
                <a:lnTo>
                  <a:pt x="538" y="254"/>
                </a:lnTo>
                <a:lnTo>
                  <a:pt x="540" y="272"/>
                </a:lnTo>
                <a:lnTo>
                  <a:pt x="540" y="290"/>
                </a:lnTo>
                <a:lnTo>
                  <a:pt x="540" y="326"/>
                </a:lnTo>
                <a:lnTo>
                  <a:pt x="538" y="366"/>
                </a:lnTo>
                <a:lnTo>
                  <a:pt x="530" y="406"/>
                </a:lnTo>
                <a:lnTo>
                  <a:pt x="524" y="428"/>
                </a:lnTo>
                <a:lnTo>
                  <a:pt x="516" y="452"/>
                </a:lnTo>
                <a:close/>
                <a:moveTo>
                  <a:pt x="476" y="352"/>
                </a:moveTo>
                <a:lnTo>
                  <a:pt x="476" y="352"/>
                </a:lnTo>
                <a:lnTo>
                  <a:pt x="474" y="346"/>
                </a:lnTo>
                <a:lnTo>
                  <a:pt x="472" y="340"/>
                </a:lnTo>
                <a:lnTo>
                  <a:pt x="470" y="334"/>
                </a:lnTo>
                <a:lnTo>
                  <a:pt x="466" y="328"/>
                </a:lnTo>
                <a:lnTo>
                  <a:pt x="460" y="324"/>
                </a:lnTo>
                <a:lnTo>
                  <a:pt x="454" y="320"/>
                </a:lnTo>
                <a:lnTo>
                  <a:pt x="448" y="318"/>
                </a:lnTo>
                <a:lnTo>
                  <a:pt x="440" y="318"/>
                </a:lnTo>
                <a:lnTo>
                  <a:pt x="434" y="318"/>
                </a:lnTo>
                <a:lnTo>
                  <a:pt x="428" y="320"/>
                </a:lnTo>
                <a:lnTo>
                  <a:pt x="422" y="324"/>
                </a:lnTo>
                <a:lnTo>
                  <a:pt x="416" y="328"/>
                </a:lnTo>
                <a:lnTo>
                  <a:pt x="412" y="334"/>
                </a:lnTo>
                <a:lnTo>
                  <a:pt x="408" y="340"/>
                </a:lnTo>
                <a:lnTo>
                  <a:pt x="406" y="346"/>
                </a:lnTo>
                <a:lnTo>
                  <a:pt x="406" y="352"/>
                </a:lnTo>
                <a:lnTo>
                  <a:pt x="406" y="360"/>
                </a:lnTo>
                <a:lnTo>
                  <a:pt x="408" y="366"/>
                </a:lnTo>
                <a:lnTo>
                  <a:pt x="412" y="372"/>
                </a:lnTo>
                <a:lnTo>
                  <a:pt x="416" y="378"/>
                </a:lnTo>
                <a:lnTo>
                  <a:pt x="422" y="382"/>
                </a:lnTo>
                <a:lnTo>
                  <a:pt x="428" y="384"/>
                </a:lnTo>
                <a:lnTo>
                  <a:pt x="434" y="386"/>
                </a:lnTo>
                <a:lnTo>
                  <a:pt x="440" y="388"/>
                </a:lnTo>
                <a:lnTo>
                  <a:pt x="448" y="386"/>
                </a:lnTo>
                <a:lnTo>
                  <a:pt x="454" y="384"/>
                </a:lnTo>
                <a:lnTo>
                  <a:pt x="460" y="382"/>
                </a:lnTo>
                <a:lnTo>
                  <a:pt x="466" y="378"/>
                </a:lnTo>
                <a:lnTo>
                  <a:pt x="470" y="372"/>
                </a:lnTo>
                <a:lnTo>
                  <a:pt x="472" y="366"/>
                </a:lnTo>
                <a:lnTo>
                  <a:pt x="474" y="360"/>
                </a:lnTo>
                <a:lnTo>
                  <a:pt x="476" y="352"/>
                </a:lnTo>
                <a:close/>
                <a:moveTo>
                  <a:pt x="398" y="270"/>
                </a:moveTo>
                <a:lnTo>
                  <a:pt x="398" y="270"/>
                </a:lnTo>
                <a:lnTo>
                  <a:pt x="404" y="268"/>
                </a:lnTo>
                <a:lnTo>
                  <a:pt x="410" y="266"/>
                </a:lnTo>
                <a:lnTo>
                  <a:pt x="414" y="260"/>
                </a:lnTo>
                <a:lnTo>
                  <a:pt x="414" y="254"/>
                </a:lnTo>
                <a:lnTo>
                  <a:pt x="414" y="246"/>
                </a:lnTo>
                <a:lnTo>
                  <a:pt x="410" y="242"/>
                </a:lnTo>
                <a:lnTo>
                  <a:pt x="404" y="238"/>
                </a:lnTo>
                <a:lnTo>
                  <a:pt x="398" y="236"/>
                </a:lnTo>
                <a:lnTo>
                  <a:pt x="390" y="238"/>
                </a:lnTo>
                <a:lnTo>
                  <a:pt x="386" y="242"/>
                </a:lnTo>
                <a:lnTo>
                  <a:pt x="382" y="246"/>
                </a:lnTo>
                <a:lnTo>
                  <a:pt x="380" y="254"/>
                </a:lnTo>
                <a:lnTo>
                  <a:pt x="382" y="260"/>
                </a:lnTo>
                <a:lnTo>
                  <a:pt x="386" y="266"/>
                </a:lnTo>
                <a:lnTo>
                  <a:pt x="390" y="268"/>
                </a:lnTo>
                <a:lnTo>
                  <a:pt x="398" y="270"/>
                </a:lnTo>
                <a:close/>
                <a:moveTo>
                  <a:pt x="436" y="234"/>
                </a:moveTo>
                <a:lnTo>
                  <a:pt x="436" y="234"/>
                </a:lnTo>
                <a:lnTo>
                  <a:pt x="438" y="240"/>
                </a:lnTo>
                <a:lnTo>
                  <a:pt x="440" y="246"/>
                </a:lnTo>
                <a:lnTo>
                  <a:pt x="446" y="250"/>
                </a:lnTo>
                <a:lnTo>
                  <a:pt x="452" y="250"/>
                </a:lnTo>
                <a:lnTo>
                  <a:pt x="460" y="250"/>
                </a:lnTo>
                <a:lnTo>
                  <a:pt x="464" y="246"/>
                </a:lnTo>
                <a:lnTo>
                  <a:pt x="468" y="240"/>
                </a:lnTo>
                <a:lnTo>
                  <a:pt x="470" y="234"/>
                </a:lnTo>
                <a:lnTo>
                  <a:pt x="468" y="228"/>
                </a:lnTo>
                <a:lnTo>
                  <a:pt x="464" y="222"/>
                </a:lnTo>
                <a:lnTo>
                  <a:pt x="460" y="218"/>
                </a:lnTo>
                <a:lnTo>
                  <a:pt x="452" y="218"/>
                </a:lnTo>
                <a:lnTo>
                  <a:pt x="446" y="218"/>
                </a:lnTo>
                <a:lnTo>
                  <a:pt x="440" y="222"/>
                </a:lnTo>
                <a:lnTo>
                  <a:pt x="438" y="228"/>
                </a:lnTo>
                <a:lnTo>
                  <a:pt x="436" y="234"/>
                </a:lnTo>
                <a:close/>
                <a:moveTo>
                  <a:pt x="446" y="192"/>
                </a:moveTo>
                <a:lnTo>
                  <a:pt x="446" y="192"/>
                </a:lnTo>
                <a:lnTo>
                  <a:pt x="452" y="190"/>
                </a:lnTo>
                <a:lnTo>
                  <a:pt x="458" y="186"/>
                </a:lnTo>
                <a:lnTo>
                  <a:pt x="462" y="182"/>
                </a:lnTo>
                <a:lnTo>
                  <a:pt x="462" y="174"/>
                </a:lnTo>
                <a:lnTo>
                  <a:pt x="462" y="168"/>
                </a:lnTo>
                <a:lnTo>
                  <a:pt x="458" y="164"/>
                </a:lnTo>
                <a:lnTo>
                  <a:pt x="452" y="160"/>
                </a:lnTo>
                <a:lnTo>
                  <a:pt x="446" y="158"/>
                </a:lnTo>
                <a:lnTo>
                  <a:pt x="438" y="160"/>
                </a:lnTo>
                <a:lnTo>
                  <a:pt x="434" y="164"/>
                </a:lnTo>
                <a:lnTo>
                  <a:pt x="430" y="168"/>
                </a:lnTo>
                <a:lnTo>
                  <a:pt x="428" y="174"/>
                </a:lnTo>
                <a:lnTo>
                  <a:pt x="430" y="182"/>
                </a:lnTo>
                <a:lnTo>
                  <a:pt x="434" y="186"/>
                </a:lnTo>
                <a:lnTo>
                  <a:pt x="438" y="190"/>
                </a:lnTo>
                <a:lnTo>
                  <a:pt x="446" y="192"/>
                </a:lnTo>
                <a:close/>
                <a:moveTo>
                  <a:pt x="406" y="548"/>
                </a:moveTo>
                <a:lnTo>
                  <a:pt x="406" y="548"/>
                </a:lnTo>
                <a:lnTo>
                  <a:pt x="398" y="550"/>
                </a:lnTo>
                <a:lnTo>
                  <a:pt x="394" y="554"/>
                </a:lnTo>
                <a:lnTo>
                  <a:pt x="390" y="558"/>
                </a:lnTo>
                <a:lnTo>
                  <a:pt x="388" y="566"/>
                </a:lnTo>
                <a:lnTo>
                  <a:pt x="390" y="572"/>
                </a:lnTo>
                <a:lnTo>
                  <a:pt x="394" y="578"/>
                </a:lnTo>
                <a:lnTo>
                  <a:pt x="398" y="580"/>
                </a:lnTo>
                <a:lnTo>
                  <a:pt x="406" y="582"/>
                </a:lnTo>
                <a:lnTo>
                  <a:pt x="412" y="580"/>
                </a:lnTo>
                <a:lnTo>
                  <a:pt x="418" y="578"/>
                </a:lnTo>
                <a:lnTo>
                  <a:pt x="422" y="572"/>
                </a:lnTo>
                <a:lnTo>
                  <a:pt x="422" y="566"/>
                </a:lnTo>
                <a:lnTo>
                  <a:pt x="422" y="558"/>
                </a:lnTo>
                <a:lnTo>
                  <a:pt x="418" y="554"/>
                </a:lnTo>
                <a:lnTo>
                  <a:pt x="412" y="550"/>
                </a:lnTo>
                <a:lnTo>
                  <a:pt x="406" y="548"/>
                </a:lnTo>
                <a:close/>
                <a:moveTo>
                  <a:pt x="402" y="538"/>
                </a:moveTo>
                <a:lnTo>
                  <a:pt x="402" y="538"/>
                </a:lnTo>
                <a:lnTo>
                  <a:pt x="408" y="536"/>
                </a:lnTo>
                <a:lnTo>
                  <a:pt x="414" y="532"/>
                </a:lnTo>
                <a:lnTo>
                  <a:pt x="418" y="528"/>
                </a:lnTo>
                <a:lnTo>
                  <a:pt x="418" y="520"/>
                </a:lnTo>
                <a:lnTo>
                  <a:pt x="418" y="514"/>
                </a:lnTo>
                <a:lnTo>
                  <a:pt x="414" y="508"/>
                </a:lnTo>
                <a:lnTo>
                  <a:pt x="408" y="506"/>
                </a:lnTo>
                <a:lnTo>
                  <a:pt x="402" y="504"/>
                </a:lnTo>
                <a:lnTo>
                  <a:pt x="396" y="506"/>
                </a:lnTo>
                <a:lnTo>
                  <a:pt x="390" y="508"/>
                </a:lnTo>
                <a:lnTo>
                  <a:pt x="386" y="514"/>
                </a:lnTo>
                <a:lnTo>
                  <a:pt x="386" y="520"/>
                </a:lnTo>
                <a:lnTo>
                  <a:pt x="386" y="528"/>
                </a:lnTo>
                <a:lnTo>
                  <a:pt x="390" y="532"/>
                </a:lnTo>
                <a:lnTo>
                  <a:pt x="396" y="536"/>
                </a:lnTo>
                <a:lnTo>
                  <a:pt x="402" y="538"/>
                </a:lnTo>
                <a:close/>
                <a:moveTo>
                  <a:pt x="398" y="494"/>
                </a:moveTo>
                <a:lnTo>
                  <a:pt x="398" y="494"/>
                </a:lnTo>
                <a:lnTo>
                  <a:pt x="406" y="492"/>
                </a:lnTo>
                <a:lnTo>
                  <a:pt x="410" y="488"/>
                </a:lnTo>
                <a:lnTo>
                  <a:pt x="414" y="484"/>
                </a:lnTo>
                <a:lnTo>
                  <a:pt x="416" y="476"/>
                </a:lnTo>
                <a:lnTo>
                  <a:pt x="414" y="470"/>
                </a:lnTo>
                <a:lnTo>
                  <a:pt x="410" y="464"/>
                </a:lnTo>
                <a:lnTo>
                  <a:pt x="406" y="460"/>
                </a:lnTo>
                <a:lnTo>
                  <a:pt x="398" y="460"/>
                </a:lnTo>
                <a:lnTo>
                  <a:pt x="392" y="460"/>
                </a:lnTo>
                <a:lnTo>
                  <a:pt x="386" y="464"/>
                </a:lnTo>
                <a:lnTo>
                  <a:pt x="382" y="470"/>
                </a:lnTo>
                <a:lnTo>
                  <a:pt x="382" y="476"/>
                </a:lnTo>
                <a:lnTo>
                  <a:pt x="382" y="484"/>
                </a:lnTo>
                <a:lnTo>
                  <a:pt x="386" y="488"/>
                </a:lnTo>
                <a:lnTo>
                  <a:pt x="392" y="492"/>
                </a:lnTo>
                <a:lnTo>
                  <a:pt x="398" y="494"/>
                </a:lnTo>
                <a:close/>
                <a:moveTo>
                  <a:pt x="502" y="312"/>
                </a:moveTo>
                <a:lnTo>
                  <a:pt x="502" y="312"/>
                </a:lnTo>
                <a:lnTo>
                  <a:pt x="508" y="310"/>
                </a:lnTo>
                <a:lnTo>
                  <a:pt x="514" y="306"/>
                </a:lnTo>
                <a:lnTo>
                  <a:pt x="518" y="300"/>
                </a:lnTo>
                <a:lnTo>
                  <a:pt x="518" y="294"/>
                </a:lnTo>
                <a:lnTo>
                  <a:pt x="518" y="288"/>
                </a:lnTo>
                <a:lnTo>
                  <a:pt x="514" y="282"/>
                </a:lnTo>
                <a:lnTo>
                  <a:pt x="508" y="278"/>
                </a:lnTo>
                <a:lnTo>
                  <a:pt x="502" y="278"/>
                </a:lnTo>
                <a:lnTo>
                  <a:pt x="496" y="278"/>
                </a:lnTo>
                <a:lnTo>
                  <a:pt x="490" y="282"/>
                </a:lnTo>
                <a:lnTo>
                  <a:pt x="486" y="288"/>
                </a:lnTo>
                <a:lnTo>
                  <a:pt x="484" y="294"/>
                </a:lnTo>
                <a:lnTo>
                  <a:pt x="486" y="300"/>
                </a:lnTo>
                <a:lnTo>
                  <a:pt x="490" y="306"/>
                </a:lnTo>
                <a:lnTo>
                  <a:pt x="496" y="310"/>
                </a:lnTo>
                <a:lnTo>
                  <a:pt x="502" y="312"/>
                </a:lnTo>
                <a:close/>
                <a:moveTo>
                  <a:pt x="480" y="414"/>
                </a:moveTo>
                <a:lnTo>
                  <a:pt x="480" y="414"/>
                </a:lnTo>
                <a:lnTo>
                  <a:pt x="474" y="416"/>
                </a:lnTo>
                <a:lnTo>
                  <a:pt x="468" y="420"/>
                </a:lnTo>
                <a:lnTo>
                  <a:pt x="464" y="424"/>
                </a:lnTo>
                <a:lnTo>
                  <a:pt x="462" y="432"/>
                </a:lnTo>
                <a:lnTo>
                  <a:pt x="464" y="438"/>
                </a:lnTo>
                <a:lnTo>
                  <a:pt x="468" y="444"/>
                </a:lnTo>
                <a:lnTo>
                  <a:pt x="474" y="448"/>
                </a:lnTo>
                <a:lnTo>
                  <a:pt x="480" y="448"/>
                </a:lnTo>
                <a:lnTo>
                  <a:pt x="486" y="448"/>
                </a:lnTo>
                <a:lnTo>
                  <a:pt x="492" y="444"/>
                </a:lnTo>
                <a:lnTo>
                  <a:pt x="496" y="438"/>
                </a:lnTo>
                <a:lnTo>
                  <a:pt x="496" y="432"/>
                </a:lnTo>
                <a:lnTo>
                  <a:pt x="496" y="424"/>
                </a:lnTo>
                <a:lnTo>
                  <a:pt x="492" y="420"/>
                </a:lnTo>
                <a:lnTo>
                  <a:pt x="486" y="416"/>
                </a:lnTo>
                <a:lnTo>
                  <a:pt x="480" y="414"/>
                </a:lnTo>
                <a:close/>
                <a:moveTo>
                  <a:pt x="318" y="352"/>
                </a:moveTo>
                <a:lnTo>
                  <a:pt x="318" y="352"/>
                </a:lnTo>
                <a:lnTo>
                  <a:pt x="318" y="346"/>
                </a:lnTo>
                <a:lnTo>
                  <a:pt x="316" y="340"/>
                </a:lnTo>
                <a:lnTo>
                  <a:pt x="312" y="334"/>
                </a:lnTo>
                <a:lnTo>
                  <a:pt x="308" y="328"/>
                </a:lnTo>
                <a:lnTo>
                  <a:pt x="304" y="324"/>
                </a:lnTo>
                <a:lnTo>
                  <a:pt x="298" y="320"/>
                </a:lnTo>
                <a:lnTo>
                  <a:pt x="292" y="318"/>
                </a:lnTo>
                <a:lnTo>
                  <a:pt x="284" y="318"/>
                </a:lnTo>
                <a:lnTo>
                  <a:pt x="278" y="318"/>
                </a:lnTo>
                <a:lnTo>
                  <a:pt x="270" y="320"/>
                </a:lnTo>
                <a:lnTo>
                  <a:pt x="264" y="324"/>
                </a:lnTo>
                <a:lnTo>
                  <a:pt x="260" y="328"/>
                </a:lnTo>
                <a:lnTo>
                  <a:pt x="256" y="334"/>
                </a:lnTo>
                <a:lnTo>
                  <a:pt x="252" y="340"/>
                </a:lnTo>
                <a:lnTo>
                  <a:pt x="250" y="346"/>
                </a:lnTo>
                <a:lnTo>
                  <a:pt x="250" y="352"/>
                </a:lnTo>
                <a:lnTo>
                  <a:pt x="250" y="360"/>
                </a:lnTo>
                <a:lnTo>
                  <a:pt x="252" y="366"/>
                </a:lnTo>
                <a:lnTo>
                  <a:pt x="256" y="372"/>
                </a:lnTo>
                <a:lnTo>
                  <a:pt x="260" y="378"/>
                </a:lnTo>
                <a:lnTo>
                  <a:pt x="264" y="382"/>
                </a:lnTo>
                <a:lnTo>
                  <a:pt x="270" y="384"/>
                </a:lnTo>
                <a:lnTo>
                  <a:pt x="278" y="386"/>
                </a:lnTo>
                <a:lnTo>
                  <a:pt x="284" y="388"/>
                </a:lnTo>
                <a:lnTo>
                  <a:pt x="292" y="386"/>
                </a:lnTo>
                <a:lnTo>
                  <a:pt x="298" y="384"/>
                </a:lnTo>
                <a:lnTo>
                  <a:pt x="304" y="382"/>
                </a:lnTo>
                <a:lnTo>
                  <a:pt x="308" y="378"/>
                </a:lnTo>
                <a:lnTo>
                  <a:pt x="312" y="372"/>
                </a:lnTo>
                <a:lnTo>
                  <a:pt x="316" y="366"/>
                </a:lnTo>
                <a:lnTo>
                  <a:pt x="318" y="360"/>
                </a:lnTo>
                <a:lnTo>
                  <a:pt x="318" y="352"/>
                </a:lnTo>
                <a:close/>
                <a:moveTo>
                  <a:pt x="328" y="270"/>
                </a:moveTo>
                <a:lnTo>
                  <a:pt x="328" y="270"/>
                </a:lnTo>
                <a:lnTo>
                  <a:pt x="334" y="268"/>
                </a:lnTo>
                <a:lnTo>
                  <a:pt x="340" y="266"/>
                </a:lnTo>
                <a:lnTo>
                  <a:pt x="342" y="260"/>
                </a:lnTo>
                <a:lnTo>
                  <a:pt x="344" y="254"/>
                </a:lnTo>
                <a:lnTo>
                  <a:pt x="342" y="246"/>
                </a:lnTo>
                <a:lnTo>
                  <a:pt x="340" y="242"/>
                </a:lnTo>
                <a:lnTo>
                  <a:pt x="334" y="238"/>
                </a:lnTo>
                <a:lnTo>
                  <a:pt x="328" y="236"/>
                </a:lnTo>
                <a:lnTo>
                  <a:pt x="320" y="238"/>
                </a:lnTo>
                <a:lnTo>
                  <a:pt x="316" y="242"/>
                </a:lnTo>
                <a:lnTo>
                  <a:pt x="312" y="246"/>
                </a:lnTo>
                <a:lnTo>
                  <a:pt x="310" y="254"/>
                </a:lnTo>
                <a:lnTo>
                  <a:pt x="312" y="260"/>
                </a:lnTo>
                <a:lnTo>
                  <a:pt x="316" y="266"/>
                </a:lnTo>
                <a:lnTo>
                  <a:pt x="320" y="268"/>
                </a:lnTo>
                <a:lnTo>
                  <a:pt x="328" y="270"/>
                </a:lnTo>
                <a:close/>
                <a:moveTo>
                  <a:pt x="272" y="250"/>
                </a:moveTo>
                <a:lnTo>
                  <a:pt x="272" y="250"/>
                </a:lnTo>
                <a:lnTo>
                  <a:pt x="278" y="250"/>
                </a:lnTo>
                <a:lnTo>
                  <a:pt x="284" y="246"/>
                </a:lnTo>
                <a:lnTo>
                  <a:pt x="288" y="240"/>
                </a:lnTo>
                <a:lnTo>
                  <a:pt x="290" y="234"/>
                </a:lnTo>
                <a:lnTo>
                  <a:pt x="288" y="228"/>
                </a:lnTo>
                <a:lnTo>
                  <a:pt x="284" y="222"/>
                </a:lnTo>
                <a:lnTo>
                  <a:pt x="278" y="218"/>
                </a:lnTo>
                <a:lnTo>
                  <a:pt x="272" y="218"/>
                </a:lnTo>
                <a:lnTo>
                  <a:pt x="266" y="218"/>
                </a:lnTo>
                <a:lnTo>
                  <a:pt x="260" y="222"/>
                </a:lnTo>
                <a:lnTo>
                  <a:pt x="256" y="228"/>
                </a:lnTo>
                <a:lnTo>
                  <a:pt x="256" y="234"/>
                </a:lnTo>
                <a:lnTo>
                  <a:pt x="256" y="240"/>
                </a:lnTo>
                <a:lnTo>
                  <a:pt x="260" y="246"/>
                </a:lnTo>
                <a:lnTo>
                  <a:pt x="266" y="250"/>
                </a:lnTo>
                <a:lnTo>
                  <a:pt x="272" y="250"/>
                </a:lnTo>
                <a:close/>
                <a:moveTo>
                  <a:pt x="280" y="192"/>
                </a:moveTo>
                <a:lnTo>
                  <a:pt x="280" y="192"/>
                </a:lnTo>
                <a:lnTo>
                  <a:pt x="286" y="190"/>
                </a:lnTo>
                <a:lnTo>
                  <a:pt x="292" y="186"/>
                </a:lnTo>
                <a:lnTo>
                  <a:pt x="294" y="182"/>
                </a:lnTo>
                <a:lnTo>
                  <a:pt x="296" y="174"/>
                </a:lnTo>
                <a:lnTo>
                  <a:pt x="294" y="168"/>
                </a:lnTo>
                <a:lnTo>
                  <a:pt x="292" y="164"/>
                </a:lnTo>
                <a:lnTo>
                  <a:pt x="286" y="160"/>
                </a:lnTo>
                <a:lnTo>
                  <a:pt x="280" y="158"/>
                </a:lnTo>
                <a:lnTo>
                  <a:pt x="272" y="160"/>
                </a:lnTo>
                <a:lnTo>
                  <a:pt x="268" y="164"/>
                </a:lnTo>
                <a:lnTo>
                  <a:pt x="264" y="168"/>
                </a:lnTo>
                <a:lnTo>
                  <a:pt x="262" y="174"/>
                </a:lnTo>
                <a:lnTo>
                  <a:pt x="264" y="182"/>
                </a:lnTo>
                <a:lnTo>
                  <a:pt x="268" y="186"/>
                </a:lnTo>
                <a:lnTo>
                  <a:pt x="272" y="190"/>
                </a:lnTo>
                <a:lnTo>
                  <a:pt x="280" y="192"/>
                </a:lnTo>
                <a:close/>
                <a:moveTo>
                  <a:pt x="320" y="548"/>
                </a:moveTo>
                <a:lnTo>
                  <a:pt x="320" y="548"/>
                </a:lnTo>
                <a:lnTo>
                  <a:pt x="312" y="550"/>
                </a:lnTo>
                <a:lnTo>
                  <a:pt x="308" y="554"/>
                </a:lnTo>
                <a:lnTo>
                  <a:pt x="304" y="558"/>
                </a:lnTo>
                <a:lnTo>
                  <a:pt x="302" y="566"/>
                </a:lnTo>
                <a:lnTo>
                  <a:pt x="304" y="572"/>
                </a:lnTo>
                <a:lnTo>
                  <a:pt x="308" y="578"/>
                </a:lnTo>
                <a:lnTo>
                  <a:pt x="312" y="580"/>
                </a:lnTo>
                <a:lnTo>
                  <a:pt x="320" y="582"/>
                </a:lnTo>
                <a:lnTo>
                  <a:pt x="326" y="580"/>
                </a:lnTo>
                <a:lnTo>
                  <a:pt x="332" y="578"/>
                </a:lnTo>
                <a:lnTo>
                  <a:pt x="334" y="572"/>
                </a:lnTo>
                <a:lnTo>
                  <a:pt x="336" y="566"/>
                </a:lnTo>
                <a:lnTo>
                  <a:pt x="334" y="558"/>
                </a:lnTo>
                <a:lnTo>
                  <a:pt x="332" y="554"/>
                </a:lnTo>
                <a:lnTo>
                  <a:pt x="326" y="550"/>
                </a:lnTo>
                <a:lnTo>
                  <a:pt x="320" y="548"/>
                </a:lnTo>
                <a:close/>
                <a:moveTo>
                  <a:pt x="322" y="504"/>
                </a:moveTo>
                <a:lnTo>
                  <a:pt x="322" y="504"/>
                </a:lnTo>
                <a:lnTo>
                  <a:pt x="316" y="506"/>
                </a:lnTo>
                <a:lnTo>
                  <a:pt x="310" y="508"/>
                </a:lnTo>
                <a:lnTo>
                  <a:pt x="308" y="514"/>
                </a:lnTo>
                <a:lnTo>
                  <a:pt x="306" y="520"/>
                </a:lnTo>
                <a:lnTo>
                  <a:pt x="308" y="528"/>
                </a:lnTo>
                <a:lnTo>
                  <a:pt x="310" y="532"/>
                </a:lnTo>
                <a:lnTo>
                  <a:pt x="316" y="536"/>
                </a:lnTo>
                <a:lnTo>
                  <a:pt x="322" y="538"/>
                </a:lnTo>
                <a:lnTo>
                  <a:pt x="330" y="536"/>
                </a:lnTo>
                <a:lnTo>
                  <a:pt x="334" y="532"/>
                </a:lnTo>
                <a:lnTo>
                  <a:pt x="338" y="528"/>
                </a:lnTo>
                <a:lnTo>
                  <a:pt x="340" y="520"/>
                </a:lnTo>
                <a:lnTo>
                  <a:pt x="338" y="514"/>
                </a:lnTo>
                <a:lnTo>
                  <a:pt x="334" y="508"/>
                </a:lnTo>
                <a:lnTo>
                  <a:pt x="330" y="506"/>
                </a:lnTo>
                <a:lnTo>
                  <a:pt x="322" y="504"/>
                </a:lnTo>
                <a:close/>
                <a:moveTo>
                  <a:pt x="326" y="460"/>
                </a:moveTo>
                <a:lnTo>
                  <a:pt x="326" y="460"/>
                </a:lnTo>
                <a:lnTo>
                  <a:pt x="320" y="460"/>
                </a:lnTo>
                <a:lnTo>
                  <a:pt x="314" y="464"/>
                </a:lnTo>
                <a:lnTo>
                  <a:pt x="310" y="470"/>
                </a:lnTo>
                <a:lnTo>
                  <a:pt x="310" y="476"/>
                </a:lnTo>
                <a:lnTo>
                  <a:pt x="310" y="484"/>
                </a:lnTo>
                <a:lnTo>
                  <a:pt x="314" y="488"/>
                </a:lnTo>
                <a:lnTo>
                  <a:pt x="320" y="492"/>
                </a:lnTo>
                <a:lnTo>
                  <a:pt x="326" y="494"/>
                </a:lnTo>
                <a:lnTo>
                  <a:pt x="332" y="492"/>
                </a:lnTo>
                <a:lnTo>
                  <a:pt x="338" y="488"/>
                </a:lnTo>
                <a:lnTo>
                  <a:pt x="342" y="484"/>
                </a:lnTo>
                <a:lnTo>
                  <a:pt x="344" y="476"/>
                </a:lnTo>
                <a:lnTo>
                  <a:pt x="342" y="470"/>
                </a:lnTo>
                <a:lnTo>
                  <a:pt x="338" y="464"/>
                </a:lnTo>
                <a:lnTo>
                  <a:pt x="332" y="460"/>
                </a:lnTo>
                <a:lnTo>
                  <a:pt x="326" y="460"/>
                </a:lnTo>
                <a:close/>
                <a:moveTo>
                  <a:pt x="240" y="294"/>
                </a:moveTo>
                <a:lnTo>
                  <a:pt x="240" y="294"/>
                </a:lnTo>
                <a:lnTo>
                  <a:pt x="238" y="288"/>
                </a:lnTo>
                <a:lnTo>
                  <a:pt x="236" y="282"/>
                </a:lnTo>
                <a:lnTo>
                  <a:pt x="230" y="278"/>
                </a:lnTo>
                <a:lnTo>
                  <a:pt x="224" y="278"/>
                </a:lnTo>
                <a:lnTo>
                  <a:pt x="216" y="278"/>
                </a:lnTo>
                <a:lnTo>
                  <a:pt x="212" y="282"/>
                </a:lnTo>
                <a:lnTo>
                  <a:pt x="208" y="288"/>
                </a:lnTo>
                <a:lnTo>
                  <a:pt x="206" y="294"/>
                </a:lnTo>
                <a:lnTo>
                  <a:pt x="208" y="300"/>
                </a:lnTo>
                <a:lnTo>
                  <a:pt x="212" y="306"/>
                </a:lnTo>
                <a:lnTo>
                  <a:pt x="216" y="310"/>
                </a:lnTo>
                <a:lnTo>
                  <a:pt x="224" y="312"/>
                </a:lnTo>
                <a:lnTo>
                  <a:pt x="230" y="310"/>
                </a:lnTo>
                <a:lnTo>
                  <a:pt x="236" y="306"/>
                </a:lnTo>
                <a:lnTo>
                  <a:pt x="238" y="300"/>
                </a:lnTo>
                <a:lnTo>
                  <a:pt x="240" y="294"/>
                </a:lnTo>
                <a:close/>
                <a:moveTo>
                  <a:pt x="246" y="414"/>
                </a:moveTo>
                <a:lnTo>
                  <a:pt x="246" y="414"/>
                </a:lnTo>
                <a:lnTo>
                  <a:pt x="238" y="416"/>
                </a:lnTo>
                <a:lnTo>
                  <a:pt x="234" y="420"/>
                </a:lnTo>
                <a:lnTo>
                  <a:pt x="230" y="424"/>
                </a:lnTo>
                <a:lnTo>
                  <a:pt x="228" y="432"/>
                </a:lnTo>
                <a:lnTo>
                  <a:pt x="230" y="438"/>
                </a:lnTo>
                <a:lnTo>
                  <a:pt x="234" y="444"/>
                </a:lnTo>
                <a:lnTo>
                  <a:pt x="238" y="448"/>
                </a:lnTo>
                <a:lnTo>
                  <a:pt x="246" y="448"/>
                </a:lnTo>
                <a:lnTo>
                  <a:pt x="252" y="448"/>
                </a:lnTo>
                <a:lnTo>
                  <a:pt x="258" y="444"/>
                </a:lnTo>
                <a:lnTo>
                  <a:pt x="260" y="438"/>
                </a:lnTo>
                <a:lnTo>
                  <a:pt x="262" y="432"/>
                </a:lnTo>
                <a:lnTo>
                  <a:pt x="260" y="424"/>
                </a:lnTo>
                <a:lnTo>
                  <a:pt x="258" y="420"/>
                </a:lnTo>
                <a:lnTo>
                  <a:pt x="252" y="416"/>
                </a:lnTo>
                <a:lnTo>
                  <a:pt x="246" y="414"/>
                </a:lnTo>
                <a:close/>
                <a:moveTo>
                  <a:pt x="362" y="418"/>
                </a:moveTo>
                <a:lnTo>
                  <a:pt x="362" y="418"/>
                </a:lnTo>
                <a:lnTo>
                  <a:pt x="356" y="420"/>
                </a:lnTo>
                <a:lnTo>
                  <a:pt x="350" y="422"/>
                </a:lnTo>
                <a:lnTo>
                  <a:pt x="346" y="428"/>
                </a:lnTo>
                <a:lnTo>
                  <a:pt x="346" y="434"/>
                </a:lnTo>
                <a:lnTo>
                  <a:pt x="346" y="442"/>
                </a:lnTo>
                <a:lnTo>
                  <a:pt x="350" y="446"/>
                </a:lnTo>
                <a:lnTo>
                  <a:pt x="356" y="450"/>
                </a:lnTo>
                <a:lnTo>
                  <a:pt x="362" y="452"/>
                </a:lnTo>
                <a:lnTo>
                  <a:pt x="368" y="450"/>
                </a:lnTo>
                <a:lnTo>
                  <a:pt x="374" y="446"/>
                </a:lnTo>
                <a:lnTo>
                  <a:pt x="378" y="442"/>
                </a:lnTo>
                <a:lnTo>
                  <a:pt x="380" y="434"/>
                </a:lnTo>
                <a:lnTo>
                  <a:pt x="378" y="428"/>
                </a:lnTo>
                <a:lnTo>
                  <a:pt x="374" y="422"/>
                </a:lnTo>
                <a:lnTo>
                  <a:pt x="368" y="420"/>
                </a:lnTo>
                <a:lnTo>
                  <a:pt x="362" y="418"/>
                </a:lnTo>
                <a:close/>
                <a:moveTo>
                  <a:pt x="362" y="330"/>
                </a:moveTo>
                <a:lnTo>
                  <a:pt x="442" y="286"/>
                </a:lnTo>
                <a:lnTo>
                  <a:pt x="284" y="286"/>
                </a:lnTo>
                <a:lnTo>
                  <a:pt x="362" y="33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2" name="Freeform 278"/>
          <p:cNvSpPr>
            <a:spLocks noEditPoints="1"/>
          </p:cNvSpPr>
          <p:nvPr userDrawn="1"/>
        </p:nvSpPr>
        <p:spPr bwMode="auto">
          <a:xfrm>
            <a:off x="6186653" y="2536609"/>
            <a:ext cx="1080000" cy="1080000"/>
          </a:xfrm>
          <a:custGeom>
            <a:avLst/>
            <a:gdLst>
              <a:gd name="T0" fmla="*/ 216 w 726"/>
              <a:gd name="T1" fmla="*/ 316 h 726"/>
              <a:gd name="T2" fmla="*/ 228 w 726"/>
              <a:gd name="T3" fmla="*/ 348 h 726"/>
              <a:gd name="T4" fmla="*/ 326 w 726"/>
              <a:gd name="T5" fmla="*/ 408 h 726"/>
              <a:gd name="T6" fmla="*/ 334 w 726"/>
              <a:gd name="T7" fmla="*/ 340 h 726"/>
              <a:gd name="T8" fmla="*/ 316 w 726"/>
              <a:gd name="T9" fmla="*/ 312 h 726"/>
              <a:gd name="T10" fmla="*/ 298 w 726"/>
              <a:gd name="T11" fmla="*/ 362 h 726"/>
              <a:gd name="T12" fmla="*/ 310 w 726"/>
              <a:gd name="T13" fmla="*/ 410 h 726"/>
              <a:gd name="T14" fmla="*/ 254 w 726"/>
              <a:gd name="T15" fmla="*/ 16 h 726"/>
              <a:gd name="T16" fmla="*/ 82 w 726"/>
              <a:gd name="T17" fmla="*/ 132 h 726"/>
              <a:gd name="T18" fmla="*/ 2 w 726"/>
              <a:gd name="T19" fmla="*/ 326 h 726"/>
              <a:gd name="T20" fmla="*/ 28 w 726"/>
              <a:gd name="T21" fmla="*/ 504 h 726"/>
              <a:gd name="T22" fmla="*/ 160 w 726"/>
              <a:gd name="T23" fmla="*/ 664 h 726"/>
              <a:gd name="T24" fmla="*/ 362 w 726"/>
              <a:gd name="T25" fmla="*/ 726 h 726"/>
              <a:gd name="T26" fmla="*/ 536 w 726"/>
              <a:gd name="T27" fmla="*/ 682 h 726"/>
              <a:gd name="T28" fmla="*/ 682 w 726"/>
              <a:gd name="T29" fmla="*/ 536 h 726"/>
              <a:gd name="T30" fmla="*/ 726 w 726"/>
              <a:gd name="T31" fmla="*/ 362 h 726"/>
              <a:gd name="T32" fmla="*/ 664 w 726"/>
              <a:gd name="T33" fmla="*/ 160 h 726"/>
              <a:gd name="T34" fmla="*/ 504 w 726"/>
              <a:gd name="T35" fmla="*/ 28 h 726"/>
              <a:gd name="T36" fmla="*/ 562 w 726"/>
              <a:gd name="T37" fmla="*/ 574 h 726"/>
              <a:gd name="T38" fmla="*/ 326 w 726"/>
              <a:gd name="T39" fmla="*/ 620 h 726"/>
              <a:gd name="T40" fmla="*/ 314 w 726"/>
              <a:gd name="T41" fmla="*/ 624 h 726"/>
              <a:gd name="T42" fmla="*/ 160 w 726"/>
              <a:gd name="T43" fmla="*/ 546 h 726"/>
              <a:gd name="T44" fmla="*/ 174 w 726"/>
              <a:gd name="T45" fmla="*/ 466 h 726"/>
              <a:gd name="T46" fmla="*/ 190 w 726"/>
              <a:gd name="T47" fmla="*/ 458 h 726"/>
              <a:gd name="T48" fmla="*/ 276 w 726"/>
              <a:gd name="T49" fmla="*/ 468 h 726"/>
              <a:gd name="T50" fmla="*/ 294 w 726"/>
              <a:gd name="T51" fmla="*/ 476 h 726"/>
              <a:gd name="T52" fmla="*/ 414 w 726"/>
              <a:gd name="T53" fmla="*/ 482 h 726"/>
              <a:gd name="T54" fmla="*/ 494 w 726"/>
              <a:gd name="T55" fmla="*/ 466 h 726"/>
              <a:gd name="T56" fmla="*/ 514 w 726"/>
              <a:gd name="T57" fmla="*/ 460 h 726"/>
              <a:gd name="T58" fmla="*/ 564 w 726"/>
              <a:gd name="T59" fmla="*/ 572 h 726"/>
              <a:gd name="T60" fmla="*/ 234 w 726"/>
              <a:gd name="T61" fmla="*/ 296 h 726"/>
              <a:gd name="T62" fmla="*/ 260 w 726"/>
              <a:gd name="T63" fmla="*/ 334 h 726"/>
              <a:gd name="T64" fmla="*/ 242 w 726"/>
              <a:gd name="T65" fmla="*/ 370 h 726"/>
              <a:gd name="T66" fmla="*/ 270 w 726"/>
              <a:gd name="T67" fmla="*/ 362 h 726"/>
              <a:gd name="T68" fmla="*/ 290 w 726"/>
              <a:gd name="T69" fmla="*/ 298 h 726"/>
              <a:gd name="T70" fmla="*/ 352 w 726"/>
              <a:gd name="T71" fmla="*/ 304 h 726"/>
              <a:gd name="T72" fmla="*/ 362 w 726"/>
              <a:gd name="T73" fmla="*/ 388 h 726"/>
              <a:gd name="T74" fmla="*/ 316 w 726"/>
              <a:gd name="T75" fmla="*/ 432 h 726"/>
              <a:gd name="T76" fmla="*/ 272 w 726"/>
              <a:gd name="T77" fmla="*/ 400 h 726"/>
              <a:gd name="T78" fmla="*/ 414 w 726"/>
              <a:gd name="T79" fmla="*/ 388 h 726"/>
              <a:gd name="T80" fmla="*/ 532 w 726"/>
              <a:gd name="T81" fmla="*/ 294 h 726"/>
              <a:gd name="T82" fmla="*/ 396 w 726"/>
              <a:gd name="T83" fmla="*/ 430 h 726"/>
              <a:gd name="T84" fmla="*/ 570 w 726"/>
              <a:gd name="T85" fmla="*/ 430 h 726"/>
              <a:gd name="T86" fmla="*/ 584 w 726"/>
              <a:gd name="T87" fmla="*/ 168 h 726"/>
              <a:gd name="T88" fmla="*/ 510 w 726"/>
              <a:gd name="T89" fmla="*/ 268 h 726"/>
              <a:gd name="T90" fmla="*/ 546 w 726"/>
              <a:gd name="T91" fmla="*/ 182 h 726"/>
              <a:gd name="T92" fmla="*/ 326 w 726"/>
              <a:gd name="T93" fmla="*/ 244 h 726"/>
              <a:gd name="T94" fmla="*/ 312 w 726"/>
              <a:gd name="T95" fmla="*/ 254 h 726"/>
              <a:gd name="T96" fmla="*/ 196 w 726"/>
              <a:gd name="T97" fmla="*/ 266 h 726"/>
              <a:gd name="T98" fmla="*/ 176 w 726"/>
              <a:gd name="T99" fmla="*/ 262 h 726"/>
              <a:gd name="T100" fmla="*/ 162 w 726"/>
              <a:gd name="T101" fmla="*/ 196 h 726"/>
              <a:gd name="T102" fmla="*/ 340 w 726"/>
              <a:gd name="T103" fmla="*/ 104 h 726"/>
              <a:gd name="T104" fmla="*/ 570 w 726"/>
              <a:gd name="T105" fmla="*/ 150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232" y="336"/>
                </a:moveTo>
                <a:lnTo>
                  <a:pt x="232" y="336"/>
                </a:lnTo>
                <a:lnTo>
                  <a:pt x="230" y="328"/>
                </a:lnTo>
                <a:lnTo>
                  <a:pt x="228" y="322"/>
                </a:lnTo>
                <a:lnTo>
                  <a:pt x="224" y="316"/>
                </a:lnTo>
                <a:lnTo>
                  <a:pt x="216" y="316"/>
                </a:lnTo>
                <a:lnTo>
                  <a:pt x="202" y="316"/>
                </a:lnTo>
                <a:lnTo>
                  <a:pt x="202" y="354"/>
                </a:lnTo>
                <a:lnTo>
                  <a:pt x="218" y="354"/>
                </a:lnTo>
                <a:lnTo>
                  <a:pt x="222" y="352"/>
                </a:lnTo>
                <a:lnTo>
                  <a:pt x="228" y="348"/>
                </a:lnTo>
                <a:lnTo>
                  <a:pt x="230" y="342"/>
                </a:lnTo>
                <a:lnTo>
                  <a:pt x="232" y="336"/>
                </a:lnTo>
                <a:close/>
                <a:moveTo>
                  <a:pt x="316" y="412"/>
                </a:moveTo>
                <a:lnTo>
                  <a:pt x="316" y="412"/>
                </a:lnTo>
                <a:lnTo>
                  <a:pt x="322" y="410"/>
                </a:lnTo>
                <a:lnTo>
                  <a:pt x="326" y="408"/>
                </a:lnTo>
                <a:lnTo>
                  <a:pt x="328" y="404"/>
                </a:lnTo>
                <a:lnTo>
                  <a:pt x="332" y="400"/>
                </a:lnTo>
                <a:lnTo>
                  <a:pt x="334" y="384"/>
                </a:lnTo>
                <a:lnTo>
                  <a:pt x="334" y="362"/>
                </a:lnTo>
                <a:lnTo>
                  <a:pt x="334" y="340"/>
                </a:lnTo>
                <a:lnTo>
                  <a:pt x="332" y="324"/>
                </a:lnTo>
                <a:lnTo>
                  <a:pt x="328" y="318"/>
                </a:lnTo>
                <a:lnTo>
                  <a:pt x="326" y="316"/>
                </a:lnTo>
                <a:lnTo>
                  <a:pt x="322" y="314"/>
                </a:lnTo>
                <a:lnTo>
                  <a:pt x="316" y="312"/>
                </a:lnTo>
                <a:lnTo>
                  <a:pt x="310" y="314"/>
                </a:lnTo>
                <a:lnTo>
                  <a:pt x="306" y="316"/>
                </a:lnTo>
                <a:lnTo>
                  <a:pt x="304" y="318"/>
                </a:lnTo>
                <a:lnTo>
                  <a:pt x="302" y="324"/>
                </a:lnTo>
                <a:lnTo>
                  <a:pt x="298" y="340"/>
                </a:lnTo>
                <a:lnTo>
                  <a:pt x="298" y="362"/>
                </a:lnTo>
                <a:lnTo>
                  <a:pt x="298" y="384"/>
                </a:lnTo>
                <a:lnTo>
                  <a:pt x="302" y="400"/>
                </a:lnTo>
                <a:lnTo>
                  <a:pt x="304" y="404"/>
                </a:lnTo>
                <a:lnTo>
                  <a:pt x="306" y="408"/>
                </a:lnTo>
                <a:lnTo>
                  <a:pt x="310" y="410"/>
                </a:lnTo>
                <a:lnTo>
                  <a:pt x="316" y="41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62" y="574"/>
                </a:moveTo>
                <a:lnTo>
                  <a:pt x="562" y="574"/>
                </a:lnTo>
                <a:lnTo>
                  <a:pt x="558" y="578"/>
                </a:lnTo>
                <a:lnTo>
                  <a:pt x="554" y="578"/>
                </a:lnTo>
                <a:lnTo>
                  <a:pt x="552" y="578"/>
                </a:lnTo>
                <a:lnTo>
                  <a:pt x="548" y="578"/>
                </a:lnTo>
                <a:lnTo>
                  <a:pt x="416" y="510"/>
                </a:lnTo>
                <a:lnTo>
                  <a:pt x="326" y="620"/>
                </a:lnTo>
                <a:lnTo>
                  <a:pt x="322" y="622"/>
                </a:lnTo>
                <a:lnTo>
                  <a:pt x="316" y="624"/>
                </a:lnTo>
                <a:lnTo>
                  <a:pt x="314" y="624"/>
                </a:lnTo>
                <a:lnTo>
                  <a:pt x="308" y="620"/>
                </a:lnTo>
                <a:lnTo>
                  <a:pt x="304" y="614"/>
                </a:lnTo>
                <a:lnTo>
                  <a:pt x="274" y="496"/>
                </a:lnTo>
                <a:lnTo>
                  <a:pt x="166" y="546"/>
                </a:lnTo>
                <a:lnTo>
                  <a:pt x="160" y="546"/>
                </a:lnTo>
                <a:lnTo>
                  <a:pt x="154" y="544"/>
                </a:lnTo>
                <a:lnTo>
                  <a:pt x="150" y="538"/>
                </a:lnTo>
                <a:lnTo>
                  <a:pt x="150" y="530"/>
                </a:lnTo>
                <a:lnTo>
                  <a:pt x="174" y="466"/>
                </a:lnTo>
                <a:lnTo>
                  <a:pt x="176" y="462"/>
                </a:lnTo>
                <a:lnTo>
                  <a:pt x="180" y="458"/>
                </a:lnTo>
                <a:lnTo>
                  <a:pt x="184" y="458"/>
                </a:lnTo>
                <a:lnTo>
                  <a:pt x="190" y="458"/>
                </a:lnTo>
                <a:lnTo>
                  <a:pt x="194" y="460"/>
                </a:lnTo>
                <a:lnTo>
                  <a:pt x="196" y="464"/>
                </a:lnTo>
                <a:lnTo>
                  <a:pt x="198" y="470"/>
                </a:lnTo>
                <a:lnTo>
                  <a:pt x="196" y="474"/>
                </a:lnTo>
                <a:lnTo>
                  <a:pt x="184" y="512"/>
                </a:lnTo>
                <a:lnTo>
                  <a:pt x="276" y="468"/>
                </a:lnTo>
                <a:lnTo>
                  <a:pt x="282" y="466"/>
                </a:lnTo>
                <a:lnTo>
                  <a:pt x="286" y="468"/>
                </a:lnTo>
                <a:lnTo>
                  <a:pt x="290" y="472"/>
                </a:lnTo>
                <a:lnTo>
                  <a:pt x="294" y="476"/>
                </a:lnTo>
                <a:lnTo>
                  <a:pt x="322" y="586"/>
                </a:lnTo>
                <a:lnTo>
                  <a:pt x="404" y="486"/>
                </a:lnTo>
                <a:lnTo>
                  <a:pt x="406" y="484"/>
                </a:lnTo>
                <a:lnTo>
                  <a:pt x="410" y="482"/>
                </a:lnTo>
                <a:lnTo>
                  <a:pt x="414" y="482"/>
                </a:lnTo>
                <a:lnTo>
                  <a:pt x="418" y="484"/>
                </a:lnTo>
                <a:lnTo>
                  <a:pt x="526" y="538"/>
                </a:lnTo>
                <a:lnTo>
                  <a:pt x="494" y="476"/>
                </a:lnTo>
                <a:lnTo>
                  <a:pt x="494" y="470"/>
                </a:lnTo>
                <a:lnTo>
                  <a:pt x="494" y="466"/>
                </a:lnTo>
                <a:lnTo>
                  <a:pt x="496" y="462"/>
                </a:lnTo>
                <a:lnTo>
                  <a:pt x="500" y="460"/>
                </a:lnTo>
                <a:lnTo>
                  <a:pt x="506" y="458"/>
                </a:lnTo>
                <a:lnTo>
                  <a:pt x="510" y="458"/>
                </a:lnTo>
                <a:lnTo>
                  <a:pt x="514" y="460"/>
                </a:lnTo>
                <a:lnTo>
                  <a:pt x="518" y="464"/>
                </a:lnTo>
                <a:lnTo>
                  <a:pt x="564" y="560"/>
                </a:lnTo>
                <a:lnTo>
                  <a:pt x="566" y="564"/>
                </a:lnTo>
                <a:lnTo>
                  <a:pt x="566" y="568"/>
                </a:lnTo>
                <a:lnTo>
                  <a:pt x="564" y="572"/>
                </a:lnTo>
                <a:lnTo>
                  <a:pt x="562" y="574"/>
                </a:lnTo>
                <a:close/>
                <a:moveTo>
                  <a:pt x="174" y="430"/>
                </a:moveTo>
                <a:lnTo>
                  <a:pt x="174" y="294"/>
                </a:lnTo>
                <a:lnTo>
                  <a:pt x="224" y="294"/>
                </a:lnTo>
                <a:lnTo>
                  <a:pt x="234" y="296"/>
                </a:lnTo>
                <a:lnTo>
                  <a:pt x="240" y="298"/>
                </a:lnTo>
                <a:lnTo>
                  <a:pt x="246" y="300"/>
                </a:lnTo>
                <a:lnTo>
                  <a:pt x="252" y="306"/>
                </a:lnTo>
                <a:lnTo>
                  <a:pt x="256" y="312"/>
                </a:lnTo>
                <a:lnTo>
                  <a:pt x="258" y="318"/>
                </a:lnTo>
                <a:lnTo>
                  <a:pt x="260" y="334"/>
                </a:lnTo>
                <a:lnTo>
                  <a:pt x="258" y="348"/>
                </a:lnTo>
                <a:lnTo>
                  <a:pt x="256" y="354"/>
                </a:lnTo>
                <a:lnTo>
                  <a:pt x="254" y="360"/>
                </a:lnTo>
                <a:lnTo>
                  <a:pt x="248" y="366"/>
                </a:lnTo>
                <a:lnTo>
                  <a:pt x="242" y="370"/>
                </a:lnTo>
                <a:lnTo>
                  <a:pt x="234" y="374"/>
                </a:lnTo>
                <a:lnTo>
                  <a:pt x="222" y="374"/>
                </a:lnTo>
                <a:lnTo>
                  <a:pt x="202" y="374"/>
                </a:lnTo>
                <a:lnTo>
                  <a:pt x="202" y="430"/>
                </a:lnTo>
                <a:lnTo>
                  <a:pt x="174" y="430"/>
                </a:lnTo>
                <a:close/>
                <a:moveTo>
                  <a:pt x="270" y="362"/>
                </a:moveTo>
                <a:lnTo>
                  <a:pt x="270" y="362"/>
                </a:lnTo>
                <a:lnTo>
                  <a:pt x="270" y="336"/>
                </a:lnTo>
                <a:lnTo>
                  <a:pt x="272" y="324"/>
                </a:lnTo>
                <a:lnTo>
                  <a:pt x="276" y="314"/>
                </a:lnTo>
                <a:lnTo>
                  <a:pt x="282" y="304"/>
                </a:lnTo>
                <a:lnTo>
                  <a:pt x="290" y="298"/>
                </a:lnTo>
                <a:lnTo>
                  <a:pt x="300" y="294"/>
                </a:lnTo>
                <a:lnTo>
                  <a:pt x="316" y="292"/>
                </a:lnTo>
                <a:lnTo>
                  <a:pt x="332" y="294"/>
                </a:lnTo>
                <a:lnTo>
                  <a:pt x="344" y="298"/>
                </a:lnTo>
                <a:lnTo>
                  <a:pt x="352" y="304"/>
                </a:lnTo>
                <a:lnTo>
                  <a:pt x="356" y="314"/>
                </a:lnTo>
                <a:lnTo>
                  <a:pt x="360" y="324"/>
                </a:lnTo>
                <a:lnTo>
                  <a:pt x="362" y="336"/>
                </a:lnTo>
                <a:lnTo>
                  <a:pt x="362" y="362"/>
                </a:lnTo>
                <a:lnTo>
                  <a:pt x="362" y="388"/>
                </a:lnTo>
                <a:lnTo>
                  <a:pt x="360" y="400"/>
                </a:lnTo>
                <a:lnTo>
                  <a:pt x="356" y="410"/>
                </a:lnTo>
                <a:lnTo>
                  <a:pt x="352" y="418"/>
                </a:lnTo>
                <a:lnTo>
                  <a:pt x="344" y="426"/>
                </a:lnTo>
                <a:lnTo>
                  <a:pt x="332" y="430"/>
                </a:lnTo>
                <a:lnTo>
                  <a:pt x="316" y="432"/>
                </a:lnTo>
                <a:lnTo>
                  <a:pt x="300" y="430"/>
                </a:lnTo>
                <a:lnTo>
                  <a:pt x="290" y="426"/>
                </a:lnTo>
                <a:lnTo>
                  <a:pt x="282" y="418"/>
                </a:lnTo>
                <a:lnTo>
                  <a:pt x="276" y="410"/>
                </a:lnTo>
                <a:lnTo>
                  <a:pt x="272" y="400"/>
                </a:lnTo>
                <a:lnTo>
                  <a:pt x="270" y="388"/>
                </a:lnTo>
                <a:lnTo>
                  <a:pt x="270" y="362"/>
                </a:lnTo>
                <a:close/>
                <a:moveTo>
                  <a:pt x="366" y="294"/>
                </a:moveTo>
                <a:lnTo>
                  <a:pt x="396" y="294"/>
                </a:lnTo>
                <a:lnTo>
                  <a:pt x="412" y="388"/>
                </a:lnTo>
                <a:lnTo>
                  <a:pt x="414" y="388"/>
                </a:lnTo>
                <a:lnTo>
                  <a:pt x="434" y="294"/>
                </a:lnTo>
                <a:lnTo>
                  <a:pt x="468" y="294"/>
                </a:lnTo>
                <a:lnTo>
                  <a:pt x="488" y="388"/>
                </a:lnTo>
                <a:lnTo>
                  <a:pt x="504" y="294"/>
                </a:lnTo>
                <a:lnTo>
                  <a:pt x="532" y="294"/>
                </a:lnTo>
                <a:lnTo>
                  <a:pt x="502" y="430"/>
                </a:lnTo>
                <a:lnTo>
                  <a:pt x="472" y="430"/>
                </a:lnTo>
                <a:lnTo>
                  <a:pt x="450" y="330"/>
                </a:lnTo>
                <a:lnTo>
                  <a:pt x="426" y="430"/>
                </a:lnTo>
                <a:lnTo>
                  <a:pt x="396" y="430"/>
                </a:lnTo>
                <a:lnTo>
                  <a:pt x="366" y="294"/>
                </a:lnTo>
                <a:close/>
                <a:moveTo>
                  <a:pt x="570" y="430"/>
                </a:moveTo>
                <a:lnTo>
                  <a:pt x="548" y="430"/>
                </a:lnTo>
                <a:lnTo>
                  <a:pt x="548" y="406"/>
                </a:lnTo>
                <a:lnTo>
                  <a:pt x="570" y="406"/>
                </a:lnTo>
                <a:lnTo>
                  <a:pt x="570" y="430"/>
                </a:lnTo>
                <a:close/>
                <a:moveTo>
                  <a:pt x="568" y="394"/>
                </a:moveTo>
                <a:lnTo>
                  <a:pt x="550" y="394"/>
                </a:lnTo>
                <a:lnTo>
                  <a:pt x="546" y="294"/>
                </a:lnTo>
                <a:lnTo>
                  <a:pt x="572" y="294"/>
                </a:lnTo>
                <a:lnTo>
                  <a:pt x="568" y="394"/>
                </a:lnTo>
                <a:close/>
                <a:moveTo>
                  <a:pt x="584" y="168"/>
                </a:moveTo>
                <a:lnTo>
                  <a:pt x="528" y="264"/>
                </a:lnTo>
                <a:lnTo>
                  <a:pt x="524" y="268"/>
                </a:lnTo>
                <a:lnTo>
                  <a:pt x="518" y="270"/>
                </a:lnTo>
                <a:lnTo>
                  <a:pt x="510" y="268"/>
                </a:lnTo>
                <a:lnTo>
                  <a:pt x="508" y="264"/>
                </a:lnTo>
                <a:lnTo>
                  <a:pt x="506" y="260"/>
                </a:lnTo>
                <a:lnTo>
                  <a:pt x="504" y="256"/>
                </a:lnTo>
                <a:lnTo>
                  <a:pt x="506" y="250"/>
                </a:lnTo>
                <a:lnTo>
                  <a:pt x="546" y="182"/>
                </a:lnTo>
                <a:lnTo>
                  <a:pt x="422" y="222"/>
                </a:lnTo>
                <a:lnTo>
                  <a:pt x="414" y="222"/>
                </a:lnTo>
                <a:lnTo>
                  <a:pt x="408" y="218"/>
                </a:lnTo>
                <a:lnTo>
                  <a:pt x="350" y="144"/>
                </a:lnTo>
                <a:lnTo>
                  <a:pt x="326" y="244"/>
                </a:lnTo>
                <a:lnTo>
                  <a:pt x="324" y="248"/>
                </a:lnTo>
                <a:lnTo>
                  <a:pt x="322" y="252"/>
                </a:lnTo>
                <a:lnTo>
                  <a:pt x="316" y="254"/>
                </a:lnTo>
                <a:lnTo>
                  <a:pt x="312" y="254"/>
                </a:lnTo>
                <a:lnTo>
                  <a:pt x="186" y="224"/>
                </a:lnTo>
                <a:lnTo>
                  <a:pt x="198" y="252"/>
                </a:lnTo>
                <a:lnTo>
                  <a:pt x="198" y="256"/>
                </a:lnTo>
                <a:lnTo>
                  <a:pt x="198" y="262"/>
                </a:lnTo>
                <a:lnTo>
                  <a:pt x="196" y="266"/>
                </a:lnTo>
                <a:lnTo>
                  <a:pt x="192" y="268"/>
                </a:lnTo>
                <a:lnTo>
                  <a:pt x="186" y="270"/>
                </a:lnTo>
                <a:lnTo>
                  <a:pt x="182" y="268"/>
                </a:lnTo>
                <a:lnTo>
                  <a:pt x="178" y="266"/>
                </a:lnTo>
                <a:lnTo>
                  <a:pt x="176" y="262"/>
                </a:lnTo>
                <a:lnTo>
                  <a:pt x="154" y="212"/>
                </a:lnTo>
                <a:lnTo>
                  <a:pt x="154" y="206"/>
                </a:lnTo>
                <a:lnTo>
                  <a:pt x="156" y="198"/>
                </a:lnTo>
                <a:lnTo>
                  <a:pt x="162" y="196"/>
                </a:lnTo>
                <a:lnTo>
                  <a:pt x="168" y="194"/>
                </a:lnTo>
                <a:lnTo>
                  <a:pt x="306" y="226"/>
                </a:lnTo>
                <a:lnTo>
                  <a:pt x="332" y="112"/>
                </a:lnTo>
                <a:lnTo>
                  <a:pt x="334" y="106"/>
                </a:lnTo>
                <a:lnTo>
                  <a:pt x="340" y="104"/>
                </a:lnTo>
                <a:lnTo>
                  <a:pt x="348" y="104"/>
                </a:lnTo>
                <a:lnTo>
                  <a:pt x="352" y="108"/>
                </a:lnTo>
                <a:lnTo>
                  <a:pt x="422" y="196"/>
                </a:lnTo>
                <a:lnTo>
                  <a:pt x="570" y="150"/>
                </a:lnTo>
                <a:lnTo>
                  <a:pt x="578" y="150"/>
                </a:lnTo>
                <a:lnTo>
                  <a:pt x="584" y="154"/>
                </a:lnTo>
                <a:lnTo>
                  <a:pt x="586" y="160"/>
                </a:lnTo>
                <a:lnTo>
                  <a:pt x="584" y="1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Freeform 289"/>
          <p:cNvSpPr>
            <a:spLocks noEditPoints="1"/>
          </p:cNvSpPr>
          <p:nvPr userDrawn="1"/>
        </p:nvSpPr>
        <p:spPr bwMode="auto">
          <a:xfrm>
            <a:off x="4710681" y="2536609"/>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82 w 726"/>
              <a:gd name="T23" fmla="*/ 536 h 726"/>
              <a:gd name="T24" fmla="*/ 724 w 726"/>
              <a:gd name="T25" fmla="*/ 400 h 726"/>
              <a:gd name="T26" fmla="*/ 718 w 726"/>
              <a:gd name="T27" fmla="*/ 290 h 726"/>
              <a:gd name="T28" fmla="*/ 664 w 726"/>
              <a:gd name="T29" fmla="*/ 160 h 726"/>
              <a:gd name="T30" fmla="*/ 566 w 726"/>
              <a:gd name="T31" fmla="*/ 62 h 726"/>
              <a:gd name="T32" fmla="*/ 436 w 726"/>
              <a:gd name="T33" fmla="*/ 8 h 726"/>
              <a:gd name="T34" fmla="*/ 250 w 726"/>
              <a:gd name="T35" fmla="*/ 428 h 726"/>
              <a:gd name="T36" fmla="*/ 236 w 726"/>
              <a:gd name="T37" fmla="*/ 458 h 726"/>
              <a:gd name="T38" fmla="*/ 206 w 726"/>
              <a:gd name="T39" fmla="*/ 470 h 726"/>
              <a:gd name="T40" fmla="*/ 182 w 726"/>
              <a:gd name="T41" fmla="*/ 462 h 726"/>
              <a:gd name="T42" fmla="*/ 162 w 726"/>
              <a:gd name="T43" fmla="*/ 436 h 726"/>
              <a:gd name="T44" fmla="*/ 160 w 726"/>
              <a:gd name="T45" fmla="*/ 424 h 726"/>
              <a:gd name="T46" fmla="*/ 174 w 726"/>
              <a:gd name="T47" fmla="*/ 392 h 726"/>
              <a:gd name="T48" fmla="*/ 206 w 726"/>
              <a:gd name="T49" fmla="*/ 378 h 726"/>
              <a:gd name="T50" fmla="*/ 230 w 726"/>
              <a:gd name="T51" fmla="*/ 386 h 726"/>
              <a:gd name="T52" fmla="*/ 250 w 726"/>
              <a:gd name="T53" fmla="*/ 414 h 726"/>
              <a:gd name="T54" fmla="*/ 572 w 726"/>
              <a:gd name="T55" fmla="*/ 428 h 726"/>
              <a:gd name="T56" fmla="*/ 562 w 726"/>
              <a:gd name="T57" fmla="*/ 452 h 726"/>
              <a:gd name="T58" fmla="*/ 536 w 726"/>
              <a:gd name="T59" fmla="*/ 468 h 726"/>
              <a:gd name="T60" fmla="*/ 510 w 726"/>
              <a:gd name="T61" fmla="*/ 466 h 726"/>
              <a:gd name="T62" fmla="*/ 486 w 726"/>
              <a:gd name="T63" fmla="*/ 444 h 726"/>
              <a:gd name="T64" fmla="*/ 482 w 726"/>
              <a:gd name="T65" fmla="*/ 424 h 726"/>
              <a:gd name="T66" fmla="*/ 490 w 726"/>
              <a:gd name="T67" fmla="*/ 398 h 726"/>
              <a:gd name="T68" fmla="*/ 518 w 726"/>
              <a:gd name="T69" fmla="*/ 380 h 726"/>
              <a:gd name="T70" fmla="*/ 544 w 726"/>
              <a:gd name="T71" fmla="*/ 382 h 726"/>
              <a:gd name="T72" fmla="*/ 568 w 726"/>
              <a:gd name="T73" fmla="*/ 406 h 726"/>
              <a:gd name="T74" fmla="*/ 572 w 726"/>
              <a:gd name="T75" fmla="*/ 428 h 726"/>
              <a:gd name="T76" fmla="*/ 596 w 726"/>
              <a:gd name="T77" fmla="*/ 428 h 726"/>
              <a:gd name="T78" fmla="*/ 596 w 726"/>
              <a:gd name="T79" fmla="*/ 410 h 726"/>
              <a:gd name="T80" fmla="*/ 566 w 726"/>
              <a:gd name="T81" fmla="*/ 366 h 726"/>
              <a:gd name="T82" fmla="*/ 526 w 726"/>
              <a:gd name="T83" fmla="*/ 354 h 726"/>
              <a:gd name="T84" fmla="*/ 478 w 726"/>
              <a:gd name="T85" fmla="*/ 374 h 726"/>
              <a:gd name="T86" fmla="*/ 458 w 726"/>
              <a:gd name="T87" fmla="*/ 424 h 726"/>
              <a:gd name="T88" fmla="*/ 276 w 726"/>
              <a:gd name="T89" fmla="*/ 428 h 726"/>
              <a:gd name="T90" fmla="*/ 270 w 726"/>
              <a:gd name="T91" fmla="*/ 396 h 726"/>
              <a:gd name="T92" fmla="*/ 232 w 726"/>
              <a:gd name="T93" fmla="*/ 360 h 726"/>
              <a:gd name="T94" fmla="*/ 192 w 726"/>
              <a:gd name="T95" fmla="*/ 356 h 726"/>
              <a:gd name="T96" fmla="*/ 148 w 726"/>
              <a:gd name="T97" fmla="*/ 386 h 726"/>
              <a:gd name="T98" fmla="*/ 136 w 726"/>
              <a:gd name="T99" fmla="*/ 424 h 726"/>
              <a:gd name="T100" fmla="*/ 110 w 726"/>
              <a:gd name="T101" fmla="*/ 412 h 726"/>
              <a:gd name="T102" fmla="*/ 134 w 726"/>
              <a:gd name="T103" fmla="*/ 358 h 726"/>
              <a:gd name="T104" fmla="*/ 172 w 726"/>
              <a:gd name="T105" fmla="*/ 332 h 726"/>
              <a:gd name="T106" fmla="*/ 252 w 726"/>
              <a:gd name="T107" fmla="*/ 318 h 726"/>
              <a:gd name="T108" fmla="*/ 320 w 726"/>
              <a:gd name="T109" fmla="*/ 270 h 726"/>
              <a:gd name="T110" fmla="*/ 342 w 726"/>
              <a:gd name="T111" fmla="*/ 262 h 726"/>
              <a:gd name="T112" fmla="*/ 402 w 726"/>
              <a:gd name="T113" fmla="*/ 256 h 726"/>
              <a:gd name="T114" fmla="*/ 500 w 726"/>
              <a:gd name="T115" fmla="*/ 280 h 726"/>
              <a:gd name="T116" fmla="*/ 572 w 726"/>
              <a:gd name="T117" fmla="*/ 346 h 726"/>
              <a:gd name="T118" fmla="*/ 590 w 726"/>
              <a:gd name="T119" fmla="*/ 360 h 726"/>
              <a:gd name="T120" fmla="*/ 614 w 726"/>
              <a:gd name="T121" fmla="*/ 40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0" y="428"/>
                </a:moveTo>
                <a:lnTo>
                  <a:pt x="250" y="428"/>
                </a:lnTo>
                <a:lnTo>
                  <a:pt x="248" y="436"/>
                </a:lnTo>
                <a:lnTo>
                  <a:pt x="246" y="444"/>
                </a:lnTo>
                <a:lnTo>
                  <a:pt x="242" y="452"/>
                </a:lnTo>
                <a:lnTo>
                  <a:pt x="236" y="458"/>
                </a:lnTo>
                <a:lnTo>
                  <a:pt x="230" y="462"/>
                </a:lnTo>
                <a:lnTo>
                  <a:pt x="222" y="466"/>
                </a:lnTo>
                <a:lnTo>
                  <a:pt x="214" y="468"/>
                </a:lnTo>
                <a:lnTo>
                  <a:pt x="206" y="470"/>
                </a:lnTo>
                <a:lnTo>
                  <a:pt x="196" y="468"/>
                </a:lnTo>
                <a:lnTo>
                  <a:pt x="188" y="466"/>
                </a:lnTo>
                <a:lnTo>
                  <a:pt x="182" y="462"/>
                </a:lnTo>
                <a:lnTo>
                  <a:pt x="176" y="458"/>
                </a:lnTo>
                <a:lnTo>
                  <a:pt x="170" y="452"/>
                </a:lnTo>
                <a:lnTo>
                  <a:pt x="166" y="444"/>
                </a:lnTo>
                <a:lnTo>
                  <a:pt x="162" y="436"/>
                </a:lnTo>
                <a:lnTo>
                  <a:pt x="160" y="428"/>
                </a:lnTo>
                <a:lnTo>
                  <a:pt x="160" y="424"/>
                </a:lnTo>
                <a:lnTo>
                  <a:pt x="162" y="414"/>
                </a:lnTo>
                <a:lnTo>
                  <a:pt x="164" y="406"/>
                </a:lnTo>
                <a:lnTo>
                  <a:pt x="168" y="398"/>
                </a:lnTo>
                <a:lnTo>
                  <a:pt x="174" y="392"/>
                </a:lnTo>
                <a:lnTo>
                  <a:pt x="180" y="386"/>
                </a:lnTo>
                <a:lnTo>
                  <a:pt x="188" y="382"/>
                </a:lnTo>
                <a:lnTo>
                  <a:pt x="196" y="380"/>
                </a:lnTo>
                <a:lnTo>
                  <a:pt x="206" y="378"/>
                </a:lnTo>
                <a:lnTo>
                  <a:pt x="214" y="380"/>
                </a:lnTo>
                <a:lnTo>
                  <a:pt x="224" y="382"/>
                </a:lnTo>
                <a:lnTo>
                  <a:pt x="230" y="386"/>
                </a:lnTo>
                <a:lnTo>
                  <a:pt x="238" y="392"/>
                </a:lnTo>
                <a:lnTo>
                  <a:pt x="242" y="398"/>
                </a:lnTo>
                <a:lnTo>
                  <a:pt x="248" y="406"/>
                </a:lnTo>
                <a:lnTo>
                  <a:pt x="250" y="414"/>
                </a:lnTo>
                <a:lnTo>
                  <a:pt x="250" y="424"/>
                </a:lnTo>
                <a:lnTo>
                  <a:pt x="250" y="428"/>
                </a:lnTo>
                <a:close/>
                <a:moveTo>
                  <a:pt x="572" y="428"/>
                </a:moveTo>
                <a:lnTo>
                  <a:pt x="572" y="428"/>
                </a:lnTo>
                <a:lnTo>
                  <a:pt x="570" y="436"/>
                </a:lnTo>
                <a:lnTo>
                  <a:pt x="568" y="444"/>
                </a:lnTo>
                <a:lnTo>
                  <a:pt x="562" y="452"/>
                </a:lnTo>
                <a:lnTo>
                  <a:pt x="558" y="458"/>
                </a:lnTo>
                <a:lnTo>
                  <a:pt x="550" y="462"/>
                </a:lnTo>
                <a:lnTo>
                  <a:pt x="544" y="466"/>
                </a:lnTo>
                <a:lnTo>
                  <a:pt x="536" y="468"/>
                </a:lnTo>
                <a:lnTo>
                  <a:pt x="526" y="470"/>
                </a:lnTo>
                <a:lnTo>
                  <a:pt x="518" y="468"/>
                </a:lnTo>
                <a:lnTo>
                  <a:pt x="510" y="466"/>
                </a:lnTo>
                <a:lnTo>
                  <a:pt x="502" y="462"/>
                </a:lnTo>
                <a:lnTo>
                  <a:pt x="496" y="458"/>
                </a:lnTo>
                <a:lnTo>
                  <a:pt x="490" y="452"/>
                </a:lnTo>
                <a:lnTo>
                  <a:pt x="486" y="444"/>
                </a:lnTo>
                <a:lnTo>
                  <a:pt x="484" y="436"/>
                </a:lnTo>
                <a:lnTo>
                  <a:pt x="482" y="428"/>
                </a:lnTo>
                <a:lnTo>
                  <a:pt x="482" y="424"/>
                </a:lnTo>
                <a:lnTo>
                  <a:pt x="482" y="414"/>
                </a:lnTo>
                <a:lnTo>
                  <a:pt x="486" y="406"/>
                </a:lnTo>
                <a:lnTo>
                  <a:pt x="490" y="398"/>
                </a:lnTo>
                <a:lnTo>
                  <a:pt x="494" y="392"/>
                </a:lnTo>
                <a:lnTo>
                  <a:pt x="502" y="386"/>
                </a:lnTo>
                <a:lnTo>
                  <a:pt x="510" y="382"/>
                </a:lnTo>
                <a:lnTo>
                  <a:pt x="518" y="380"/>
                </a:lnTo>
                <a:lnTo>
                  <a:pt x="526" y="378"/>
                </a:lnTo>
                <a:lnTo>
                  <a:pt x="536" y="380"/>
                </a:lnTo>
                <a:lnTo>
                  <a:pt x="544" y="382"/>
                </a:lnTo>
                <a:lnTo>
                  <a:pt x="552" y="386"/>
                </a:lnTo>
                <a:lnTo>
                  <a:pt x="558" y="392"/>
                </a:lnTo>
                <a:lnTo>
                  <a:pt x="564" y="398"/>
                </a:lnTo>
                <a:lnTo>
                  <a:pt x="568" y="406"/>
                </a:lnTo>
                <a:lnTo>
                  <a:pt x="570" y="414"/>
                </a:lnTo>
                <a:lnTo>
                  <a:pt x="572" y="424"/>
                </a:lnTo>
                <a:lnTo>
                  <a:pt x="572" y="428"/>
                </a:lnTo>
                <a:close/>
                <a:moveTo>
                  <a:pt x="618" y="424"/>
                </a:moveTo>
                <a:lnTo>
                  <a:pt x="618" y="424"/>
                </a:lnTo>
                <a:lnTo>
                  <a:pt x="618" y="428"/>
                </a:lnTo>
                <a:lnTo>
                  <a:pt x="596" y="428"/>
                </a:lnTo>
                <a:lnTo>
                  <a:pt x="596" y="424"/>
                </a:lnTo>
                <a:lnTo>
                  <a:pt x="596" y="410"/>
                </a:lnTo>
                <a:lnTo>
                  <a:pt x="592" y="396"/>
                </a:lnTo>
                <a:lnTo>
                  <a:pt x="584" y="386"/>
                </a:lnTo>
                <a:lnTo>
                  <a:pt x="576" y="374"/>
                </a:lnTo>
                <a:lnTo>
                  <a:pt x="566" y="366"/>
                </a:lnTo>
                <a:lnTo>
                  <a:pt x="554" y="360"/>
                </a:lnTo>
                <a:lnTo>
                  <a:pt x="540" y="356"/>
                </a:lnTo>
                <a:lnTo>
                  <a:pt x="526" y="354"/>
                </a:lnTo>
                <a:lnTo>
                  <a:pt x="512" y="356"/>
                </a:lnTo>
                <a:lnTo>
                  <a:pt x="500" y="360"/>
                </a:lnTo>
                <a:lnTo>
                  <a:pt x="488" y="366"/>
                </a:lnTo>
                <a:lnTo>
                  <a:pt x="478" y="374"/>
                </a:lnTo>
                <a:lnTo>
                  <a:pt x="468" y="386"/>
                </a:lnTo>
                <a:lnTo>
                  <a:pt x="462" y="396"/>
                </a:lnTo>
                <a:lnTo>
                  <a:pt x="458" y="410"/>
                </a:lnTo>
                <a:lnTo>
                  <a:pt x="458" y="424"/>
                </a:lnTo>
                <a:lnTo>
                  <a:pt x="458" y="428"/>
                </a:lnTo>
                <a:lnTo>
                  <a:pt x="276" y="428"/>
                </a:lnTo>
                <a:lnTo>
                  <a:pt x="276" y="424"/>
                </a:lnTo>
                <a:lnTo>
                  <a:pt x="274" y="410"/>
                </a:lnTo>
                <a:lnTo>
                  <a:pt x="270" y="396"/>
                </a:lnTo>
                <a:lnTo>
                  <a:pt x="264" y="386"/>
                </a:lnTo>
                <a:lnTo>
                  <a:pt x="254" y="374"/>
                </a:lnTo>
                <a:lnTo>
                  <a:pt x="244" y="366"/>
                </a:lnTo>
                <a:lnTo>
                  <a:pt x="232" y="360"/>
                </a:lnTo>
                <a:lnTo>
                  <a:pt x="220" y="356"/>
                </a:lnTo>
                <a:lnTo>
                  <a:pt x="206" y="354"/>
                </a:lnTo>
                <a:lnTo>
                  <a:pt x="192" y="356"/>
                </a:lnTo>
                <a:lnTo>
                  <a:pt x="178" y="360"/>
                </a:lnTo>
                <a:lnTo>
                  <a:pt x="166" y="366"/>
                </a:lnTo>
                <a:lnTo>
                  <a:pt x="156" y="374"/>
                </a:lnTo>
                <a:lnTo>
                  <a:pt x="148" y="386"/>
                </a:lnTo>
                <a:lnTo>
                  <a:pt x="142" y="396"/>
                </a:lnTo>
                <a:lnTo>
                  <a:pt x="138" y="410"/>
                </a:lnTo>
                <a:lnTo>
                  <a:pt x="136" y="424"/>
                </a:lnTo>
                <a:lnTo>
                  <a:pt x="136" y="428"/>
                </a:lnTo>
                <a:lnTo>
                  <a:pt x="108" y="428"/>
                </a:lnTo>
                <a:lnTo>
                  <a:pt x="110" y="412"/>
                </a:lnTo>
                <a:lnTo>
                  <a:pt x="112" y="398"/>
                </a:lnTo>
                <a:lnTo>
                  <a:pt x="118" y="384"/>
                </a:lnTo>
                <a:lnTo>
                  <a:pt x="126" y="370"/>
                </a:lnTo>
                <a:lnTo>
                  <a:pt x="134" y="358"/>
                </a:lnTo>
                <a:lnTo>
                  <a:pt x="146" y="348"/>
                </a:lnTo>
                <a:lnTo>
                  <a:pt x="158" y="340"/>
                </a:lnTo>
                <a:lnTo>
                  <a:pt x="172" y="332"/>
                </a:lnTo>
                <a:lnTo>
                  <a:pt x="196" y="324"/>
                </a:lnTo>
                <a:lnTo>
                  <a:pt x="216" y="320"/>
                </a:lnTo>
                <a:lnTo>
                  <a:pt x="234" y="318"/>
                </a:lnTo>
                <a:lnTo>
                  <a:pt x="252" y="318"/>
                </a:lnTo>
                <a:lnTo>
                  <a:pt x="278" y="320"/>
                </a:lnTo>
                <a:lnTo>
                  <a:pt x="320" y="270"/>
                </a:lnTo>
                <a:lnTo>
                  <a:pt x="324" y="266"/>
                </a:lnTo>
                <a:lnTo>
                  <a:pt x="328" y="266"/>
                </a:lnTo>
                <a:lnTo>
                  <a:pt x="342" y="262"/>
                </a:lnTo>
                <a:lnTo>
                  <a:pt x="356" y="258"/>
                </a:lnTo>
                <a:lnTo>
                  <a:pt x="374" y="258"/>
                </a:lnTo>
                <a:lnTo>
                  <a:pt x="402" y="256"/>
                </a:lnTo>
                <a:lnTo>
                  <a:pt x="428" y="258"/>
                </a:lnTo>
                <a:lnTo>
                  <a:pt x="452" y="262"/>
                </a:lnTo>
                <a:lnTo>
                  <a:pt x="476" y="270"/>
                </a:lnTo>
                <a:lnTo>
                  <a:pt x="500" y="280"/>
                </a:lnTo>
                <a:lnTo>
                  <a:pt x="520" y="294"/>
                </a:lnTo>
                <a:lnTo>
                  <a:pt x="540" y="308"/>
                </a:lnTo>
                <a:lnTo>
                  <a:pt x="558" y="326"/>
                </a:lnTo>
                <a:lnTo>
                  <a:pt x="572" y="346"/>
                </a:lnTo>
                <a:lnTo>
                  <a:pt x="582" y="352"/>
                </a:lnTo>
                <a:lnTo>
                  <a:pt x="590" y="360"/>
                </a:lnTo>
                <a:lnTo>
                  <a:pt x="598" y="368"/>
                </a:lnTo>
                <a:lnTo>
                  <a:pt x="606" y="378"/>
                </a:lnTo>
                <a:lnTo>
                  <a:pt x="610" y="388"/>
                </a:lnTo>
                <a:lnTo>
                  <a:pt x="614" y="400"/>
                </a:lnTo>
                <a:lnTo>
                  <a:pt x="616" y="412"/>
                </a:lnTo>
                <a:lnTo>
                  <a:pt x="618" y="4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4" name="Freeform 159"/>
          <p:cNvSpPr>
            <a:spLocks noEditPoints="1"/>
          </p:cNvSpPr>
          <p:nvPr userDrawn="1"/>
        </p:nvSpPr>
        <p:spPr bwMode="auto">
          <a:xfrm>
            <a:off x="10614569" y="2536609"/>
            <a:ext cx="1080000" cy="1080000"/>
          </a:xfrm>
          <a:custGeom>
            <a:avLst/>
            <a:gdLst>
              <a:gd name="T0" fmla="*/ 256 w 726"/>
              <a:gd name="T1" fmla="*/ 16 h 726"/>
              <a:gd name="T2" fmla="*/ 108 w 726"/>
              <a:gd name="T3" fmla="*/ 106 h 726"/>
              <a:gd name="T4" fmla="*/ 18 w 726"/>
              <a:gd name="T5" fmla="*/ 254 h 726"/>
              <a:gd name="T6" fmla="*/ 2 w 726"/>
              <a:gd name="T7" fmla="*/ 400 h 726"/>
              <a:gd name="T8" fmla="*/ 62 w 726"/>
              <a:gd name="T9" fmla="*/ 566 h 726"/>
              <a:gd name="T10" fmla="*/ 190 w 726"/>
              <a:gd name="T11" fmla="*/ 682 h 726"/>
              <a:gd name="T12" fmla="*/ 364 w 726"/>
              <a:gd name="T13" fmla="*/ 726 h 726"/>
              <a:gd name="T14" fmla="*/ 506 w 726"/>
              <a:gd name="T15" fmla="*/ 698 h 726"/>
              <a:gd name="T16" fmla="*/ 644 w 726"/>
              <a:gd name="T17" fmla="*/ 594 h 726"/>
              <a:gd name="T18" fmla="*/ 720 w 726"/>
              <a:gd name="T19" fmla="*/ 436 h 726"/>
              <a:gd name="T20" fmla="*/ 720 w 726"/>
              <a:gd name="T21" fmla="*/ 290 h 726"/>
              <a:gd name="T22" fmla="*/ 644 w 726"/>
              <a:gd name="T23" fmla="*/ 132 h 726"/>
              <a:gd name="T24" fmla="*/ 506 w 726"/>
              <a:gd name="T25" fmla="*/ 28 h 726"/>
              <a:gd name="T26" fmla="*/ 364 w 726"/>
              <a:gd name="T27" fmla="*/ 606 h 726"/>
              <a:gd name="T28" fmla="*/ 270 w 726"/>
              <a:gd name="T29" fmla="*/ 586 h 726"/>
              <a:gd name="T30" fmla="*/ 176 w 726"/>
              <a:gd name="T31" fmla="*/ 518 h 726"/>
              <a:gd name="T32" fmla="*/ 126 w 726"/>
              <a:gd name="T33" fmla="*/ 412 h 726"/>
              <a:gd name="T34" fmla="*/ 126 w 726"/>
              <a:gd name="T35" fmla="*/ 314 h 726"/>
              <a:gd name="T36" fmla="*/ 176 w 726"/>
              <a:gd name="T37" fmla="*/ 208 h 726"/>
              <a:gd name="T38" fmla="*/ 270 w 726"/>
              <a:gd name="T39" fmla="*/ 140 h 726"/>
              <a:gd name="T40" fmla="*/ 364 w 726"/>
              <a:gd name="T41" fmla="*/ 120 h 726"/>
              <a:gd name="T42" fmla="*/ 480 w 726"/>
              <a:gd name="T43" fmla="*/ 150 h 726"/>
              <a:gd name="T44" fmla="*/ 564 w 726"/>
              <a:gd name="T45" fmla="*/ 228 h 726"/>
              <a:gd name="T46" fmla="*/ 606 w 726"/>
              <a:gd name="T47" fmla="*/ 338 h 726"/>
              <a:gd name="T48" fmla="*/ 596 w 726"/>
              <a:gd name="T49" fmla="*/ 434 h 726"/>
              <a:gd name="T50" fmla="*/ 536 w 726"/>
              <a:gd name="T51" fmla="*/ 534 h 726"/>
              <a:gd name="T52" fmla="*/ 436 w 726"/>
              <a:gd name="T53" fmla="*/ 594 h 726"/>
              <a:gd name="T54" fmla="*/ 350 w 726"/>
              <a:gd name="T55" fmla="*/ 168 h 726"/>
              <a:gd name="T56" fmla="*/ 378 w 726"/>
              <a:gd name="T57" fmla="*/ 202 h 726"/>
              <a:gd name="T58" fmla="*/ 350 w 726"/>
              <a:gd name="T59" fmla="*/ 228 h 726"/>
              <a:gd name="T60" fmla="*/ 522 w 726"/>
              <a:gd name="T61" fmla="*/ 404 h 726"/>
              <a:gd name="T62" fmla="*/ 564 w 726"/>
              <a:gd name="T63" fmla="*/ 368 h 726"/>
              <a:gd name="T64" fmla="*/ 356 w 726"/>
              <a:gd name="T65" fmla="*/ 516 h 726"/>
              <a:gd name="T66" fmla="*/ 364 w 726"/>
              <a:gd name="T67" fmla="*/ 506 h 726"/>
              <a:gd name="T68" fmla="*/ 388 w 726"/>
              <a:gd name="T69" fmla="*/ 520 h 726"/>
              <a:gd name="T70" fmla="*/ 366 w 726"/>
              <a:gd name="T71" fmla="*/ 494 h 726"/>
              <a:gd name="T72" fmla="*/ 338 w 726"/>
              <a:gd name="T73" fmla="*/ 518 h 726"/>
              <a:gd name="T74" fmla="*/ 356 w 726"/>
              <a:gd name="T75" fmla="*/ 540 h 726"/>
              <a:gd name="T76" fmla="*/ 372 w 726"/>
              <a:gd name="T77" fmla="*/ 560 h 726"/>
              <a:gd name="T78" fmla="*/ 358 w 726"/>
              <a:gd name="T79" fmla="*/ 564 h 726"/>
              <a:gd name="T80" fmla="*/ 338 w 726"/>
              <a:gd name="T81" fmla="*/ 552 h 726"/>
              <a:gd name="T82" fmla="*/ 354 w 726"/>
              <a:gd name="T83" fmla="*/ 578 h 726"/>
              <a:gd name="T84" fmla="*/ 384 w 726"/>
              <a:gd name="T85" fmla="*/ 572 h 726"/>
              <a:gd name="T86" fmla="*/ 388 w 726"/>
              <a:gd name="T87" fmla="*/ 546 h 726"/>
              <a:gd name="T88" fmla="*/ 358 w 726"/>
              <a:gd name="T89" fmla="*/ 520 h 726"/>
              <a:gd name="T90" fmla="*/ 186 w 726"/>
              <a:gd name="T91" fmla="*/ 322 h 726"/>
              <a:gd name="T92" fmla="*/ 164 w 726"/>
              <a:gd name="T93" fmla="*/ 404 h 726"/>
              <a:gd name="T94" fmla="*/ 226 w 726"/>
              <a:gd name="T95" fmla="*/ 404 h 726"/>
              <a:gd name="T96" fmla="*/ 346 w 726"/>
              <a:gd name="T97" fmla="*/ 340 h 726"/>
              <a:gd name="T98" fmla="*/ 340 w 726"/>
              <a:gd name="T99" fmla="*/ 380 h 726"/>
              <a:gd name="T100" fmla="*/ 382 w 726"/>
              <a:gd name="T101" fmla="*/ 386 h 726"/>
              <a:gd name="T102" fmla="*/ 388 w 726"/>
              <a:gd name="T103" fmla="*/ 346 h 726"/>
              <a:gd name="T104" fmla="*/ 336 w 726"/>
              <a:gd name="T105" fmla="*/ 420 h 726"/>
              <a:gd name="T106" fmla="*/ 390 w 726"/>
              <a:gd name="T107" fmla="*/ 306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364" y="606"/>
                </a:moveTo>
                <a:lnTo>
                  <a:pt x="364" y="606"/>
                </a:lnTo>
                <a:lnTo>
                  <a:pt x="340" y="604"/>
                </a:lnTo>
                <a:lnTo>
                  <a:pt x="314" y="600"/>
                </a:lnTo>
                <a:lnTo>
                  <a:pt x="292" y="594"/>
                </a:lnTo>
                <a:lnTo>
                  <a:pt x="270" y="586"/>
                </a:lnTo>
                <a:lnTo>
                  <a:pt x="248" y="576"/>
                </a:lnTo>
                <a:lnTo>
                  <a:pt x="228" y="564"/>
                </a:lnTo>
                <a:lnTo>
                  <a:pt x="210" y="550"/>
                </a:lnTo>
                <a:lnTo>
                  <a:pt x="192" y="534"/>
                </a:lnTo>
                <a:lnTo>
                  <a:pt x="176" y="518"/>
                </a:lnTo>
                <a:lnTo>
                  <a:pt x="162" y="498"/>
                </a:lnTo>
                <a:lnTo>
                  <a:pt x="150" y="478"/>
                </a:lnTo>
                <a:lnTo>
                  <a:pt x="140" y="458"/>
                </a:lnTo>
                <a:lnTo>
                  <a:pt x="132" y="434"/>
                </a:lnTo>
                <a:lnTo>
                  <a:pt x="126" y="412"/>
                </a:lnTo>
                <a:lnTo>
                  <a:pt x="122" y="388"/>
                </a:lnTo>
                <a:lnTo>
                  <a:pt x="122" y="362"/>
                </a:lnTo>
                <a:lnTo>
                  <a:pt x="122" y="338"/>
                </a:lnTo>
                <a:lnTo>
                  <a:pt x="126" y="314"/>
                </a:lnTo>
                <a:lnTo>
                  <a:pt x="132" y="290"/>
                </a:lnTo>
                <a:lnTo>
                  <a:pt x="140" y="268"/>
                </a:lnTo>
                <a:lnTo>
                  <a:pt x="150" y="248"/>
                </a:lnTo>
                <a:lnTo>
                  <a:pt x="162" y="228"/>
                </a:lnTo>
                <a:lnTo>
                  <a:pt x="176" y="208"/>
                </a:lnTo>
                <a:lnTo>
                  <a:pt x="192" y="192"/>
                </a:lnTo>
                <a:lnTo>
                  <a:pt x="210" y="176"/>
                </a:lnTo>
                <a:lnTo>
                  <a:pt x="228" y="162"/>
                </a:lnTo>
                <a:lnTo>
                  <a:pt x="248" y="150"/>
                </a:lnTo>
                <a:lnTo>
                  <a:pt x="270" y="140"/>
                </a:lnTo>
                <a:lnTo>
                  <a:pt x="292" y="132"/>
                </a:lnTo>
                <a:lnTo>
                  <a:pt x="314" y="126"/>
                </a:lnTo>
                <a:lnTo>
                  <a:pt x="340" y="122"/>
                </a:lnTo>
                <a:lnTo>
                  <a:pt x="364" y="120"/>
                </a:lnTo>
                <a:lnTo>
                  <a:pt x="388" y="122"/>
                </a:lnTo>
                <a:lnTo>
                  <a:pt x="412" y="126"/>
                </a:lnTo>
                <a:lnTo>
                  <a:pt x="436" y="132"/>
                </a:lnTo>
                <a:lnTo>
                  <a:pt x="458" y="140"/>
                </a:lnTo>
                <a:lnTo>
                  <a:pt x="480" y="150"/>
                </a:lnTo>
                <a:lnTo>
                  <a:pt x="500" y="162"/>
                </a:lnTo>
                <a:lnTo>
                  <a:pt x="518" y="176"/>
                </a:lnTo>
                <a:lnTo>
                  <a:pt x="536" y="192"/>
                </a:lnTo>
                <a:lnTo>
                  <a:pt x="550" y="208"/>
                </a:lnTo>
                <a:lnTo>
                  <a:pt x="564" y="228"/>
                </a:lnTo>
                <a:lnTo>
                  <a:pt x="578" y="248"/>
                </a:lnTo>
                <a:lnTo>
                  <a:pt x="588" y="268"/>
                </a:lnTo>
                <a:lnTo>
                  <a:pt x="596" y="290"/>
                </a:lnTo>
                <a:lnTo>
                  <a:pt x="602" y="314"/>
                </a:lnTo>
                <a:lnTo>
                  <a:pt x="606" y="338"/>
                </a:lnTo>
                <a:lnTo>
                  <a:pt x="606" y="362"/>
                </a:lnTo>
                <a:lnTo>
                  <a:pt x="606" y="388"/>
                </a:lnTo>
                <a:lnTo>
                  <a:pt x="602" y="412"/>
                </a:lnTo>
                <a:lnTo>
                  <a:pt x="596" y="434"/>
                </a:lnTo>
                <a:lnTo>
                  <a:pt x="588" y="458"/>
                </a:lnTo>
                <a:lnTo>
                  <a:pt x="578" y="478"/>
                </a:lnTo>
                <a:lnTo>
                  <a:pt x="564" y="498"/>
                </a:lnTo>
                <a:lnTo>
                  <a:pt x="550" y="518"/>
                </a:lnTo>
                <a:lnTo>
                  <a:pt x="536" y="534"/>
                </a:lnTo>
                <a:lnTo>
                  <a:pt x="518" y="550"/>
                </a:lnTo>
                <a:lnTo>
                  <a:pt x="500" y="564"/>
                </a:lnTo>
                <a:lnTo>
                  <a:pt x="480" y="576"/>
                </a:lnTo>
                <a:lnTo>
                  <a:pt x="458" y="586"/>
                </a:lnTo>
                <a:lnTo>
                  <a:pt x="436" y="594"/>
                </a:lnTo>
                <a:lnTo>
                  <a:pt x="412" y="600"/>
                </a:lnTo>
                <a:lnTo>
                  <a:pt x="388" y="604"/>
                </a:lnTo>
                <a:lnTo>
                  <a:pt x="364" y="606"/>
                </a:lnTo>
                <a:close/>
                <a:moveTo>
                  <a:pt x="350" y="168"/>
                </a:moveTo>
                <a:lnTo>
                  <a:pt x="350" y="168"/>
                </a:lnTo>
                <a:lnTo>
                  <a:pt x="372" y="228"/>
                </a:lnTo>
                <a:lnTo>
                  <a:pt x="394" y="228"/>
                </a:lnTo>
                <a:lnTo>
                  <a:pt x="394" y="146"/>
                </a:lnTo>
                <a:lnTo>
                  <a:pt x="378" y="146"/>
                </a:lnTo>
                <a:lnTo>
                  <a:pt x="378" y="202"/>
                </a:lnTo>
                <a:lnTo>
                  <a:pt x="356" y="146"/>
                </a:lnTo>
                <a:lnTo>
                  <a:pt x="334" y="146"/>
                </a:lnTo>
                <a:lnTo>
                  <a:pt x="334" y="228"/>
                </a:lnTo>
                <a:lnTo>
                  <a:pt x="350" y="228"/>
                </a:lnTo>
                <a:lnTo>
                  <a:pt x="350" y="168"/>
                </a:lnTo>
                <a:close/>
                <a:moveTo>
                  <a:pt x="566" y="334"/>
                </a:moveTo>
                <a:lnTo>
                  <a:pt x="566" y="322"/>
                </a:lnTo>
                <a:lnTo>
                  <a:pt x="522" y="322"/>
                </a:lnTo>
                <a:lnTo>
                  <a:pt x="522" y="404"/>
                </a:lnTo>
                <a:lnTo>
                  <a:pt x="568" y="404"/>
                </a:lnTo>
                <a:lnTo>
                  <a:pt x="568" y="390"/>
                </a:lnTo>
                <a:lnTo>
                  <a:pt x="540" y="390"/>
                </a:lnTo>
                <a:lnTo>
                  <a:pt x="540" y="368"/>
                </a:lnTo>
                <a:lnTo>
                  <a:pt x="564" y="368"/>
                </a:lnTo>
                <a:lnTo>
                  <a:pt x="564" y="354"/>
                </a:lnTo>
                <a:lnTo>
                  <a:pt x="540" y="354"/>
                </a:lnTo>
                <a:lnTo>
                  <a:pt x="540" y="334"/>
                </a:lnTo>
                <a:lnTo>
                  <a:pt x="566" y="334"/>
                </a:lnTo>
                <a:close/>
                <a:moveTo>
                  <a:pt x="356" y="516"/>
                </a:moveTo>
                <a:lnTo>
                  <a:pt x="356" y="516"/>
                </a:lnTo>
                <a:lnTo>
                  <a:pt x="356" y="512"/>
                </a:lnTo>
                <a:lnTo>
                  <a:pt x="358" y="510"/>
                </a:lnTo>
                <a:lnTo>
                  <a:pt x="360" y="508"/>
                </a:lnTo>
                <a:lnTo>
                  <a:pt x="364" y="506"/>
                </a:lnTo>
                <a:lnTo>
                  <a:pt x="368" y="508"/>
                </a:lnTo>
                <a:lnTo>
                  <a:pt x="372" y="510"/>
                </a:lnTo>
                <a:lnTo>
                  <a:pt x="372" y="520"/>
                </a:lnTo>
                <a:lnTo>
                  <a:pt x="388" y="520"/>
                </a:lnTo>
                <a:lnTo>
                  <a:pt x="388" y="508"/>
                </a:lnTo>
                <a:lnTo>
                  <a:pt x="384" y="500"/>
                </a:lnTo>
                <a:lnTo>
                  <a:pt x="376" y="496"/>
                </a:lnTo>
                <a:lnTo>
                  <a:pt x="366" y="494"/>
                </a:lnTo>
                <a:lnTo>
                  <a:pt x="352" y="496"/>
                </a:lnTo>
                <a:lnTo>
                  <a:pt x="344" y="502"/>
                </a:lnTo>
                <a:lnTo>
                  <a:pt x="340" y="508"/>
                </a:lnTo>
                <a:lnTo>
                  <a:pt x="338" y="518"/>
                </a:lnTo>
                <a:lnTo>
                  <a:pt x="340" y="526"/>
                </a:lnTo>
                <a:lnTo>
                  <a:pt x="344" y="532"/>
                </a:lnTo>
                <a:lnTo>
                  <a:pt x="350" y="536"/>
                </a:lnTo>
                <a:lnTo>
                  <a:pt x="356" y="540"/>
                </a:lnTo>
                <a:lnTo>
                  <a:pt x="368" y="548"/>
                </a:lnTo>
                <a:lnTo>
                  <a:pt x="372" y="552"/>
                </a:lnTo>
                <a:lnTo>
                  <a:pt x="372" y="556"/>
                </a:lnTo>
                <a:lnTo>
                  <a:pt x="372" y="560"/>
                </a:lnTo>
                <a:lnTo>
                  <a:pt x="370" y="564"/>
                </a:lnTo>
                <a:lnTo>
                  <a:pt x="368" y="566"/>
                </a:lnTo>
                <a:lnTo>
                  <a:pt x="364" y="566"/>
                </a:lnTo>
                <a:lnTo>
                  <a:pt x="358" y="564"/>
                </a:lnTo>
                <a:lnTo>
                  <a:pt x="356" y="562"/>
                </a:lnTo>
                <a:lnTo>
                  <a:pt x="354" y="558"/>
                </a:lnTo>
                <a:lnTo>
                  <a:pt x="354" y="552"/>
                </a:lnTo>
                <a:lnTo>
                  <a:pt x="338" y="552"/>
                </a:lnTo>
                <a:lnTo>
                  <a:pt x="338" y="562"/>
                </a:lnTo>
                <a:lnTo>
                  <a:pt x="342" y="570"/>
                </a:lnTo>
                <a:lnTo>
                  <a:pt x="344" y="574"/>
                </a:lnTo>
                <a:lnTo>
                  <a:pt x="350" y="576"/>
                </a:lnTo>
                <a:lnTo>
                  <a:pt x="354" y="578"/>
                </a:lnTo>
                <a:lnTo>
                  <a:pt x="362" y="578"/>
                </a:lnTo>
                <a:lnTo>
                  <a:pt x="372" y="578"/>
                </a:lnTo>
                <a:lnTo>
                  <a:pt x="380" y="574"/>
                </a:lnTo>
                <a:lnTo>
                  <a:pt x="384" y="572"/>
                </a:lnTo>
                <a:lnTo>
                  <a:pt x="388" y="568"/>
                </a:lnTo>
                <a:lnTo>
                  <a:pt x="390" y="562"/>
                </a:lnTo>
                <a:lnTo>
                  <a:pt x="390" y="554"/>
                </a:lnTo>
                <a:lnTo>
                  <a:pt x="388" y="546"/>
                </a:lnTo>
                <a:lnTo>
                  <a:pt x="384" y="540"/>
                </a:lnTo>
                <a:lnTo>
                  <a:pt x="380" y="536"/>
                </a:lnTo>
                <a:lnTo>
                  <a:pt x="372" y="532"/>
                </a:lnTo>
                <a:lnTo>
                  <a:pt x="362" y="524"/>
                </a:lnTo>
                <a:lnTo>
                  <a:pt x="358" y="520"/>
                </a:lnTo>
                <a:lnTo>
                  <a:pt x="356" y="516"/>
                </a:lnTo>
                <a:close/>
                <a:moveTo>
                  <a:pt x="218" y="380"/>
                </a:moveTo>
                <a:lnTo>
                  <a:pt x="218" y="380"/>
                </a:lnTo>
                <a:lnTo>
                  <a:pt x="206" y="322"/>
                </a:lnTo>
                <a:lnTo>
                  <a:pt x="186" y="322"/>
                </a:lnTo>
                <a:lnTo>
                  <a:pt x="174" y="380"/>
                </a:lnTo>
                <a:lnTo>
                  <a:pt x="162" y="322"/>
                </a:lnTo>
                <a:lnTo>
                  <a:pt x="146" y="322"/>
                </a:lnTo>
                <a:lnTo>
                  <a:pt x="164" y="404"/>
                </a:lnTo>
                <a:lnTo>
                  <a:pt x="182" y="404"/>
                </a:lnTo>
                <a:lnTo>
                  <a:pt x="196" y="344"/>
                </a:lnTo>
                <a:lnTo>
                  <a:pt x="208" y="404"/>
                </a:lnTo>
                <a:lnTo>
                  <a:pt x="226" y="404"/>
                </a:lnTo>
                <a:lnTo>
                  <a:pt x="244" y="322"/>
                </a:lnTo>
                <a:lnTo>
                  <a:pt x="228" y="322"/>
                </a:lnTo>
                <a:lnTo>
                  <a:pt x="218" y="380"/>
                </a:lnTo>
                <a:close/>
                <a:moveTo>
                  <a:pt x="346" y="340"/>
                </a:moveTo>
                <a:lnTo>
                  <a:pt x="346" y="340"/>
                </a:lnTo>
                <a:lnTo>
                  <a:pt x="338" y="348"/>
                </a:lnTo>
                <a:lnTo>
                  <a:pt x="336" y="358"/>
                </a:lnTo>
                <a:lnTo>
                  <a:pt x="336" y="370"/>
                </a:lnTo>
                <a:lnTo>
                  <a:pt x="340" y="380"/>
                </a:lnTo>
                <a:lnTo>
                  <a:pt x="350" y="388"/>
                </a:lnTo>
                <a:lnTo>
                  <a:pt x="360" y="392"/>
                </a:lnTo>
                <a:lnTo>
                  <a:pt x="370" y="392"/>
                </a:lnTo>
                <a:lnTo>
                  <a:pt x="382" y="386"/>
                </a:lnTo>
                <a:lnTo>
                  <a:pt x="388" y="378"/>
                </a:lnTo>
                <a:lnTo>
                  <a:pt x="392" y="368"/>
                </a:lnTo>
                <a:lnTo>
                  <a:pt x="392" y="356"/>
                </a:lnTo>
                <a:lnTo>
                  <a:pt x="388" y="346"/>
                </a:lnTo>
                <a:lnTo>
                  <a:pt x="378" y="338"/>
                </a:lnTo>
                <a:lnTo>
                  <a:pt x="368" y="334"/>
                </a:lnTo>
                <a:lnTo>
                  <a:pt x="356" y="334"/>
                </a:lnTo>
                <a:lnTo>
                  <a:pt x="346" y="340"/>
                </a:lnTo>
                <a:close/>
                <a:moveTo>
                  <a:pt x="336" y="420"/>
                </a:moveTo>
                <a:lnTo>
                  <a:pt x="304" y="390"/>
                </a:lnTo>
                <a:lnTo>
                  <a:pt x="286" y="528"/>
                </a:lnTo>
                <a:lnTo>
                  <a:pt x="380" y="426"/>
                </a:lnTo>
                <a:lnTo>
                  <a:pt x="336" y="420"/>
                </a:lnTo>
                <a:close/>
                <a:moveTo>
                  <a:pt x="390" y="306"/>
                </a:moveTo>
                <a:lnTo>
                  <a:pt x="424" y="336"/>
                </a:lnTo>
                <a:lnTo>
                  <a:pt x="442" y="198"/>
                </a:lnTo>
                <a:lnTo>
                  <a:pt x="348" y="300"/>
                </a:lnTo>
                <a:lnTo>
                  <a:pt x="390" y="3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Freeform 28">
            <a:extLst>
              <a:ext uri="{FF2B5EF4-FFF2-40B4-BE49-F238E27FC236}">
                <a16:creationId xmlns:a16="http://schemas.microsoft.com/office/drawing/2014/main" id="{73C717DF-EC53-45D8-A2BC-51DEEED0E8A4}"/>
              </a:ext>
            </a:extLst>
          </p:cNvPr>
          <p:cNvSpPr>
            <a:spLocks noEditPoints="1"/>
          </p:cNvSpPr>
          <p:nvPr userDrawn="1"/>
        </p:nvSpPr>
        <p:spPr bwMode="auto">
          <a:xfrm>
            <a:off x="1758737" y="2536609"/>
            <a:ext cx="1080000" cy="1080000"/>
          </a:xfrm>
          <a:custGeom>
            <a:avLst/>
            <a:gdLst>
              <a:gd name="T0" fmla="*/ 647 w 1440"/>
              <a:gd name="T1" fmla="*/ 3 h 1442"/>
              <a:gd name="T2" fmla="*/ 507 w 1440"/>
              <a:gd name="T3" fmla="*/ 31 h 1442"/>
              <a:gd name="T4" fmla="*/ 376 w 1440"/>
              <a:gd name="T5" fmla="*/ 86 h 1442"/>
              <a:gd name="T6" fmla="*/ 262 w 1440"/>
              <a:gd name="T7" fmla="*/ 165 h 1442"/>
              <a:gd name="T8" fmla="*/ 165 w 1440"/>
              <a:gd name="T9" fmla="*/ 261 h 1442"/>
              <a:gd name="T10" fmla="*/ 86 w 1440"/>
              <a:gd name="T11" fmla="*/ 377 h 1442"/>
              <a:gd name="T12" fmla="*/ 33 w 1440"/>
              <a:gd name="T13" fmla="*/ 506 h 1442"/>
              <a:gd name="T14" fmla="*/ 3 w 1440"/>
              <a:gd name="T15" fmla="*/ 646 h 1442"/>
              <a:gd name="T16" fmla="*/ 2 w 1440"/>
              <a:gd name="T17" fmla="*/ 757 h 1442"/>
              <a:gd name="T18" fmla="*/ 23 w 1440"/>
              <a:gd name="T19" fmla="*/ 900 h 1442"/>
              <a:gd name="T20" fmla="*/ 72 w 1440"/>
              <a:gd name="T21" fmla="*/ 1033 h 1442"/>
              <a:gd name="T22" fmla="*/ 143 w 1440"/>
              <a:gd name="T23" fmla="*/ 1152 h 1442"/>
              <a:gd name="T24" fmla="*/ 236 w 1440"/>
              <a:gd name="T25" fmla="*/ 1254 h 1442"/>
              <a:gd name="T26" fmla="*/ 347 w 1440"/>
              <a:gd name="T27" fmla="*/ 1338 h 1442"/>
              <a:gd name="T28" fmla="*/ 472 w 1440"/>
              <a:gd name="T29" fmla="*/ 1398 h 1442"/>
              <a:gd name="T30" fmla="*/ 611 w 1440"/>
              <a:gd name="T31" fmla="*/ 1434 h 1442"/>
              <a:gd name="T32" fmla="*/ 720 w 1440"/>
              <a:gd name="T33" fmla="*/ 1442 h 1442"/>
              <a:gd name="T34" fmla="*/ 865 w 1440"/>
              <a:gd name="T35" fmla="*/ 1427 h 1442"/>
              <a:gd name="T36" fmla="*/ 1000 w 1440"/>
              <a:gd name="T37" fmla="*/ 1385 h 1442"/>
              <a:gd name="T38" fmla="*/ 1122 w 1440"/>
              <a:gd name="T39" fmla="*/ 1318 h 1442"/>
              <a:gd name="T40" fmla="*/ 1230 w 1440"/>
              <a:gd name="T41" fmla="*/ 1230 h 1442"/>
              <a:gd name="T42" fmla="*/ 1318 w 1440"/>
              <a:gd name="T43" fmla="*/ 1124 h 1442"/>
              <a:gd name="T44" fmla="*/ 1383 w 1440"/>
              <a:gd name="T45" fmla="*/ 1002 h 1442"/>
              <a:gd name="T46" fmla="*/ 1425 w 1440"/>
              <a:gd name="T47" fmla="*/ 866 h 1442"/>
              <a:gd name="T48" fmla="*/ 1440 w 1440"/>
              <a:gd name="T49" fmla="*/ 721 h 1442"/>
              <a:gd name="T50" fmla="*/ 1432 w 1440"/>
              <a:gd name="T51" fmla="*/ 610 h 1442"/>
              <a:gd name="T52" fmla="*/ 1396 w 1440"/>
              <a:gd name="T53" fmla="*/ 473 h 1442"/>
              <a:gd name="T54" fmla="*/ 1336 w 1440"/>
              <a:gd name="T55" fmla="*/ 346 h 1442"/>
              <a:gd name="T56" fmla="*/ 1253 w 1440"/>
              <a:gd name="T57" fmla="*/ 235 h 1442"/>
              <a:gd name="T58" fmla="*/ 1150 w 1440"/>
              <a:gd name="T59" fmla="*/ 142 h 1442"/>
              <a:gd name="T60" fmla="*/ 1033 w 1440"/>
              <a:gd name="T61" fmla="*/ 70 h 1442"/>
              <a:gd name="T62" fmla="*/ 899 w 1440"/>
              <a:gd name="T63" fmla="*/ 21 h 1442"/>
              <a:gd name="T64" fmla="*/ 757 w 1440"/>
              <a:gd name="T65" fmla="*/ 0 h 1442"/>
              <a:gd name="T66" fmla="*/ 746 w 1440"/>
              <a:gd name="T67" fmla="*/ 525 h 1442"/>
              <a:gd name="T68" fmla="*/ 712 w 1440"/>
              <a:gd name="T69" fmla="*/ 543 h 1442"/>
              <a:gd name="T70" fmla="*/ 702 w 1440"/>
              <a:gd name="T71" fmla="*/ 587 h 1442"/>
              <a:gd name="T72" fmla="*/ 702 w 1440"/>
              <a:gd name="T73" fmla="*/ 739 h 1442"/>
              <a:gd name="T74" fmla="*/ 549 w 1440"/>
              <a:gd name="T75" fmla="*/ 1000 h 1442"/>
              <a:gd name="T76" fmla="*/ 547 w 1440"/>
              <a:gd name="T77" fmla="*/ 739 h 1442"/>
              <a:gd name="T78" fmla="*/ 593 w 1440"/>
              <a:gd name="T79" fmla="*/ 592 h 1442"/>
              <a:gd name="T80" fmla="*/ 601 w 1440"/>
              <a:gd name="T81" fmla="*/ 529 h 1442"/>
              <a:gd name="T82" fmla="*/ 627 w 1440"/>
              <a:gd name="T83" fmla="*/ 483 h 1442"/>
              <a:gd name="T84" fmla="*/ 673 w 1440"/>
              <a:gd name="T85" fmla="*/ 455 h 1442"/>
              <a:gd name="T86" fmla="*/ 736 w 1440"/>
              <a:gd name="T87" fmla="*/ 445 h 1442"/>
              <a:gd name="T88" fmla="*/ 787 w 1440"/>
              <a:gd name="T89" fmla="*/ 452 h 1442"/>
              <a:gd name="T90" fmla="*/ 837 w 1440"/>
              <a:gd name="T91" fmla="*/ 475 h 1442"/>
              <a:gd name="T92" fmla="*/ 867 w 1440"/>
              <a:gd name="T93" fmla="*/ 514 h 1442"/>
              <a:gd name="T94" fmla="*/ 878 w 1440"/>
              <a:gd name="T95" fmla="*/ 571 h 1442"/>
              <a:gd name="T96" fmla="*/ 787 w 1440"/>
              <a:gd name="T97" fmla="*/ 576 h 1442"/>
              <a:gd name="T98" fmla="*/ 772 w 1440"/>
              <a:gd name="T99" fmla="*/ 538 h 1442"/>
              <a:gd name="T100" fmla="*/ 746 w 1440"/>
              <a:gd name="T101" fmla="*/ 525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0" h="1442">
                <a:moveTo>
                  <a:pt x="720" y="0"/>
                </a:moveTo>
                <a:lnTo>
                  <a:pt x="720" y="0"/>
                </a:lnTo>
                <a:lnTo>
                  <a:pt x="683" y="0"/>
                </a:lnTo>
                <a:lnTo>
                  <a:pt x="647" y="3"/>
                </a:lnTo>
                <a:lnTo>
                  <a:pt x="611" y="8"/>
                </a:lnTo>
                <a:lnTo>
                  <a:pt x="575" y="15"/>
                </a:lnTo>
                <a:lnTo>
                  <a:pt x="541" y="21"/>
                </a:lnTo>
                <a:lnTo>
                  <a:pt x="507" y="31"/>
                </a:lnTo>
                <a:lnTo>
                  <a:pt x="472" y="42"/>
                </a:lnTo>
                <a:lnTo>
                  <a:pt x="440" y="55"/>
                </a:lnTo>
                <a:lnTo>
                  <a:pt x="407" y="70"/>
                </a:lnTo>
                <a:lnTo>
                  <a:pt x="376" y="86"/>
                </a:lnTo>
                <a:lnTo>
                  <a:pt x="347" y="104"/>
                </a:lnTo>
                <a:lnTo>
                  <a:pt x="318" y="122"/>
                </a:lnTo>
                <a:lnTo>
                  <a:pt x="290" y="142"/>
                </a:lnTo>
                <a:lnTo>
                  <a:pt x="262" y="165"/>
                </a:lnTo>
                <a:lnTo>
                  <a:pt x="236" y="186"/>
                </a:lnTo>
                <a:lnTo>
                  <a:pt x="210" y="210"/>
                </a:lnTo>
                <a:lnTo>
                  <a:pt x="187" y="235"/>
                </a:lnTo>
                <a:lnTo>
                  <a:pt x="165" y="261"/>
                </a:lnTo>
                <a:lnTo>
                  <a:pt x="143"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3" y="1152"/>
                </a:lnTo>
                <a:lnTo>
                  <a:pt x="165" y="1179"/>
                </a:lnTo>
                <a:lnTo>
                  <a:pt x="187" y="1205"/>
                </a:lnTo>
                <a:lnTo>
                  <a:pt x="210" y="1230"/>
                </a:lnTo>
                <a:lnTo>
                  <a:pt x="236" y="1254"/>
                </a:lnTo>
                <a:lnTo>
                  <a:pt x="262" y="1277"/>
                </a:lnTo>
                <a:lnTo>
                  <a:pt x="290" y="1298"/>
                </a:lnTo>
                <a:lnTo>
                  <a:pt x="318" y="1318"/>
                </a:lnTo>
                <a:lnTo>
                  <a:pt x="347" y="1338"/>
                </a:lnTo>
                <a:lnTo>
                  <a:pt x="376" y="1354"/>
                </a:lnTo>
                <a:lnTo>
                  <a:pt x="407" y="1370"/>
                </a:lnTo>
                <a:lnTo>
                  <a:pt x="440" y="1385"/>
                </a:lnTo>
                <a:lnTo>
                  <a:pt x="472" y="1398"/>
                </a:lnTo>
                <a:lnTo>
                  <a:pt x="507" y="1409"/>
                </a:lnTo>
                <a:lnTo>
                  <a:pt x="541" y="1419"/>
                </a:lnTo>
                <a:lnTo>
                  <a:pt x="575" y="1427"/>
                </a:lnTo>
                <a:lnTo>
                  <a:pt x="611" y="1434"/>
                </a:lnTo>
                <a:lnTo>
                  <a:pt x="647" y="1437"/>
                </a:lnTo>
                <a:lnTo>
                  <a:pt x="683" y="1440"/>
                </a:lnTo>
                <a:lnTo>
                  <a:pt x="720" y="1442"/>
                </a:lnTo>
                <a:lnTo>
                  <a:pt x="720" y="1442"/>
                </a:lnTo>
                <a:lnTo>
                  <a:pt x="757" y="1440"/>
                </a:lnTo>
                <a:lnTo>
                  <a:pt x="793" y="1437"/>
                </a:lnTo>
                <a:lnTo>
                  <a:pt x="829" y="1434"/>
                </a:lnTo>
                <a:lnTo>
                  <a:pt x="865" y="1427"/>
                </a:lnTo>
                <a:lnTo>
                  <a:pt x="899" y="1419"/>
                </a:lnTo>
                <a:lnTo>
                  <a:pt x="933" y="1409"/>
                </a:lnTo>
                <a:lnTo>
                  <a:pt x="968" y="1398"/>
                </a:lnTo>
                <a:lnTo>
                  <a:pt x="1000" y="1385"/>
                </a:lnTo>
                <a:lnTo>
                  <a:pt x="1033" y="1370"/>
                </a:lnTo>
                <a:lnTo>
                  <a:pt x="1064" y="1354"/>
                </a:lnTo>
                <a:lnTo>
                  <a:pt x="1093" y="1338"/>
                </a:lnTo>
                <a:lnTo>
                  <a:pt x="1122" y="1318"/>
                </a:lnTo>
                <a:lnTo>
                  <a:pt x="1150" y="1298"/>
                </a:lnTo>
                <a:lnTo>
                  <a:pt x="1178" y="1277"/>
                </a:lnTo>
                <a:lnTo>
                  <a:pt x="1204" y="1254"/>
                </a:lnTo>
                <a:lnTo>
                  <a:pt x="1230" y="1230"/>
                </a:lnTo>
                <a:lnTo>
                  <a:pt x="1253" y="1205"/>
                </a:lnTo>
                <a:lnTo>
                  <a:pt x="1275" y="1179"/>
                </a:lnTo>
                <a:lnTo>
                  <a:pt x="1297" y="1152"/>
                </a:lnTo>
                <a:lnTo>
                  <a:pt x="1318" y="1124"/>
                </a:lnTo>
                <a:lnTo>
                  <a:pt x="1336" y="1095"/>
                </a:lnTo>
                <a:lnTo>
                  <a:pt x="1354" y="1064"/>
                </a:lnTo>
                <a:lnTo>
                  <a:pt x="1368" y="1033"/>
                </a:lnTo>
                <a:lnTo>
                  <a:pt x="1383" y="1002"/>
                </a:lnTo>
                <a:lnTo>
                  <a:pt x="1396" y="969"/>
                </a:lnTo>
                <a:lnTo>
                  <a:pt x="1407" y="935"/>
                </a:lnTo>
                <a:lnTo>
                  <a:pt x="1417" y="900"/>
                </a:lnTo>
                <a:lnTo>
                  <a:pt x="1425" y="866"/>
                </a:lnTo>
                <a:lnTo>
                  <a:pt x="1432" y="830"/>
                </a:lnTo>
                <a:lnTo>
                  <a:pt x="1437" y="794"/>
                </a:lnTo>
                <a:lnTo>
                  <a:pt x="1438" y="757"/>
                </a:lnTo>
                <a:lnTo>
                  <a:pt x="1440" y="721"/>
                </a:lnTo>
                <a:lnTo>
                  <a:pt x="1440" y="721"/>
                </a:lnTo>
                <a:lnTo>
                  <a:pt x="1438" y="683"/>
                </a:lnTo>
                <a:lnTo>
                  <a:pt x="1437" y="646"/>
                </a:lnTo>
                <a:lnTo>
                  <a:pt x="1432" y="610"/>
                </a:lnTo>
                <a:lnTo>
                  <a:pt x="1425" y="576"/>
                </a:lnTo>
                <a:lnTo>
                  <a:pt x="1417" y="540"/>
                </a:lnTo>
                <a:lnTo>
                  <a:pt x="1407" y="506"/>
                </a:lnTo>
                <a:lnTo>
                  <a:pt x="1396" y="473"/>
                </a:lnTo>
                <a:lnTo>
                  <a:pt x="1383" y="440"/>
                </a:lnTo>
                <a:lnTo>
                  <a:pt x="1368" y="408"/>
                </a:lnTo>
                <a:lnTo>
                  <a:pt x="1354" y="377"/>
                </a:lnTo>
                <a:lnTo>
                  <a:pt x="1336" y="346"/>
                </a:lnTo>
                <a:lnTo>
                  <a:pt x="1318" y="316"/>
                </a:lnTo>
                <a:lnTo>
                  <a:pt x="1297" y="289"/>
                </a:lnTo>
                <a:lnTo>
                  <a:pt x="1275" y="261"/>
                </a:lnTo>
                <a:lnTo>
                  <a:pt x="1253" y="235"/>
                </a:lnTo>
                <a:lnTo>
                  <a:pt x="1230" y="210"/>
                </a:lnTo>
                <a:lnTo>
                  <a:pt x="1204" y="186"/>
                </a:lnTo>
                <a:lnTo>
                  <a:pt x="1178" y="165"/>
                </a:lnTo>
                <a:lnTo>
                  <a:pt x="1150" y="142"/>
                </a:lnTo>
                <a:lnTo>
                  <a:pt x="1122" y="122"/>
                </a:lnTo>
                <a:lnTo>
                  <a:pt x="1093" y="104"/>
                </a:lnTo>
                <a:lnTo>
                  <a:pt x="1064" y="86"/>
                </a:lnTo>
                <a:lnTo>
                  <a:pt x="1033" y="70"/>
                </a:lnTo>
                <a:lnTo>
                  <a:pt x="1000" y="55"/>
                </a:lnTo>
                <a:lnTo>
                  <a:pt x="968" y="42"/>
                </a:lnTo>
                <a:lnTo>
                  <a:pt x="933" y="31"/>
                </a:lnTo>
                <a:lnTo>
                  <a:pt x="899" y="21"/>
                </a:lnTo>
                <a:lnTo>
                  <a:pt x="865" y="15"/>
                </a:lnTo>
                <a:lnTo>
                  <a:pt x="829" y="8"/>
                </a:lnTo>
                <a:lnTo>
                  <a:pt x="793" y="3"/>
                </a:lnTo>
                <a:lnTo>
                  <a:pt x="757" y="0"/>
                </a:lnTo>
                <a:lnTo>
                  <a:pt x="720" y="0"/>
                </a:lnTo>
                <a:lnTo>
                  <a:pt x="720" y="0"/>
                </a:lnTo>
                <a:close/>
                <a:moveTo>
                  <a:pt x="746" y="525"/>
                </a:moveTo>
                <a:lnTo>
                  <a:pt x="746" y="525"/>
                </a:lnTo>
                <a:lnTo>
                  <a:pt x="735" y="527"/>
                </a:lnTo>
                <a:lnTo>
                  <a:pt x="727" y="530"/>
                </a:lnTo>
                <a:lnTo>
                  <a:pt x="718" y="537"/>
                </a:lnTo>
                <a:lnTo>
                  <a:pt x="712" y="543"/>
                </a:lnTo>
                <a:lnTo>
                  <a:pt x="709" y="553"/>
                </a:lnTo>
                <a:lnTo>
                  <a:pt x="705" y="563"/>
                </a:lnTo>
                <a:lnTo>
                  <a:pt x="704" y="574"/>
                </a:lnTo>
                <a:lnTo>
                  <a:pt x="702" y="587"/>
                </a:lnTo>
                <a:lnTo>
                  <a:pt x="702" y="661"/>
                </a:lnTo>
                <a:lnTo>
                  <a:pt x="797" y="661"/>
                </a:lnTo>
                <a:lnTo>
                  <a:pt x="797" y="739"/>
                </a:lnTo>
                <a:lnTo>
                  <a:pt x="702" y="739"/>
                </a:lnTo>
                <a:lnTo>
                  <a:pt x="702" y="920"/>
                </a:lnTo>
                <a:lnTo>
                  <a:pt x="875" y="920"/>
                </a:lnTo>
                <a:lnTo>
                  <a:pt x="875" y="1000"/>
                </a:lnTo>
                <a:lnTo>
                  <a:pt x="549" y="1000"/>
                </a:lnTo>
                <a:lnTo>
                  <a:pt x="549" y="920"/>
                </a:lnTo>
                <a:lnTo>
                  <a:pt x="593" y="920"/>
                </a:lnTo>
                <a:lnTo>
                  <a:pt x="593" y="739"/>
                </a:lnTo>
                <a:lnTo>
                  <a:pt x="547" y="739"/>
                </a:lnTo>
                <a:lnTo>
                  <a:pt x="547" y="661"/>
                </a:lnTo>
                <a:lnTo>
                  <a:pt x="593" y="661"/>
                </a:lnTo>
                <a:lnTo>
                  <a:pt x="593" y="592"/>
                </a:lnTo>
                <a:lnTo>
                  <a:pt x="593" y="592"/>
                </a:lnTo>
                <a:lnTo>
                  <a:pt x="593" y="574"/>
                </a:lnTo>
                <a:lnTo>
                  <a:pt x="595" y="558"/>
                </a:lnTo>
                <a:lnTo>
                  <a:pt x="598" y="543"/>
                </a:lnTo>
                <a:lnTo>
                  <a:pt x="601" y="529"/>
                </a:lnTo>
                <a:lnTo>
                  <a:pt x="606" y="515"/>
                </a:lnTo>
                <a:lnTo>
                  <a:pt x="612" y="504"/>
                </a:lnTo>
                <a:lnTo>
                  <a:pt x="619" y="493"/>
                </a:lnTo>
                <a:lnTo>
                  <a:pt x="627" y="483"/>
                </a:lnTo>
                <a:lnTo>
                  <a:pt x="637" y="475"/>
                </a:lnTo>
                <a:lnTo>
                  <a:pt x="647" y="467"/>
                </a:lnTo>
                <a:lnTo>
                  <a:pt x="660" y="460"/>
                </a:lnTo>
                <a:lnTo>
                  <a:pt x="673" y="455"/>
                </a:lnTo>
                <a:lnTo>
                  <a:pt x="686" y="452"/>
                </a:lnTo>
                <a:lnTo>
                  <a:pt x="702" y="449"/>
                </a:lnTo>
                <a:lnTo>
                  <a:pt x="718" y="447"/>
                </a:lnTo>
                <a:lnTo>
                  <a:pt x="736" y="445"/>
                </a:lnTo>
                <a:lnTo>
                  <a:pt x="736" y="445"/>
                </a:lnTo>
                <a:lnTo>
                  <a:pt x="754" y="447"/>
                </a:lnTo>
                <a:lnTo>
                  <a:pt x="772" y="449"/>
                </a:lnTo>
                <a:lnTo>
                  <a:pt x="787" y="452"/>
                </a:lnTo>
                <a:lnTo>
                  <a:pt x="801" y="455"/>
                </a:lnTo>
                <a:lnTo>
                  <a:pt x="814" y="460"/>
                </a:lnTo>
                <a:lnTo>
                  <a:pt x="828" y="467"/>
                </a:lnTo>
                <a:lnTo>
                  <a:pt x="837" y="475"/>
                </a:lnTo>
                <a:lnTo>
                  <a:pt x="847" y="483"/>
                </a:lnTo>
                <a:lnTo>
                  <a:pt x="855" y="491"/>
                </a:lnTo>
                <a:lnTo>
                  <a:pt x="862" y="502"/>
                </a:lnTo>
                <a:lnTo>
                  <a:pt x="867" y="514"/>
                </a:lnTo>
                <a:lnTo>
                  <a:pt x="871" y="527"/>
                </a:lnTo>
                <a:lnTo>
                  <a:pt x="875" y="540"/>
                </a:lnTo>
                <a:lnTo>
                  <a:pt x="876" y="555"/>
                </a:lnTo>
                <a:lnTo>
                  <a:pt x="878" y="571"/>
                </a:lnTo>
                <a:lnTo>
                  <a:pt x="878" y="587"/>
                </a:lnTo>
                <a:lnTo>
                  <a:pt x="787" y="587"/>
                </a:lnTo>
                <a:lnTo>
                  <a:pt x="787" y="587"/>
                </a:lnTo>
                <a:lnTo>
                  <a:pt x="787" y="576"/>
                </a:lnTo>
                <a:lnTo>
                  <a:pt x="785" y="566"/>
                </a:lnTo>
                <a:lnTo>
                  <a:pt x="782" y="555"/>
                </a:lnTo>
                <a:lnTo>
                  <a:pt x="779" y="546"/>
                </a:lnTo>
                <a:lnTo>
                  <a:pt x="772" y="538"/>
                </a:lnTo>
                <a:lnTo>
                  <a:pt x="766" y="532"/>
                </a:lnTo>
                <a:lnTo>
                  <a:pt x="756" y="527"/>
                </a:lnTo>
                <a:lnTo>
                  <a:pt x="746" y="525"/>
                </a:lnTo>
                <a:lnTo>
                  <a:pt x="746" y="525"/>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36" name="TextBox 11"/>
          <p:cNvSpPr txBox="1">
            <a:spLocks noChangeArrowheads="1"/>
          </p:cNvSpPr>
          <p:nvPr userDrawn="1"/>
        </p:nvSpPr>
        <p:spPr bwMode="auto">
          <a:xfrm>
            <a:off x="291313" y="2180215"/>
            <a:ext cx="108113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pcorn</a:t>
            </a:r>
          </a:p>
        </p:txBody>
      </p:sp>
      <p:sp>
        <p:nvSpPr>
          <p:cNvPr id="37" name="TextBox 11"/>
          <p:cNvSpPr txBox="1">
            <a:spLocks noChangeArrowheads="1"/>
          </p:cNvSpPr>
          <p:nvPr userDrawn="1"/>
        </p:nvSpPr>
        <p:spPr bwMode="auto">
          <a:xfrm>
            <a:off x="1760995" y="2183544"/>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ft drink</a:t>
            </a:r>
          </a:p>
        </p:txBody>
      </p:sp>
      <p:sp>
        <p:nvSpPr>
          <p:cNvPr id="38" name="TextBox 11"/>
          <p:cNvSpPr txBox="1">
            <a:spLocks noChangeArrowheads="1"/>
          </p:cNvSpPr>
          <p:nvPr userDrawn="1"/>
        </p:nvSpPr>
        <p:spPr bwMode="auto">
          <a:xfrm>
            <a:off x="3244121" y="2186719"/>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Hot</a:t>
            </a:r>
            <a:r>
              <a:rPr lang="en-GB" altLang="en-US" sz="900" baseline="0">
                <a:solidFill>
                  <a:schemeClr val="bg1"/>
                </a:solidFill>
              </a:rPr>
              <a:t> drink</a:t>
            </a:r>
            <a:endParaRPr lang="en-GB" altLang="en-US" sz="900" dirty="0">
              <a:solidFill>
                <a:schemeClr val="bg1"/>
              </a:solidFill>
            </a:endParaRPr>
          </a:p>
        </p:txBody>
      </p:sp>
      <p:sp>
        <p:nvSpPr>
          <p:cNvPr id="39" name="TextBox 11"/>
          <p:cNvSpPr txBox="1">
            <a:spLocks noChangeArrowheads="1"/>
          </p:cNvSpPr>
          <p:nvPr userDrawn="1"/>
        </p:nvSpPr>
        <p:spPr bwMode="auto">
          <a:xfrm>
            <a:off x="6194180" y="2185837"/>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a:t>
            </a:r>
          </a:p>
        </p:txBody>
      </p:sp>
      <p:sp>
        <p:nvSpPr>
          <p:cNvPr id="40" name="TextBox 11"/>
          <p:cNvSpPr txBox="1">
            <a:spLocks noChangeArrowheads="1"/>
          </p:cNvSpPr>
          <p:nvPr userDrawn="1"/>
        </p:nvSpPr>
        <p:spPr bwMode="auto">
          <a:xfrm>
            <a:off x="4712002" y="2186719"/>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ne</a:t>
            </a:r>
          </a:p>
        </p:txBody>
      </p:sp>
      <p:sp>
        <p:nvSpPr>
          <p:cNvPr id="41" name="TextBox 11"/>
          <p:cNvSpPr txBox="1">
            <a:spLocks noChangeArrowheads="1"/>
          </p:cNvSpPr>
          <p:nvPr userDrawn="1"/>
        </p:nvSpPr>
        <p:spPr bwMode="auto">
          <a:xfrm>
            <a:off x="7664938" y="2184002"/>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t out</a:t>
            </a:r>
          </a:p>
        </p:txBody>
      </p:sp>
      <p:sp>
        <p:nvSpPr>
          <p:cNvPr id="42" name="TextBox 11"/>
          <p:cNvSpPr txBox="1">
            <a:spLocks noChangeArrowheads="1"/>
          </p:cNvSpPr>
          <p:nvPr userDrawn="1"/>
        </p:nvSpPr>
        <p:spPr bwMode="auto">
          <a:xfrm>
            <a:off x="9137699" y="2183848"/>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akeaway</a:t>
            </a:r>
          </a:p>
        </p:txBody>
      </p:sp>
      <p:sp>
        <p:nvSpPr>
          <p:cNvPr id="43" name="TextBox 11"/>
          <p:cNvSpPr txBox="1">
            <a:spLocks noChangeArrowheads="1"/>
          </p:cNvSpPr>
          <p:nvPr userDrawn="1"/>
        </p:nvSpPr>
        <p:spPr bwMode="auto">
          <a:xfrm>
            <a:off x="10611760" y="2185801"/>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use</a:t>
            </a:r>
          </a:p>
        </p:txBody>
      </p:sp>
      <p:sp>
        <p:nvSpPr>
          <p:cNvPr id="44" name="TextBox 11"/>
          <p:cNvSpPr txBox="1">
            <a:spLocks noChangeArrowheads="1"/>
          </p:cNvSpPr>
          <p:nvPr userDrawn="1"/>
        </p:nvSpPr>
        <p:spPr bwMode="auto">
          <a:xfrm>
            <a:off x="12099030" y="2184556"/>
            <a:ext cx="10764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hopping</a:t>
            </a:r>
          </a:p>
        </p:txBody>
      </p:sp>
      <p:sp>
        <p:nvSpPr>
          <p:cNvPr id="45" name="TextBox 11"/>
          <p:cNvSpPr txBox="1">
            <a:spLocks noChangeArrowheads="1"/>
          </p:cNvSpPr>
          <p:nvPr userDrawn="1"/>
        </p:nvSpPr>
        <p:spPr bwMode="auto">
          <a:xfrm>
            <a:off x="286095" y="3631268"/>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rocery shopping</a:t>
            </a:r>
          </a:p>
        </p:txBody>
      </p:sp>
      <p:sp>
        <p:nvSpPr>
          <p:cNvPr id="46" name="TextBox 11"/>
          <p:cNvSpPr txBox="1">
            <a:spLocks noChangeArrowheads="1"/>
          </p:cNvSpPr>
          <p:nvPr userDrawn="1"/>
        </p:nvSpPr>
        <p:spPr bwMode="auto">
          <a:xfrm>
            <a:off x="1756880" y="3631991"/>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oney</a:t>
            </a:r>
          </a:p>
        </p:txBody>
      </p:sp>
      <p:sp>
        <p:nvSpPr>
          <p:cNvPr id="47" name="TextBox 11"/>
          <p:cNvSpPr txBox="1">
            <a:spLocks noChangeArrowheads="1"/>
          </p:cNvSpPr>
          <p:nvPr userDrawn="1"/>
        </p:nvSpPr>
        <p:spPr bwMode="auto">
          <a:xfrm>
            <a:off x="6190854" y="3632567"/>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ction</a:t>
            </a:r>
          </a:p>
        </p:txBody>
      </p:sp>
      <p:sp>
        <p:nvSpPr>
          <p:cNvPr id="48" name="TextBox 11"/>
          <p:cNvSpPr txBox="1">
            <a:spLocks noChangeArrowheads="1"/>
          </p:cNvSpPr>
          <p:nvPr userDrawn="1"/>
        </p:nvSpPr>
        <p:spPr bwMode="auto">
          <a:xfrm>
            <a:off x="4704835" y="3631701"/>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ar</a:t>
            </a:r>
          </a:p>
        </p:txBody>
      </p:sp>
      <p:sp>
        <p:nvSpPr>
          <p:cNvPr id="49" name="TextBox 11"/>
          <p:cNvSpPr txBox="1">
            <a:spLocks noChangeArrowheads="1"/>
          </p:cNvSpPr>
          <p:nvPr userDrawn="1"/>
        </p:nvSpPr>
        <p:spPr bwMode="auto">
          <a:xfrm>
            <a:off x="7665836" y="3629392"/>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rror</a:t>
            </a:r>
          </a:p>
        </p:txBody>
      </p:sp>
      <p:sp>
        <p:nvSpPr>
          <p:cNvPr id="50" name="TextBox 11"/>
          <p:cNvSpPr txBox="1">
            <a:spLocks noChangeArrowheads="1"/>
          </p:cNvSpPr>
          <p:nvPr userDrawn="1"/>
        </p:nvSpPr>
        <p:spPr bwMode="auto">
          <a:xfrm>
            <a:off x="9138561" y="3629392"/>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hriller</a:t>
            </a:r>
          </a:p>
        </p:txBody>
      </p:sp>
      <p:sp>
        <p:nvSpPr>
          <p:cNvPr id="51" name="TextBox 11"/>
          <p:cNvSpPr txBox="1">
            <a:spLocks noChangeArrowheads="1"/>
          </p:cNvSpPr>
          <p:nvPr userDrawn="1"/>
        </p:nvSpPr>
        <p:spPr bwMode="auto">
          <a:xfrm>
            <a:off x="10608616" y="3629392"/>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nture</a:t>
            </a:r>
          </a:p>
        </p:txBody>
      </p:sp>
      <p:sp>
        <p:nvSpPr>
          <p:cNvPr id="52" name="TextBox 11"/>
          <p:cNvSpPr txBox="1">
            <a:spLocks noChangeArrowheads="1"/>
          </p:cNvSpPr>
          <p:nvPr userDrawn="1"/>
        </p:nvSpPr>
        <p:spPr bwMode="auto">
          <a:xfrm>
            <a:off x="12095298" y="3629392"/>
            <a:ext cx="10764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llywood</a:t>
            </a:r>
          </a:p>
        </p:txBody>
      </p:sp>
      <p:sp>
        <p:nvSpPr>
          <p:cNvPr id="53" name="TextBox 11"/>
          <p:cNvSpPr txBox="1">
            <a:spLocks noChangeArrowheads="1"/>
          </p:cNvSpPr>
          <p:nvPr userDrawn="1"/>
        </p:nvSpPr>
        <p:spPr bwMode="auto">
          <a:xfrm>
            <a:off x="293675" y="5078387"/>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omance</a:t>
            </a:r>
          </a:p>
        </p:txBody>
      </p:sp>
      <p:sp>
        <p:nvSpPr>
          <p:cNvPr id="54" name="TextBox 11"/>
          <p:cNvSpPr txBox="1">
            <a:spLocks noChangeArrowheads="1"/>
          </p:cNvSpPr>
          <p:nvPr userDrawn="1"/>
        </p:nvSpPr>
        <p:spPr bwMode="auto">
          <a:xfrm>
            <a:off x="1763902" y="5078387"/>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err="1">
                <a:solidFill>
                  <a:schemeClr val="bg1"/>
                </a:solidFill>
              </a:rPr>
              <a:t>Romcom</a:t>
            </a:r>
            <a:endParaRPr lang="en-GB" altLang="en-US" sz="900" dirty="0">
              <a:solidFill>
                <a:schemeClr val="bg1"/>
              </a:solidFill>
            </a:endParaRPr>
          </a:p>
        </p:txBody>
      </p:sp>
      <p:sp>
        <p:nvSpPr>
          <p:cNvPr id="55" name="TextBox 11"/>
          <p:cNvSpPr txBox="1">
            <a:spLocks noChangeArrowheads="1"/>
          </p:cNvSpPr>
          <p:nvPr userDrawn="1"/>
        </p:nvSpPr>
        <p:spPr bwMode="auto">
          <a:xfrm>
            <a:off x="4714128" y="5083013"/>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edy</a:t>
            </a:r>
          </a:p>
        </p:txBody>
      </p:sp>
      <p:sp>
        <p:nvSpPr>
          <p:cNvPr id="56" name="TextBox 11"/>
          <p:cNvSpPr txBox="1">
            <a:spLocks noChangeArrowheads="1"/>
          </p:cNvSpPr>
          <p:nvPr userDrawn="1"/>
        </p:nvSpPr>
        <p:spPr bwMode="auto">
          <a:xfrm>
            <a:off x="3230703" y="5080954"/>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ci-fi</a:t>
            </a:r>
          </a:p>
        </p:txBody>
      </p:sp>
      <p:sp>
        <p:nvSpPr>
          <p:cNvPr id="57" name="TextBox 11"/>
          <p:cNvSpPr txBox="1">
            <a:spLocks noChangeArrowheads="1"/>
          </p:cNvSpPr>
          <p:nvPr userDrawn="1"/>
        </p:nvSpPr>
        <p:spPr bwMode="auto">
          <a:xfrm>
            <a:off x="6186279" y="5083018"/>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nimation</a:t>
            </a:r>
          </a:p>
        </p:txBody>
      </p:sp>
      <p:sp>
        <p:nvSpPr>
          <p:cNvPr id="58" name="TextBox 11"/>
          <p:cNvSpPr txBox="1">
            <a:spLocks noChangeArrowheads="1"/>
          </p:cNvSpPr>
          <p:nvPr userDrawn="1"/>
        </p:nvSpPr>
        <p:spPr bwMode="auto">
          <a:xfrm>
            <a:off x="7662625" y="5079639"/>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VD</a:t>
            </a:r>
          </a:p>
        </p:txBody>
      </p:sp>
      <p:sp>
        <p:nvSpPr>
          <p:cNvPr id="59" name="TextBox 11"/>
          <p:cNvSpPr txBox="1">
            <a:spLocks noChangeArrowheads="1"/>
          </p:cNvSpPr>
          <p:nvPr userDrawn="1"/>
        </p:nvSpPr>
        <p:spPr bwMode="auto">
          <a:xfrm>
            <a:off x="9136215" y="5083013"/>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OH</a:t>
            </a:r>
          </a:p>
        </p:txBody>
      </p:sp>
      <p:sp>
        <p:nvSpPr>
          <p:cNvPr id="60" name="TextBox 11"/>
          <p:cNvSpPr txBox="1">
            <a:spLocks noChangeArrowheads="1"/>
          </p:cNvSpPr>
          <p:nvPr userDrawn="1"/>
        </p:nvSpPr>
        <p:spPr bwMode="auto">
          <a:xfrm>
            <a:off x="10628380" y="5083013"/>
            <a:ext cx="104825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card</a:t>
            </a:r>
          </a:p>
        </p:txBody>
      </p:sp>
      <p:sp>
        <p:nvSpPr>
          <p:cNvPr id="61" name="TextBox 11"/>
          <p:cNvSpPr txBox="1">
            <a:spLocks noChangeArrowheads="1"/>
          </p:cNvSpPr>
          <p:nvPr userDrawn="1"/>
        </p:nvSpPr>
        <p:spPr bwMode="auto">
          <a:xfrm>
            <a:off x="12096680" y="5081562"/>
            <a:ext cx="109109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old spot</a:t>
            </a:r>
          </a:p>
        </p:txBody>
      </p:sp>
      <p:sp>
        <p:nvSpPr>
          <p:cNvPr id="62" name="TextBox 11"/>
          <p:cNvSpPr txBox="1">
            <a:spLocks noChangeArrowheads="1"/>
          </p:cNvSpPr>
          <p:nvPr userDrawn="1"/>
        </p:nvSpPr>
        <p:spPr bwMode="auto">
          <a:xfrm>
            <a:off x="307739" y="6510765"/>
            <a:ext cx="104520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remium spot</a:t>
            </a:r>
          </a:p>
        </p:txBody>
      </p:sp>
      <p:sp>
        <p:nvSpPr>
          <p:cNvPr id="63" name="TextBox 11"/>
          <p:cNvSpPr txBox="1">
            <a:spLocks noChangeArrowheads="1"/>
          </p:cNvSpPr>
          <p:nvPr userDrawn="1"/>
        </p:nvSpPr>
        <p:spPr bwMode="auto">
          <a:xfrm>
            <a:off x="3307818" y="6508868"/>
            <a:ext cx="9758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hristmas</a:t>
            </a:r>
          </a:p>
        </p:txBody>
      </p:sp>
      <p:sp>
        <p:nvSpPr>
          <p:cNvPr id="64" name="TextBox 11"/>
          <p:cNvSpPr txBox="1">
            <a:spLocks noChangeArrowheads="1"/>
          </p:cNvSpPr>
          <p:nvPr userDrawn="1"/>
        </p:nvSpPr>
        <p:spPr bwMode="auto">
          <a:xfrm>
            <a:off x="1810607" y="6508868"/>
            <a:ext cx="994025"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ummer</a:t>
            </a:r>
          </a:p>
        </p:txBody>
      </p:sp>
      <p:sp>
        <p:nvSpPr>
          <p:cNvPr id="65" name="TextBox 11"/>
          <p:cNvSpPr txBox="1">
            <a:spLocks noChangeArrowheads="1"/>
          </p:cNvSpPr>
          <p:nvPr userDrawn="1"/>
        </p:nvSpPr>
        <p:spPr bwMode="auto">
          <a:xfrm>
            <a:off x="4734999" y="6543222"/>
            <a:ext cx="108951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ster</a:t>
            </a:r>
          </a:p>
        </p:txBody>
      </p:sp>
      <p:sp>
        <p:nvSpPr>
          <p:cNvPr id="66" name="Freeform 5">
            <a:extLst>
              <a:ext uri="{FF2B5EF4-FFF2-40B4-BE49-F238E27FC236}">
                <a16:creationId xmlns:a16="http://schemas.microsoft.com/office/drawing/2014/main" id="{E1E33001-FC15-4780-809A-667AAB464B36}"/>
              </a:ext>
            </a:extLst>
          </p:cNvPr>
          <p:cNvSpPr>
            <a:spLocks noEditPoints="1"/>
          </p:cNvSpPr>
          <p:nvPr userDrawn="1"/>
        </p:nvSpPr>
        <p:spPr bwMode="auto">
          <a:xfrm>
            <a:off x="3234709" y="2536609"/>
            <a:ext cx="1080000" cy="1080000"/>
          </a:xfrm>
          <a:custGeom>
            <a:avLst/>
            <a:gdLst>
              <a:gd name="T0" fmla="*/ 4306 w 10161"/>
              <a:gd name="T1" fmla="*/ 59 h 10161"/>
              <a:gd name="T2" fmla="*/ 3451 w 10161"/>
              <a:gd name="T3" fmla="*/ 266 h 10161"/>
              <a:gd name="T4" fmla="*/ 2659 w 10161"/>
              <a:gd name="T5" fmla="*/ 613 h 10161"/>
              <a:gd name="T6" fmla="*/ 1944 w 10161"/>
              <a:gd name="T7" fmla="*/ 1083 h 10161"/>
              <a:gd name="T8" fmla="*/ 1319 w 10161"/>
              <a:gd name="T9" fmla="*/ 1665 h 10161"/>
              <a:gd name="T10" fmla="*/ 800 w 10161"/>
              <a:gd name="T11" fmla="*/ 2342 h 10161"/>
              <a:gd name="T12" fmla="*/ 399 w 10161"/>
              <a:gd name="T13" fmla="*/ 3102 h 10161"/>
              <a:gd name="T14" fmla="*/ 130 w 10161"/>
              <a:gd name="T15" fmla="*/ 3933 h 10161"/>
              <a:gd name="T16" fmla="*/ 6 w 10161"/>
              <a:gd name="T17" fmla="*/ 4818 h 10161"/>
              <a:gd name="T18" fmla="*/ 32 w 10161"/>
              <a:gd name="T19" fmla="*/ 5664 h 10161"/>
              <a:gd name="T20" fmla="*/ 210 w 10161"/>
              <a:gd name="T21" fmla="*/ 6531 h 10161"/>
              <a:gd name="T22" fmla="*/ 528 w 10161"/>
              <a:gd name="T23" fmla="*/ 7338 h 10161"/>
              <a:gd name="T24" fmla="*/ 973 w 10161"/>
              <a:gd name="T25" fmla="*/ 8071 h 10161"/>
              <a:gd name="T26" fmla="*/ 1531 w 10161"/>
              <a:gd name="T27" fmla="*/ 8716 h 10161"/>
              <a:gd name="T28" fmla="*/ 2190 w 10161"/>
              <a:gd name="T29" fmla="*/ 9258 h 10161"/>
              <a:gd name="T30" fmla="*/ 2933 w 10161"/>
              <a:gd name="T31" fmla="*/ 9686 h 10161"/>
              <a:gd name="T32" fmla="*/ 3750 w 10161"/>
              <a:gd name="T33" fmla="*/ 9985 h 10161"/>
              <a:gd name="T34" fmla="*/ 4625 w 10161"/>
              <a:gd name="T35" fmla="*/ 10141 h 10161"/>
              <a:gd name="T36" fmla="*/ 5471 w 10161"/>
              <a:gd name="T37" fmla="*/ 10145 h 10161"/>
              <a:gd name="T38" fmla="*/ 6350 w 10161"/>
              <a:gd name="T39" fmla="*/ 10000 h 10161"/>
              <a:gd name="T40" fmla="*/ 7171 w 10161"/>
              <a:gd name="T41" fmla="*/ 9711 h 10161"/>
              <a:gd name="T42" fmla="*/ 7921 w 10161"/>
              <a:gd name="T43" fmla="*/ 9293 h 10161"/>
              <a:gd name="T44" fmla="*/ 8585 w 10161"/>
              <a:gd name="T45" fmla="*/ 8758 h 10161"/>
              <a:gd name="T46" fmla="*/ 9151 w 10161"/>
              <a:gd name="T47" fmla="*/ 8120 h 10161"/>
              <a:gd name="T48" fmla="*/ 9605 w 10161"/>
              <a:gd name="T49" fmla="*/ 7393 h 10161"/>
              <a:gd name="T50" fmla="*/ 9932 w 10161"/>
              <a:gd name="T51" fmla="*/ 6591 h 10161"/>
              <a:gd name="T52" fmla="*/ 10120 w 10161"/>
              <a:gd name="T53" fmla="*/ 5727 h 10161"/>
              <a:gd name="T54" fmla="*/ 10157 w 10161"/>
              <a:gd name="T55" fmla="*/ 4884 h 10161"/>
              <a:gd name="T56" fmla="*/ 10045 w 10161"/>
              <a:gd name="T57" fmla="*/ 3995 h 10161"/>
              <a:gd name="T58" fmla="*/ 9786 w 10161"/>
              <a:gd name="T59" fmla="*/ 3160 h 10161"/>
              <a:gd name="T60" fmla="*/ 9393 w 10161"/>
              <a:gd name="T61" fmla="*/ 2394 h 10161"/>
              <a:gd name="T62" fmla="*/ 8881 w 10161"/>
              <a:gd name="T63" fmla="*/ 1710 h 10161"/>
              <a:gd name="T64" fmla="*/ 8265 w 10161"/>
              <a:gd name="T65" fmla="*/ 1121 h 10161"/>
              <a:gd name="T66" fmla="*/ 7555 w 10161"/>
              <a:gd name="T67" fmla="*/ 643 h 10161"/>
              <a:gd name="T68" fmla="*/ 6768 w 10161"/>
              <a:gd name="T69" fmla="*/ 287 h 10161"/>
              <a:gd name="T70" fmla="*/ 5917 w 10161"/>
              <a:gd name="T71" fmla="*/ 68 h 10161"/>
              <a:gd name="T72" fmla="*/ 5080 w 10161"/>
              <a:gd name="T73" fmla="*/ 0 h 10161"/>
              <a:gd name="T74" fmla="*/ 3616 w 10161"/>
              <a:gd name="T75" fmla="*/ 3607 h 10161"/>
              <a:gd name="T76" fmla="*/ 4648 w 10161"/>
              <a:gd name="T77" fmla="*/ 4209 h 10161"/>
              <a:gd name="T78" fmla="*/ 3562 w 10161"/>
              <a:gd name="T79" fmla="*/ 4157 h 10161"/>
              <a:gd name="T80" fmla="*/ 3029 w 10161"/>
              <a:gd name="T81" fmla="*/ 3776 h 10161"/>
              <a:gd name="T82" fmla="*/ 8056 w 10161"/>
              <a:gd name="T83" fmla="*/ 4056 h 10161"/>
              <a:gd name="T84" fmla="*/ 6506 w 10161"/>
              <a:gd name="T85" fmla="*/ 4872 h 10161"/>
              <a:gd name="T86" fmla="*/ 5301 w 10161"/>
              <a:gd name="T87" fmla="*/ 7358 h 10161"/>
              <a:gd name="T88" fmla="*/ 4860 w 10161"/>
              <a:gd name="T89" fmla="*/ 7686 h 10161"/>
              <a:gd name="T90" fmla="*/ 4749 w 10161"/>
              <a:gd name="T91" fmla="*/ 7595 h 10161"/>
              <a:gd name="T92" fmla="*/ 4905 w 10161"/>
              <a:gd name="T93" fmla="*/ 5584 h 10161"/>
              <a:gd name="T94" fmla="*/ 3453 w 10161"/>
              <a:gd name="T95" fmla="*/ 6141 h 10161"/>
              <a:gd name="T96" fmla="*/ 2680 w 10161"/>
              <a:gd name="T97" fmla="*/ 6268 h 10161"/>
              <a:gd name="T98" fmla="*/ 2251 w 10161"/>
              <a:gd name="T99" fmla="*/ 6117 h 10161"/>
              <a:gd name="T100" fmla="*/ 1720 w 10161"/>
              <a:gd name="T101" fmla="*/ 4976 h 10161"/>
              <a:gd name="T102" fmla="*/ 1728 w 10161"/>
              <a:gd name="T103" fmla="*/ 4772 h 10161"/>
              <a:gd name="T104" fmla="*/ 1962 w 10161"/>
              <a:gd name="T105" fmla="*/ 4723 h 10161"/>
              <a:gd name="T106" fmla="*/ 2398 w 10161"/>
              <a:gd name="T107" fmla="*/ 4994 h 10161"/>
              <a:gd name="T108" fmla="*/ 2893 w 10161"/>
              <a:gd name="T109" fmla="*/ 5273 h 10161"/>
              <a:gd name="T110" fmla="*/ 6848 w 10161"/>
              <a:gd name="T111" fmla="*/ 3535 h 10161"/>
              <a:gd name="T112" fmla="*/ 7517 w 10161"/>
              <a:gd name="T113" fmla="*/ 3333 h 10161"/>
              <a:gd name="T114" fmla="*/ 7976 w 10161"/>
              <a:gd name="T115" fmla="*/ 3372 h 10161"/>
              <a:gd name="T116" fmla="*/ 8361 w 10161"/>
              <a:gd name="T117" fmla="*/ 3571 h 10161"/>
              <a:gd name="T118" fmla="*/ 8455 w 10161"/>
              <a:gd name="T119" fmla="*/ 3769 h 10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61" h="10161">
                <a:moveTo>
                  <a:pt x="5080" y="0"/>
                </a:moveTo>
                <a:lnTo>
                  <a:pt x="5080" y="0"/>
                </a:lnTo>
                <a:lnTo>
                  <a:pt x="5015" y="0"/>
                </a:lnTo>
                <a:lnTo>
                  <a:pt x="4949" y="1"/>
                </a:lnTo>
                <a:lnTo>
                  <a:pt x="4884" y="4"/>
                </a:lnTo>
                <a:lnTo>
                  <a:pt x="4818" y="6"/>
                </a:lnTo>
                <a:lnTo>
                  <a:pt x="4754" y="10"/>
                </a:lnTo>
                <a:lnTo>
                  <a:pt x="4689" y="14"/>
                </a:lnTo>
                <a:lnTo>
                  <a:pt x="4625" y="20"/>
                </a:lnTo>
                <a:lnTo>
                  <a:pt x="4561" y="26"/>
                </a:lnTo>
                <a:lnTo>
                  <a:pt x="4497" y="32"/>
                </a:lnTo>
                <a:lnTo>
                  <a:pt x="4434" y="41"/>
                </a:lnTo>
                <a:lnTo>
                  <a:pt x="4370" y="49"/>
                </a:lnTo>
                <a:lnTo>
                  <a:pt x="4306" y="59"/>
                </a:lnTo>
                <a:lnTo>
                  <a:pt x="4244" y="68"/>
                </a:lnTo>
                <a:lnTo>
                  <a:pt x="4180" y="79"/>
                </a:lnTo>
                <a:lnTo>
                  <a:pt x="4118" y="91"/>
                </a:lnTo>
                <a:lnTo>
                  <a:pt x="4057" y="103"/>
                </a:lnTo>
                <a:lnTo>
                  <a:pt x="3995" y="116"/>
                </a:lnTo>
                <a:lnTo>
                  <a:pt x="3933" y="130"/>
                </a:lnTo>
                <a:lnTo>
                  <a:pt x="3871" y="144"/>
                </a:lnTo>
                <a:lnTo>
                  <a:pt x="3811" y="159"/>
                </a:lnTo>
                <a:lnTo>
                  <a:pt x="3750" y="176"/>
                </a:lnTo>
                <a:lnTo>
                  <a:pt x="3690" y="193"/>
                </a:lnTo>
                <a:lnTo>
                  <a:pt x="3629" y="210"/>
                </a:lnTo>
                <a:lnTo>
                  <a:pt x="3570" y="228"/>
                </a:lnTo>
                <a:lnTo>
                  <a:pt x="3510" y="247"/>
                </a:lnTo>
                <a:lnTo>
                  <a:pt x="3451" y="266"/>
                </a:lnTo>
                <a:lnTo>
                  <a:pt x="3391" y="287"/>
                </a:lnTo>
                <a:lnTo>
                  <a:pt x="3334" y="308"/>
                </a:lnTo>
                <a:lnTo>
                  <a:pt x="3275" y="330"/>
                </a:lnTo>
                <a:lnTo>
                  <a:pt x="3218" y="353"/>
                </a:lnTo>
                <a:lnTo>
                  <a:pt x="3160" y="375"/>
                </a:lnTo>
                <a:lnTo>
                  <a:pt x="3102" y="399"/>
                </a:lnTo>
                <a:lnTo>
                  <a:pt x="3046" y="423"/>
                </a:lnTo>
                <a:lnTo>
                  <a:pt x="2990" y="449"/>
                </a:lnTo>
                <a:lnTo>
                  <a:pt x="2933" y="475"/>
                </a:lnTo>
                <a:lnTo>
                  <a:pt x="2878" y="501"/>
                </a:lnTo>
                <a:lnTo>
                  <a:pt x="2822" y="528"/>
                </a:lnTo>
                <a:lnTo>
                  <a:pt x="2768" y="555"/>
                </a:lnTo>
                <a:lnTo>
                  <a:pt x="2713" y="584"/>
                </a:lnTo>
                <a:lnTo>
                  <a:pt x="2659" y="613"/>
                </a:lnTo>
                <a:lnTo>
                  <a:pt x="2605" y="643"/>
                </a:lnTo>
                <a:lnTo>
                  <a:pt x="2552" y="673"/>
                </a:lnTo>
                <a:lnTo>
                  <a:pt x="2498" y="704"/>
                </a:lnTo>
                <a:lnTo>
                  <a:pt x="2446" y="735"/>
                </a:lnTo>
                <a:lnTo>
                  <a:pt x="2394" y="768"/>
                </a:lnTo>
                <a:lnTo>
                  <a:pt x="2342" y="800"/>
                </a:lnTo>
                <a:lnTo>
                  <a:pt x="2291" y="833"/>
                </a:lnTo>
                <a:lnTo>
                  <a:pt x="2240" y="867"/>
                </a:lnTo>
                <a:lnTo>
                  <a:pt x="2190" y="902"/>
                </a:lnTo>
                <a:lnTo>
                  <a:pt x="2139" y="937"/>
                </a:lnTo>
                <a:lnTo>
                  <a:pt x="2090" y="973"/>
                </a:lnTo>
                <a:lnTo>
                  <a:pt x="2041" y="1009"/>
                </a:lnTo>
                <a:lnTo>
                  <a:pt x="1992" y="1046"/>
                </a:lnTo>
                <a:lnTo>
                  <a:pt x="1944" y="1083"/>
                </a:lnTo>
                <a:lnTo>
                  <a:pt x="1896" y="1121"/>
                </a:lnTo>
                <a:lnTo>
                  <a:pt x="1849" y="1160"/>
                </a:lnTo>
                <a:lnTo>
                  <a:pt x="1802" y="1199"/>
                </a:lnTo>
                <a:lnTo>
                  <a:pt x="1756" y="1239"/>
                </a:lnTo>
                <a:lnTo>
                  <a:pt x="1710" y="1278"/>
                </a:lnTo>
                <a:lnTo>
                  <a:pt x="1665" y="1319"/>
                </a:lnTo>
                <a:lnTo>
                  <a:pt x="1619" y="1361"/>
                </a:lnTo>
                <a:lnTo>
                  <a:pt x="1575" y="1403"/>
                </a:lnTo>
                <a:lnTo>
                  <a:pt x="1531" y="1445"/>
                </a:lnTo>
                <a:lnTo>
                  <a:pt x="1488" y="1488"/>
                </a:lnTo>
                <a:lnTo>
                  <a:pt x="1445" y="1531"/>
                </a:lnTo>
                <a:lnTo>
                  <a:pt x="1403" y="1575"/>
                </a:lnTo>
                <a:lnTo>
                  <a:pt x="1361" y="1619"/>
                </a:lnTo>
                <a:lnTo>
                  <a:pt x="1319" y="1665"/>
                </a:lnTo>
                <a:lnTo>
                  <a:pt x="1278" y="1710"/>
                </a:lnTo>
                <a:lnTo>
                  <a:pt x="1239" y="1756"/>
                </a:lnTo>
                <a:lnTo>
                  <a:pt x="1199" y="1802"/>
                </a:lnTo>
                <a:lnTo>
                  <a:pt x="1160" y="1849"/>
                </a:lnTo>
                <a:lnTo>
                  <a:pt x="1121" y="1896"/>
                </a:lnTo>
                <a:lnTo>
                  <a:pt x="1083" y="1944"/>
                </a:lnTo>
                <a:lnTo>
                  <a:pt x="1046" y="1992"/>
                </a:lnTo>
                <a:lnTo>
                  <a:pt x="1009" y="2041"/>
                </a:lnTo>
                <a:lnTo>
                  <a:pt x="973" y="2090"/>
                </a:lnTo>
                <a:lnTo>
                  <a:pt x="937" y="2139"/>
                </a:lnTo>
                <a:lnTo>
                  <a:pt x="902" y="2190"/>
                </a:lnTo>
                <a:lnTo>
                  <a:pt x="867" y="2240"/>
                </a:lnTo>
                <a:lnTo>
                  <a:pt x="833" y="2291"/>
                </a:lnTo>
                <a:lnTo>
                  <a:pt x="800" y="2342"/>
                </a:lnTo>
                <a:lnTo>
                  <a:pt x="768" y="2394"/>
                </a:lnTo>
                <a:lnTo>
                  <a:pt x="735" y="2446"/>
                </a:lnTo>
                <a:lnTo>
                  <a:pt x="704" y="2498"/>
                </a:lnTo>
                <a:lnTo>
                  <a:pt x="673" y="2552"/>
                </a:lnTo>
                <a:lnTo>
                  <a:pt x="643" y="2605"/>
                </a:lnTo>
                <a:lnTo>
                  <a:pt x="613" y="2659"/>
                </a:lnTo>
                <a:lnTo>
                  <a:pt x="584" y="2713"/>
                </a:lnTo>
                <a:lnTo>
                  <a:pt x="555" y="2768"/>
                </a:lnTo>
                <a:lnTo>
                  <a:pt x="528" y="2822"/>
                </a:lnTo>
                <a:lnTo>
                  <a:pt x="501" y="2878"/>
                </a:lnTo>
                <a:lnTo>
                  <a:pt x="475" y="2933"/>
                </a:lnTo>
                <a:lnTo>
                  <a:pt x="449" y="2990"/>
                </a:lnTo>
                <a:lnTo>
                  <a:pt x="423" y="3046"/>
                </a:lnTo>
                <a:lnTo>
                  <a:pt x="399" y="3102"/>
                </a:lnTo>
                <a:lnTo>
                  <a:pt x="375" y="3160"/>
                </a:lnTo>
                <a:lnTo>
                  <a:pt x="353" y="3218"/>
                </a:lnTo>
                <a:lnTo>
                  <a:pt x="330" y="3275"/>
                </a:lnTo>
                <a:lnTo>
                  <a:pt x="308" y="3334"/>
                </a:lnTo>
                <a:lnTo>
                  <a:pt x="287" y="3391"/>
                </a:lnTo>
                <a:lnTo>
                  <a:pt x="266" y="3451"/>
                </a:lnTo>
                <a:lnTo>
                  <a:pt x="247" y="3510"/>
                </a:lnTo>
                <a:lnTo>
                  <a:pt x="228" y="3570"/>
                </a:lnTo>
                <a:lnTo>
                  <a:pt x="210" y="3629"/>
                </a:lnTo>
                <a:lnTo>
                  <a:pt x="193" y="3690"/>
                </a:lnTo>
                <a:lnTo>
                  <a:pt x="176" y="3750"/>
                </a:lnTo>
                <a:lnTo>
                  <a:pt x="159" y="3811"/>
                </a:lnTo>
                <a:lnTo>
                  <a:pt x="144" y="3871"/>
                </a:lnTo>
                <a:lnTo>
                  <a:pt x="130" y="3933"/>
                </a:lnTo>
                <a:lnTo>
                  <a:pt x="116" y="3995"/>
                </a:lnTo>
                <a:lnTo>
                  <a:pt x="103" y="4057"/>
                </a:lnTo>
                <a:lnTo>
                  <a:pt x="91" y="4118"/>
                </a:lnTo>
                <a:lnTo>
                  <a:pt x="79" y="4180"/>
                </a:lnTo>
                <a:lnTo>
                  <a:pt x="68" y="4244"/>
                </a:lnTo>
                <a:lnTo>
                  <a:pt x="59" y="4306"/>
                </a:lnTo>
                <a:lnTo>
                  <a:pt x="49" y="4370"/>
                </a:lnTo>
                <a:lnTo>
                  <a:pt x="41" y="4434"/>
                </a:lnTo>
                <a:lnTo>
                  <a:pt x="32" y="4497"/>
                </a:lnTo>
                <a:lnTo>
                  <a:pt x="26" y="4561"/>
                </a:lnTo>
                <a:lnTo>
                  <a:pt x="20" y="4625"/>
                </a:lnTo>
                <a:lnTo>
                  <a:pt x="14" y="4689"/>
                </a:lnTo>
                <a:lnTo>
                  <a:pt x="10" y="4754"/>
                </a:lnTo>
                <a:lnTo>
                  <a:pt x="6" y="4818"/>
                </a:lnTo>
                <a:lnTo>
                  <a:pt x="4" y="4884"/>
                </a:lnTo>
                <a:lnTo>
                  <a:pt x="1" y="4949"/>
                </a:lnTo>
                <a:lnTo>
                  <a:pt x="0" y="5015"/>
                </a:lnTo>
                <a:lnTo>
                  <a:pt x="0" y="5080"/>
                </a:lnTo>
                <a:lnTo>
                  <a:pt x="0" y="5080"/>
                </a:lnTo>
                <a:lnTo>
                  <a:pt x="0" y="5146"/>
                </a:lnTo>
                <a:lnTo>
                  <a:pt x="1" y="5212"/>
                </a:lnTo>
                <a:lnTo>
                  <a:pt x="4" y="5277"/>
                </a:lnTo>
                <a:lnTo>
                  <a:pt x="6" y="5341"/>
                </a:lnTo>
                <a:lnTo>
                  <a:pt x="10" y="5406"/>
                </a:lnTo>
                <a:lnTo>
                  <a:pt x="14" y="5471"/>
                </a:lnTo>
                <a:lnTo>
                  <a:pt x="20" y="5536"/>
                </a:lnTo>
                <a:lnTo>
                  <a:pt x="26" y="5599"/>
                </a:lnTo>
                <a:lnTo>
                  <a:pt x="32" y="5664"/>
                </a:lnTo>
                <a:lnTo>
                  <a:pt x="41" y="5727"/>
                </a:lnTo>
                <a:lnTo>
                  <a:pt x="49" y="5791"/>
                </a:lnTo>
                <a:lnTo>
                  <a:pt x="59" y="5853"/>
                </a:lnTo>
                <a:lnTo>
                  <a:pt x="68" y="5917"/>
                </a:lnTo>
                <a:lnTo>
                  <a:pt x="79" y="5979"/>
                </a:lnTo>
                <a:lnTo>
                  <a:pt x="91" y="6042"/>
                </a:lnTo>
                <a:lnTo>
                  <a:pt x="103" y="6104"/>
                </a:lnTo>
                <a:lnTo>
                  <a:pt x="116" y="6166"/>
                </a:lnTo>
                <a:lnTo>
                  <a:pt x="130" y="6228"/>
                </a:lnTo>
                <a:lnTo>
                  <a:pt x="144" y="6289"/>
                </a:lnTo>
                <a:lnTo>
                  <a:pt x="159" y="6350"/>
                </a:lnTo>
                <a:lnTo>
                  <a:pt x="176" y="6411"/>
                </a:lnTo>
                <a:lnTo>
                  <a:pt x="193" y="6471"/>
                </a:lnTo>
                <a:lnTo>
                  <a:pt x="210" y="6531"/>
                </a:lnTo>
                <a:lnTo>
                  <a:pt x="228" y="6591"/>
                </a:lnTo>
                <a:lnTo>
                  <a:pt x="247" y="6651"/>
                </a:lnTo>
                <a:lnTo>
                  <a:pt x="266" y="6710"/>
                </a:lnTo>
                <a:lnTo>
                  <a:pt x="287" y="6768"/>
                </a:lnTo>
                <a:lnTo>
                  <a:pt x="308" y="6827"/>
                </a:lnTo>
                <a:lnTo>
                  <a:pt x="330" y="6885"/>
                </a:lnTo>
                <a:lnTo>
                  <a:pt x="353" y="6943"/>
                </a:lnTo>
                <a:lnTo>
                  <a:pt x="375" y="7001"/>
                </a:lnTo>
                <a:lnTo>
                  <a:pt x="399" y="7057"/>
                </a:lnTo>
                <a:lnTo>
                  <a:pt x="423" y="7115"/>
                </a:lnTo>
                <a:lnTo>
                  <a:pt x="449" y="7171"/>
                </a:lnTo>
                <a:lnTo>
                  <a:pt x="475" y="7227"/>
                </a:lnTo>
                <a:lnTo>
                  <a:pt x="501" y="7283"/>
                </a:lnTo>
                <a:lnTo>
                  <a:pt x="528" y="7338"/>
                </a:lnTo>
                <a:lnTo>
                  <a:pt x="555" y="7393"/>
                </a:lnTo>
                <a:lnTo>
                  <a:pt x="584" y="7447"/>
                </a:lnTo>
                <a:lnTo>
                  <a:pt x="613" y="7502"/>
                </a:lnTo>
                <a:lnTo>
                  <a:pt x="643" y="7555"/>
                </a:lnTo>
                <a:lnTo>
                  <a:pt x="673" y="7609"/>
                </a:lnTo>
                <a:lnTo>
                  <a:pt x="704" y="7662"/>
                </a:lnTo>
                <a:lnTo>
                  <a:pt x="735" y="7715"/>
                </a:lnTo>
                <a:lnTo>
                  <a:pt x="768" y="7767"/>
                </a:lnTo>
                <a:lnTo>
                  <a:pt x="800" y="7819"/>
                </a:lnTo>
                <a:lnTo>
                  <a:pt x="833" y="7869"/>
                </a:lnTo>
                <a:lnTo>
                  <a:pt x="867" y="7921"/>
                </a:lnTo>
                <a:lnTo>
                  <a:pt x="902" y="7971"/>
                </a:lnTo>
                <a:lnTo>
                  <a:pt x="937" y="8022"/>
                </a:lnTo>
                <a:lnTo>
                  <a:pt x="973" y="8071"/>
                </a:lnTo>
                <a:lnTo>
                  <a:pt x="1009" y="8120"/>
                </a:lnTo>
                <a:lnTo>
                  <a:pt x="1046" y="8169"/>
                </a:lnTo>
                <a:lnTo>
                  <a:pt x="1083" y="8217"/>
                </a:lnTo>
                <a:lnTo>
                  <a:pt x="1121" y="8265"/>
                </a:lnTo>
                <a:lnTo>
                  <a:pt x="1160" y="8312"/>
                </a:lnTo>
                <a:lnTo>
                  <a:pt x="1199" y="8359"/>
                </a:lnTo>
                <a:lnTo>
                  <a:pt x="1239" y="8405"/>
                </a:lnTo>
                <a:lnTo>
                  <a:pt x="1278" y="8451"/>
                </a:lnTo>
                <a:lnTo>
                  <a:pt x="1319" y="8496"/>
                </a:lnTo>
                <a:lnTo>
                  <a:pt x="1361" y="8541"/>
                </a:lnTo>
                <a:lnTo>
                  <a:pt x="1403" y="8585"/>
                </a:lnTo>
                <a:lnTo>
                  <a:pt x="1445" y="8630"/>
                </a:lnTo>
                <a:lnTo>
                  <a:pt x="1488" y="8673"/>
                </a:lnTo>
                <a:lnTo>
                  <a:pt x="1531" y="8716"/>
                </a:lnTo>
                <a:lnTo>
                  <a:pt x="1575" y="8758"/>
                </a:lnTo>
                <a:lnTo>
                  <a:pt x="1619" y="8800"/>
                </a:lnTo>
                <a:lnTo>
                  <a:pt x="1665" y="8841"/>
                </a:lnTo>
                <a:lnTo>
                  <a:pt x="1710" y="8881"/>
                </a:lnTo>
                <a:lnTo>
                  <a:pt x="1756" y="8922"/>
                </a:lnTo>
                <a:lnTo>
                  <a:pt x="1802" y="8962"/>
                </a:lnTo>
                <a:lnTo>
                  <a:pt x="1849" y="9000"/>
                </a:lnTo>
                <a:lnTo>
                  <a:pt x="1896" y="9039"/>
                </a:lnTo>
                <a:lnTo>
                  <a:pt x="1944" y="9077"/>
                </a:lnTo>
                <a:lnTo>
                  <a:pt x="1992" y="9114"/>
                </a:lnTo>
                <a:lnTo>
                  <a:pt x="2041" y="9151"/>
                </a:lnTo>
                <a:lnTo>
                  <a:pt x="2090" y="9187"/>
                </a:lnTo>
                <a:lnTo>
                  <a:pt x="2139" y="9223"/>
                </a:lnTo>
                <a:lnTo>
                  <a:pt x="2190" y="9258"/>
                </a:lnTo>
                <a:lnTo>
                  <a:pt x="2240" y="9293"/>
                </a:lnTo>
                <a:lnTo>
                  <a:pt x="2291" y="9328"/>
                </a:lnTo>
                <a:lnTo>
                  <a:pt x="2342" y="9360"/>
                </a:lnTo>
                <a:lnTo>
                  <a:pt x="2394" y="9393"/>
                </a:lnTo>
                <a:lnTo>
                  <a:pt x="2446" y="9425"/>
                </a:lnTo>
                <a:lnTo>
                  <a:pt x="2498" y="9457"/>
                </a:lnTo>
                <a:lnTo>
                  <a:pt x="2552" y="9487"/>
                </a:lnTo>
                <a:lnTo>
                  <a:pt x="2605" y="9518"/>
                </a:lnTo>
                <a:lnTo>
                  <a:pt x="2659" y="9547"/>
                </a:lnTo>
                <a:lnTo>
                  <a:pt x="2713" y="9577"/>
                </a:lnTo>
                <a:lnTo>
                  <a:pt x="2768" y="9605"/>
                </a:lnTo>
                <a:lnTo>
                  <a:pt x="2822" y="9632"/>
                </a:lnTo>
                <a:lnTo>
                  <a:pt x="2878" y="9660"/>
                </a:lnTo>
                <a:lnTo>
                  <a:pt x="2933" y="9686"/>
                </a:lnTo>
                <a:lnTo>
                  <a:pt x="2990" y="9711"/>
                </a:lnTo>
                <a:lnTo>
                  <a:pt x="3046" y="9736"/>
                </a:lnTo>
                <a:lnTo>
                  <a:pt x="3102" y="9762"/>
                </a:lnTo>
                <a:lnTo>
                  <a:pt x="3160" y="9786"/>
                </a:lnTo>
                <a:lnTo>
                  <a:pt x="3218" y="9808"/>
                </a:lnTo>
                <a:lnTo>
                  <a:pt x="3275" y="9831"/>
                </a:lnTo>
                <a:lnTo>
                  <a:pt x="3334" y="9853"/>
                </a:lnTo>
                <a:lnTo>
                  <a:pt x="3391" y="9873"/>
                </a:lnTo>
                <a:lnTo>
                  <a:pt x="3451" y="9894"/>
                </a:lnTo>
                <a:lnTo>
                  <a:pt x="3510" y="9913"/>
                </a:lnTo>
                <a:lnTo>
                  <a:pt x="3570" y="9932"/>
                </a:lnTo>
                <a:lnTo>
                  <a:pt x="3629" y="9950"/>
                </a:lnTo>
                <a:lnTo>
                  <a:pt x="3690" y="9968"/>
                </a:lnTo>
                <a:lnTo>
                  <a:pt x="3750" y="9985"/>
                </a:lnTo>
                <a:lnTo>
                  <a:pt x="3811" y="10000"/>
                </a:lnTo>
                <a:lnTo>
                  <a:pt x="3871" y="10016"/>
                </a:lnTo>
                <a:lnTo>
                  <a:pt x="3933" y="10030"/>
                </a:lnTo>
                <a:lnTo>
                  <a:pt x="3995" y="10045"/>
                </a:lnTo>
                <a:lnTo>
                  <a:pt x="4057" y="10058"/>
                </a:lnTo>
                <a:lnTo>
                  <a:pt x="4118" y="10070"/>
                </a:lnTo>
                <a:lnTo>
                  <a:pt x="4180" y="10082"/>
                </a:lnTo>
                <a:lnTo>
                  <a:pt x="4244" y="10093"/>
                </a:lnTo>
                <a:lnTo>
                  <a:pt x="4306" y="10102"/>
                </a:lnTo>
                <a:lnTo>
                  <a:pt x="4370" y="10112"/>
                </a:lnTo>
                <a:lnTo>
                  <a:pt x="4434" y="10120"/>
                </a:lnTo>
                <a:lnTo>
                  <a:pt x="4497" y="10127"/>
                </a:lnTo>
                <a:lnTo>
                  <a:pt x="4561" y="10135"/>
                </a:lnTo>
                <a:lnTo>
                  <a:pt x="4625" y="10141"/>
                </a:lnTo>
                <a:lnTo>
                  <a:pt x="4689" y="10145"/>
                </a:lnTo>
                <a:lnTo>
                  <a:pt x="4754" y="10150"/>
                </a:lnTo>
                <a:lnTo>
                  <a:pt x="4818" y="10154"/>
                </a:lnTo>
                <a:lnTo>
                  <a:pt x="4884" y="10157"/>
                </a:lnTo>
                <a:lnTo>
                  <a:pt x="4949" y="10159"/>
                </a:lnTo>
                <a:lnTo>
                  <a:pt x="5015" y="10160"/>
                </a:lnTo>
                <a:lnTo>
                  <a:pt x="5080" y="10161"/>
                </a:lnTo>
                <a:lnTo>
                  <a:pt x="5080" y="10161"/>
                </a:lnTo>
                <a:lnTo>
                  <a:pt x="5146" y="10160"/>
                </a:lnTo>
                <a:lnTo>
                  <a:pt x="5212" y="10159"/>
                </a:lnTo>
                <a:lnTo>
                  <a:pt x="5277" y="10157"/>
                </a:lnTo>
                <a:lnTo>
                  <a:pt x="5341" y="10154"/>
                </a:lnTo>
                <a:lnTo>
                  <a:pt x="5406" y="10150"/>
                </a:lnTo>
                <a:lnTo>
                  <a:pt x="5471" y="10145"/>
                </a:lnTo>
                <a:lnTo>
                  <a:pt x="5536" y="10141"/>
                </a:lnTo>
                <a:lnTo>
                  <a:pt x="5599" y="10135"/>
                </a:lnTo>
                <a:lnTo>
                  <a:pt x="5664" y="10127"/>
                </a:lnTo>
                <a:lnTo>
                  <a:pt x="5727" y="10120"/>
                </a:lnTo>
                <a:lnTo>
                  <a:pt x="5791" y="10112"/>
                </a:lnTo>
                <a:lnTo>
                  <a:pt x="5853" y="10102"/>
                </a:lnTo>
                <a:lnTo>
                  <a:pt x="5917" y="10093"/>
                </a:lnTo>
                <a:lnTo>
                  <a:pt x="5979" y="10082"/>
                </a:lnTo>
                <a:lnTo>
                  <a:pt x="6042" y="10070"/>
                </a:lnTo>
                <a:lnTo>
                  <a:pt x="6104" y="10058"/>
                </a:lnTo>
                <a:lnTo>
                  <a:pt x="6166" y="10045"/>
                </a:lnTo>
                <a:lnTo>
                  <a:pt x="6228" y="10030"/>
                </a:lnTo>
                <a:lnTo>
                  <a:pt x="6289" y="10016"/>
                </a:lnTo>
                <a:lnTo>
                  <a:pt x="6350" y="10000"/>
                </a:lnTo>
                <a:lnTo>
                  <a:pt x="6411" y="9985"/>
                </a:lnTo>
                <a:lnTo>
                  <a:pt x="6471" y="9968"/>
                </a:lnTo>
                <a:lnTo>
                  <a:pt x="6531" y="9950"/>
                </a:lnTo>
                <a:lnTo>
                  <a:pt x="6591" y="9932"/>
                </a:lnTo>
                <a:lnTo>
                  <a:pt x="6651" y="9913"/>
                </a:lnTo>
                <a:lnTo>
                  <a:pt x="6710" y="9894"/>
                </a:lnTo>
                <a:lnTo>
                  <a:pt x="6768" y="9873"/>
                </a:lnTo>
                <a:lnTo>
                  <a:pt x="6827" y="9853"/>
                </a:lnTo>
                <a:lnTo>
                  <a:pt x="6885" y="9831"/>
                </a:lnTo>
                <a:lnTo>
                  <a:pt x="6943" y="9808"/>
                </a:lnTo>
                <a:lnTo>
                  <a:pt x="7001" y="9786"/>
                </a:lnTo>
                <a:lnTo>
                  <a:pt x="7057" y="9762"/>
                </a:lnTo>
                <a:lnTo>
                  <a:pt x="7115" y="9736"/>
                </a:lnTo>
                <a:lnTo>
                  <a:pt x="7171" y="9711"/>
                </a:lnTo>
                <a:lnTo>
                  <a:pt x="7227" y="9686"/>
                </a:lnTo>
                <a:lnTo>
                  <a:pt x="7283" y="9660"/>
                </a:lnTo>
                <a:lnTo>
                  <a:pt x="7338" y="9632"/>
                </a:lnTo>
                <a:lnTo>
                  <a:pt x="7393" y="9605"/>
                </a:lnTo>
                <a:lnTo>
                  <a:pt x="7447" y="9577"/>
                </a:lnTo>
                <a:lnTo>
                  <a:pt x="7502" y="9547"/>
                </a:lnTo>
                <a:lnTo>
                  <a:pt x="7555" y="9518"/>
                </a:lnTo>
                <a:lnTo>
                  <a:pt x="7609" y="9487"/>
                </a:lnTo>
                <a:lnTo>
                  <a:pt x="7662" y="9457"/>
                </a:lnTo>
                <a:lnTo>
                  <a:pt x="7715" y="9425"/>
                </a:lnTo>
                <a:lnTo>
                  <a:pt x="7767" y="9393"/>
                </a:lnTo>
                <a:lnTo>
                  <a:pt x="7819" y="9360"/>
                </a:lnTo>
                <a:lnTo>
                  <a:pt x="7869" y="9328"/>
                </a:lnTo>
                <a:lnTo>
                  <a:pt x="7921" y="9293"/>
                </a:lnTo>
                <a:lnTo>
                  <a:pt x="7971" y="9258"/>
                </a:lnTo>
                <a:lnTo>
                  <a:pt x="8022" y="9223"/>
                </a:lnTo>
                <a:lnTo>
                  <a:pt x="8071" y="9187"/>
                </a:lnTo>
                <a:lnTo>
                  <a:pt x="8120" y="9151"/>
                </a:lnTo>
                <a:lnTo>
                  <a:pt x="8169" y="9114"/>
                </a:lnTo>
                <a:lnTo>
                  <a:pt x="8217" y="9077"/>
                </a:lnTo>
                <a:lnTo>
                  <a:pt x="8265" y="9039"/>
                </a:lnTo>
                <a:lnTo>
                  <a:pt x="8312" y="9000"/>
                </a:lnTo>
                <a:lnTo>
                  <a:pt x="8359" y="8962"/>
                </a:lnTo>
                <a:lnTo>
                  <a:pt x="8405" y="8922"/>
                </a:lnTo>
                <a:lnTo>
                  <a:pt x="8451" y="8881"/>
                </a:lnTo>
                <a:lnTo>
                  <a:pt x="8496" y="8841"/>
                </a:lnTo>
                <a:lnTo>
                  <a:pt x="8541" y="8800"/>
                </a:lnTo>
                <a:lnTo>
                  <a:pt x="8585" y="8758"/>
                </a:lnTo>
                <a:lnTo>
                  <a:pt x="8630" y="8716"/>
                </a:lnTo>
                <a:lnTo>
                  <a:pt x="8673" y="8673"/>
                </a:lnTo>
                <a:lnTo>
                  <a:pt x="8716" y="8630"/>
                </a:lnTo>
                <a:lnTo>
                  <a:pt x="8758" y="8585"/>
                </a:lnTo>
                <a:lnTo>
                  <a:pt x="8800" y="8541"/>
                </a:lnTo>
                <a:lnTo>
                  <a:pt x="8841" y="8496"/>
                </a:lnTo>
                <a:lnTo>
                  <a:pt x="8881" y="8451"/>
                </a:lnTo>
                <a:lnTo>
                  <a:pt x="8922" y="8405"/>
                </a:lnTo>
                <a:lnTo>
                  <a:pt x="8962" y="8359"/>
                </a:lnTo>
                <a:lnTo>
                  <a:pt x="9000" y="8312"/>
                </a:lnTo>
                <a:lnTo>
                  <a:pt x="9039" y="8265"/>
                </a:lnTo>
                <a:lnTo>
                  <a:pt x="9077" y="8217"/>
                </a:lnTo>
                <a:lnTo>
                  <a:pt x="9114" y="8169"/>
                </a:lnTo>
                <a:lnTo>
                  <a:pt x="9151" y="8120"/>
                </a:lnTo>
                <a:lnTo>
                  <a:pt x="9187" y="8071"/>
                </a:lnTo>
                <a:lnTo>
                  <a:pt x="9223" y="8022"/>
                </a:lnTo>
                <a:lnTo>
                  <a:pt x="9258" y="7971"/>
                </a:lnTo>
                <a:lnTo>
                  <a:pt x="9293" y="7921"/>
                </a:lnTo>
                <a:lnTo>
                  <a:pt x="9328" y="7869"/>
                </a:lnTo>
                <a:lnTo>
                  <a:pt x="9360" y="7819"/>
                </a:lnTo>
                <a:lnTo>
                  <a:pt x="9393" y="7767"/>
                </a:lnTo>
                <a:lnTo>
                  <a:pt x="9425" y="7715"/>
                </a:lnTo>
                <a:lnTo>
                  <a:pt x="9457" y="7662"/>
                </a:lnTo>
                <a:lnTo>
                  <a:pt x="9487" y="7609"/>
                </a:lnTo>
                <a:lnTo>
                  <a:pt x="9518" y="7555"/>
                </a:lnTo>
                <a:lnTo>
                  <a:pt x="9547" y="7502"/>
                </a:lnTo>
                <a:lnTo>
                  <a:pt x="9577" y="7447"/>
                </a:lnTo>
                <a:lnTo>
                  <a:pt x="9605" y="7393"/>
                </a:lnTo>
                <a:lnTo>
                  <a:pt x="9632" y="7338"/>
                </a:lnTo>
                <a:lnTo>
                  <a:pt x="9660" y="7283"/>
                </a:lnTo>
                <a:lnTo>
                  <a:pt x="9686" y="7227"/>
                </a:lnTo>
                <a:lnTo>
                  <a:pt x="9711" y="7171"/>
                </a:lnTo>
                <a:lnTo>
                  <a:pt x="9736" y="7115"/>
                </a:lnTo>
                <a:lnTo>
                  <a:pt x="9762" y="7057"/>
                </a:lnTo>
                <a:lnTo>
                  <a:pt x="9786" y="7001"/>
                </a:lnTo>
                <a:lnTo>
                  <a:pt x="9808" y="6943"/>
                </a:lnTo>
                <a:lnTo>
                  <a:pt x="9831" y="6885"/>
                </a:lnTo>
                <a:lnTo>
                  <a:pt x="9853" y="6827"/>
                </a:lnTo>
                <a:lnTo>
                  <a:pt x="9873" y="6768"/>
                </a:lnTo>
                <a:lnTo>
                  <a:pt x="9894" y="6710"/>
                </a:lnTo>
                <a:lnTo>
                  <a:pt x="9913" y="6651"/>
                </a:lnTo>
                <a:lnTo>
                  <a:pt x="9932" y="6591"/>
                </a:lnTo>
                <a:lnTo>
                  <a:pt x="9950" y="6531"/>
                </a:lnTo>
                <a:lnTo>
                  <a:pt x="9968" y="6471"/>
                </a:lnTo>
                <a:lnTo>
                  <a:pt x="9985" y="6411"/>
                </a:lnTo>
                <a:lnTo>
                  <a:pt x="10000" y="6350"/>
                </a:lnTo>
                <a:lnTo>
                  <a:pt x="10016" y="6289"/>
                </a:lnTo>
                <a:lnTo>
                  <a:pt x="10030" y="6228"/>
                </a:lnTo>
                <a:lnTo>
                  <a:pt x="10045" y="6166"/>
                </a:lnTo>
                <a:lnTo>
                  <a:pt x="10058" y="6104"/>
                </a:lnTo>
                <a:lnTo>
                  <a:pt x="10070" y="6042"/>
                </a:lnTo>
                <a:lnTo>
                  <a:pt x="10082" y="5979"/>
                </a:lnTo>
                <a:lnTo>
                  <a:pt x="10093" y="5917"/>
                </a:lnTo>
                <a:lnTo>
                  <a:pt x="10102" y="5853"/>
                </a:lnTo>
                <a:lnTo>
                  <a:pt x="10112" y="5791"/>
                </a:lnTo>
                <a:lnTo>
                  <a:pt x="10120" y="5727"/>
                </a:lnTo>
                <a:lnTo>
                  <a:pt x="10127" y="5664"/>
                </a:lnTo>
                <a:lnTo>
                  <a:pt x="10135" y="5599"/>
                </a:lnTo>
                <a:lnTo>
                  <a:pt x="10141" y="5536"/>
                </a:lnTo>
                <a:lnTo>
                  <a:pt x="10145" y="5471"/>
                </a:lnTo>
                <a:lnTo>
                  <a:pt x="10150" y="5406"/>
                </a:lnTo>
                <a:lnTo>
                  <a:pt x="10154" y="5341"/>
                </a:lnTo>
                <a:lnTo>
                  <a:pt x="10157" y="5277"/>
                </a:lnTo>
                <a:lnTo>
                  <a:pt x="10159" y="5212"/>
                </a:lnTo>
                <a:lnTo>
                  <a:pt x="10160" y="5146"/>
                </a:lnTo>
                <a:lnTo>
                  <a:pt x="10161" y="5080"/>
                </a:lnTo>
                <a:lnTo>
                  <a:pt x="10161" y="5080"/>
                </a:lnTo>
                <a:lnTo>
                  <a:pt x="10160" y="5015"/>
                </a:lnTo>
                <a:lnTo>
                  <a:pt x="10159" y="4949"/>
                </a:lnTo>
                <a:lnTo>
                  <a:pt x="10157" y="4884"/>
                </a:lnTo>
                <a:lnTo>
                  <a:pt x="10154" y="4818"/>
                </a:lnTo>
                <a:lnTo>
                  <a:pt x="10150" y="4754"/>
                </a:lnTo>
                <a:lnTo>
                  <a:pt x="10145" y="4689"/>
                </a:lnTo>
                <a:lnTo>
                  <a:pt x="10141" y="4625"/>
                </a:lnTo>
                <a:lnTo>
                  <a:pt x="10135" y="4561"/>
                </a:lnTo>
                <a:lnTo>
                  <a:pt x="10127" y="4497"/>
                </a:lnTo>
                <a:lnTo>
                  <a:pt x="10120" y="4434"/>
                </a:lnTo>
                <a:lnTo>
                  <a:pt x="10112" y="4370"/>
                </a:lnTo>
                <a:lnTo>
                  <a:pt x="10102" y="4306"/>
                </a:lnTo>
                <a:lnTo>
                  <a:pt x="10093" y="4244"/>
                </a:lnTo>
                <a:lnTo>
                  <a:pt x="10082" y="4180"/>
                </a:lnTo>
                <a:lnTo>
                  <a:pt x="10070" y="4118"/>
                </a:lnTo>
                <a:lnTo>
                  <a:pt x="10058" y="4057"/>
                </a:lnTo>
                <a:lnTo>
                  <a:pt x="10045" y="3995"/>
                </a:lnTo>
                <a:lnTo>
                  <a:pt x="10030" y="3933"/>
                </a:lnTo>
                <a:lnTo>
                  <a:pt x="10016" y="3871"/>
                </a:lnTo>
                <a:lnTo>
                  <a:pt x="10000" y="3811"/>
                </a:lnTo>
                <a:lnTo>
                  <a:pt x="9985" y="3750"/>
                </a:lnTo>
                <a:lnTo>
                  <a:pt x="9968" y="3690"/>
                </a:lnTo>
                <a:lnTo>
                  <a:pt x="9950" y="3629"/>
                </a:lnTo>
                <a:lnTo>
                  <a:pt x="9932" y="3570"/>
                </a:lnTo>
                <a:lnTo>
                  <a:pt x="9913" y="3510"/>
                </a:lnTo>
                <a:lnTo>
                  <a:pt x="9894" y="3451"/>
                </a:lnTo>
                <a:lnTo>
                  <a:pt x="9873" y="3391"/>
                </a:lnTo>
                <a:lnTo>
                  <a:pt x="9853" y="3334"/>
                </a:lnTo>
                <a:lnTo>
                  <a:pt x="9831" y="3275"/>
                </a:lnTo>
                <a:lnTo>
                  <a:pt x="9808" y="3218"/>
                </a:lnTo>
                <a:lnTo>
                  <a:pt x="9786" y="3160"/>
                </a:lnTo>
                <a:lnTo>
                  <a:pt x="9762" y="3102"/>
                </a:lnTo>
                <a:lnTo>
                  <a:pt x="9736" y="3046"/>
                </a:lnTo>
                <a:lnTo>
                  <a:pt x="9711" y="2990"/>
                </a:lnTo>
                <a:lnTo>
                  <a:pt x="9686" y="2933"/>
                </a:lnTo>
                <a:lnTo>
                  <a:pt x="9660" y="2878"/>
                </a:lnTo>
                <a:lnTo>
                  <a:pt x="9632" y="2822"/>
                </a:lnTo>
                <a:lnTo>
                  <a:pt x="9605" y="2768"/>
                </a:lnTo>
                <a:lnTo>
                  <a:pt x="9577" y="2713"/>
                </a:lnTo>
                <a:lnTo>
                  <a:pt x="9547" y="2659"/>
                </a:lnTo>
                <a:lnTo>
                  <a:pt x="9518" y="2605"/>
                </a:lnTo>
                <a:lnTo>
                  <a:pt x="9487" y="2552"/>
                </a:lnTo>
                <a:lnTo>
                  <a:pt x="9457" y="2498"/>
                </a:lnTo>
                <a:lnTo>
                  <a:pt x="9425" y="2446"/>
                </a:lnTo>
                <a:lnTo>
                  <a:pt x="9393" y="2394"/>
                </a:lnTo>
                <a:lnTo>
                  <a:pt x="9360" y="2342"/>
                </a:lnTo>
                <a:lnTo>
                  <a:pt x="9328" y="2291"/>
                </a:lnTo>
                <a:lnTo>
                  <a:pt x="9293" y="2240"/>
                </a:lnTo>
                <a:lnTo>
                  <a:pt x="9258" y="2190"/>
                </a:lnTo>
                <a:lnTo>
                  <a:pt x="9223" y="2139"/>
                </a:lnTo>
                <a:lnTo>
                  <a:pt x="9187" y="2090"/>
                </a:lnTo>
                <a:lnTo>
                  <a:pt x="9151" y="2041"/>
                </a:lnTo>
                <a:lnTo>
                  <a:pt x="9114" y="1992"/>
                </a:lnTo>
                <a:lnTo>
                  <a:pt x="9077" y="1944"/>
                </a:lnTo>
                <a:lnTo>
                  <a:pt x="9039" y="1896"/>
                </a:lnTo>
                <a:lnTo>
                  <a:pt x="9000" y="1849"/>
                </a:lnTo>
                <a:lnTo>
                  <a:pt x="8962" y="1802"/>
                </a:lnTo>
                <a:lnTo>
                  <a:pt x="8922" y="1756"/>
                </a:lnTo>
                <a:lnTo>
                  <a:pt x="8881" y="1710"/>
                </a:lnTo>
                <a:lnTo>
                  <a:pt x="8841" y="1665"/>
                </a:lnTo>
                <a:lnTo>
                  <a:pt x="8800" y="1619"/>
                </a:lnTo>
                <a:lnTo>
                  <a:pt x="8758" y="1575"/>
                </a:lnTo>
                <a:lnTo>
                  <a:pt x="8716" y="1531"/>
                </a:lnTo>
                <a:lnTo>
                  <a:pt x="8673" y="1488"/>
                </a:lnTo>
                <a:lnTo>
                  <a:pt x="8630" y="1445"/>
                </a:lnTo>
                <a:lnTo>
                  <a:pt x="8585" y="1403"/>
                </a:lnTo>
                <a:lnTo>
                  <a:pt x="8541" y="1361"/>
                </a:lnTo>
                <a:lnTo>
                  <a:pt x="8496" y="1319"/>
                </a:lnTo>
                <a:lnTo>
                  <a:pt x="8451" y="1278"/>
                </a:lnTo>
                <a:lnTo>
                  <a:pt x="8405" y="1239"/>
                </a:lnTo>
                <a:lnTo>
                  <a:pt x="8359" y="1199"/>
                </a:lnTo>
                <a:lnTo>
                  <a:pt x="8312" y="1160"/>
                </a:lnTo>
                <a:lnTo>
                  <a:pt x="8265" y="1121"/>
                </a:lnTo>
                <a:lnTo>
                  <a:pt x="8217" y="1083"/>
                </a:lnTo>
                <a:lnTo>
                  <a:pt x="8169" y="1046"/>
                </a:lnTo>
                <a:lnTo>
                  <a:pt x="8120" y="1009"/>
                </a:lnTo>
                <a:lnTo>
                  <a:pt x="8071" y="973"/>
                </a:lnTo>
                <a:lnTo>
                  <a:pt x="8022" y="937"/>
                </a:lnTo>
                <a:lnTo>
                  <a:pt x="7971" y="902"/>
                </a:lnTo>
                <a:lnTo>
                  <a:pt x="7921" y="867"/>
                </a:lnTo>
                <a:lnTo>
                  <a:pt x="7869" y="833"/>
                </a:lnTo>
                <a:lnTo>
                  <a:pt x="7819" y="800"/>
                </a:lnTo>
                <a:lnTo>
                  <a:pt x="7767" y="768"/>
                </a:lnTo>
                <a:lnTo>
                  <a:pt x="7715" y="735"/>
                </a:lnTo>
                <a:lnTo>
                  <a:pt x="7662" y="704"/>
                </a:lnTo>
                <a:lnTo>
                  <a:pt x="7609" y="673"/>
                </a:lnTo>
                <a:lnTo>
                  <a:pt x="7555" y="643"/>
                </a:lnTo>
                <a:lnTo>
                  <a:pt x="7502" y="613"/>
                </a:lnTo>
                <a:lnTo>
                  <a:pt x="7447" y="584"/>
                </a:lnTo>
                <a:lnTo>
                  <a:pt x="7393" y="555"/>
                </a:lnTo>
                <a:lnTo>
                  <a:pt x="7338" y="528"/>
                </a:lnTo>
                <a:lnTo>
                  <a:pt x="7283" y="501"/>
                </a:lnTo>
                <a:lnTo>
                  <a:pt x="7227" y="475"/>
                </a:lnTo>
                <a:lnTo>
                  <a:pt x="7171" y="449"/>
                </a:lnTo>
                <a:lnTo>
                  <a:pt x="7115" y="423"/>
                </a:lnTo>
                <a:lnTo>
                  <a:pt x="7057" y="399"/>
                </a:lnTo>
                <a:lnTo>
                  <a:pt x="7001" y="375"/>
                </a:lnTo>
                <a:lnTo>
                  <a:pt x="6943" y="353"/>
                </a:lnTo>
                <a:lnTo>
                  <a:pt x="6885" y="330"/>
                </a:lnTo>
                <a:lnTo>
                  <a:pt x="6827" y="308"/>
                </a:lnTo>
                <a:lnTo>
                  <a:pt x="6768" y="287"/>
                </a:lnTo>
                <a:lnTo>
                  <a:pt x="6710" y="266"/>
                </a:lnTo>
                <a:lnTo>
                  <a:pt x="6651" y="247"/>
                </a:lnTo>
                <a:lnTo>
                  <a:pt x="6591" y="228"/>
                </a:lnTo>
                <a:lnTo>
                  <a:pt x="6531" y="210"/>
                </a:lnTo>
                <a:lnTo>
                  <a:pt x="6471" y="193"/>
                </a:lnTo>
                <a:lnTo>
                  <a:pt x="6411" y="176"/>
                </a:lnTo>
                <a:lnTo>
                  <a:pt x="6350" y="159"/>
                </a:lnTo>
                <a:lnTo>
                  <a:pt x="6289" y="144"/>
                </a:lnTo>
                <a:lnTo>
                  <a:pt x="6228" y="130"/>
                </a:lnTo>
                <a:lnTo>
                  <a:pt x="6166" y="116"/>
                </a:lnTo>
                <a:lnTo>
                  <a:pt x="6104" y="103"/>
                </a:lnTo>
                <a:lnTo>
                  <a:pt x="6042" y="91"/>
                </a:lnTo>
                <a:lnTo>
                  <a:pt x="5979" y="79"/>
                </a:lnTo>
                <a:lnTo>
                  <a:pt x="5917" y="68"/>
                </a:lnTo>
                <a:lnTo>
                  <a:pt x="5853" y="59"/>
                </a:lnTo>
                <a:lnTo>
                  <a:pt x="5791" y="49"/>
                </a:lnTo>
                <a:lnTo>
                  <a:pt x="5727" y="41"/>
                </a:lnTo>
                <a:lnTo>
                  <a:pt x="5664" y="32"/>
                </a:lnTo>
                <a:lnTo>
                  <a:pt x="5599" y="26"/>
                </a:lnTo>
                <a:lnTo>
                  <a:pt x="5536" y="20"/>
                </a:lnTo>
                <a:lnTo>
                  <a:pt x="5471" y="14"/>
                </a:lnTo>
                <a:lnTo>
                  <a:pt x="5406" y="10"/>
                </a:lnTo>
                <a:lnTo>
                  <a:pt x="5341" y="6"/>
                </a:lnTo>
                <a:lnTo>
                  <a:pt x="5277" y="4"/>
                </a:lnTo>
                <a:lnTo>
                  <a:pt x="5212" y="1"/>
                </a:lnTo>
                <a:lnTo>
                  <a:pt x="5146" y="0"/>
                </a:lnTo>
                <a:lnTo>
                  <a:pt x="5080" y="0"/>
                </a:lnTo>
                <a:lnTo>
                  <a:pt x="5080" y="0"/>
                </a:lnTo>
                <a:close/>
                <a:moveTo>
                  <a:pt x="3105" y="3713"/>
                </a:moveTo>
                <a:lnTo>
                  <a:pt x="3105" y="3713"/>
                </a:lnTo>
                <a:lnTo>
                  <a:pt x="3147" y="3691"/>
                </a:lnTo>
                <a:lnTo>
                  <a:pt x="3189" y="3673"/>
                </a:lnTo>
                <a:lnTo>
                  <a:pt x="3230" y="3656"/>
                </a:lnTo>
                <a:lnTo>
                  <a:pt x="3271" y="3642"/>
                </a:lnTo>
                <a:lnTo>
                  <a:pt x="3315" y="3630"/>
                </a:lnTo>
                <a:lnTo>
                  <a:pt x="3357" y="3620"/>
                </a:lnTo>
                <a:lnTo>
                  <a:pt x="3400" y="3613"/>
                </a:lnTo>
                <a:lnTo>
                  <a:pt x="3442" y="3607"/>
                </a:lnTo>
                <a:lnTo>
                  <a:pt x="3485" y="3604"/>
                </a:lnTo>
                <a:lnTo>
                  <a:pt x="3528" y="3602"/>
                </a:lnTo>
                <a:lnTo>
                  <a:pt x="3572" y="3604"/>
                </a:lnTo>
                <a:lnTo>
                  <a:pt x="3616" y="3607"/>
                </a:lnTo>
                <a:lnTo>
                  <a:pt x="3660" y="3613"/>
                </a:lnTo>
                <a:lnTo>
                  <a:pt x="3703" y="3620"/>
                </a:lnTo>
                <a:lnTo>
                  <a:pt x="3748" y="3631"/>
                </a:lnTo>
                <a:lnTo>
                  <a:pt x="3792" y="3643"/>
                </a:lnTo>
                <a:lnTo>
                  <a:pt x="3792" y="3643"/>
                </a:lnTo>
                <a:lnTo>
                  <a:pt x="4388" y="3826"/>
                </a:lnTo>
                <a:lnTo>
                  <a:pt x="4984" y="4009"/>
                </a:lnTo>
                <a:lnTo>
                  <a:pt x="4984" y="4009"/>
                </a:lnTo>
                <a:lnTo>
                  <a:pt x="4995" y="4013"/>
                </a:lnTo>
                <a:lnTo>
                  <a:pt x="5008" y="4019"/>
                </a:lnTo>
                <a:lnTo>
                  <a:pt x="5043" y="4034"/>
                </a:lnTo>
                <a:lnTo>
                  <a:pt x="5043" y="4034"/>
                </a:lnTo>
                <a:lnTo>
                  <a:pt x="4648" y="4209"/>
                </a:lnTo>
                <a:lnTo>
                  <a:pt x="4648" y="4209"/>
                </a:lnTo>
                <a:lnTo>
                  <a:pt x="4396" y="4321"/>
                </a:lnTo>
                <a:lnTo>
                  <a:pt x="4270" y="4377"/>
                </a:lnTo>
                <a:lnTo>
                  <a:pt x="4145" y="4435"/>
                </a:lnTo>
                <a:lnTo>
                  <a:pt x="4145" y="4435"/>
                </a:lnTo>
                <a:lnTo>
                  <a:pt x="4127" y="4442"/>
                </a:lnTo>
                <a:lnTo>
                  <a:pt x="4110" y="4447"/>
                </a:lnTo>
                <a:lnTo>
                  <a:pt x="4093" y="4450"/>
                </a:lnTo>
                <a:lnTo>
                  <a:pt x="4076" y="4450"/>
                </a:lnTo>
                <a:lnTo>
                  <a:pt x="4059" y="4449"/>
                </a:lnTo>
                <a:lnTo>
                  <a:pt x="4043" y="4444"/>
                </a:lnTo>
                <a:lnTo>
                  <a:pt x="4026" y="4438"/>
                </a:lnTo>
                <a:lnTo>
                  <a:pt x="4009" y="4429"/>
                </a:lnTo>
                <a:lnTo>
                  <a:pt x="4009" y="4429"/>
                </a:lnTo>
                <a:lnTo>
                  <a:pt x="3562" y="4157"/>
                </a:lnTo>
                <a:lnTo>
                  <a:pt x="3114" y="3884"/>
                </a:lnTo>
                <a:lnTo>
                  <a:pt x="3114" y="3884"/>
                </a:lnTo>
                <a:lnTo>
                  <a:pt x="3102" y="3877"/>
                </a:lnTo>
                <a:lnTo>
                  <a:pt x="3092" y="3869"/>
                </a:lnTo>
                <a:lnTo>
                  <a:pt x="3092" y="3869"/>
                </a:lnTo>
                <a:lnTo>
                  <a:pt x="3076" y="3857"/>
                </a:lnTo>
                <a:lnTo>
                  <a:pt x="3063" y="3845"/>
                </a:lnTo>
                <a:lnTo>
                  <a:pt x="3051" y="3834"/>
                </a:lnTo>
                <a:lnTo>
                  <a:pt x="3041" y="3823"/>
                </a:lnTo>
                <a:lnTo>
                  <a:pt x="3035" y="3814"/>
                </a:lnTo>
                <a:lnTo>
                  <a:pt x="3030" y="3804"/>
                </a:lnTo>
                <a:lnTo>
                  <a:pt x="3028" y="3794"/>
                </a:lnTo>
                <a:lnTo>
                  <a:pt x="3027" y="3785"/>
                </a:lnTo>
                <a:lnTo>
                  <a:pt x="3029" y="3776"/>
                </a:lnTo>
                <a:lnTo>
                  <a:pt x="3034" y="3768"/>
                </a:lnTo>
                <a:lnTo>
                  <a:pt x="3040" y="3758"/>
                </a:lnTo>
                <a:lnTo>
                  <a:pt x="3048" y="3750"/>
                </a:lnTo>
                <a:lnTo>
                  <a:pt x="3059" y="3740"/>
                </a:lnTo>
                <a:lnTo>
                  <a:pt x="3072" y="3732"/>
                </a:lnTo>
                <a:lnTo>
                  <a:pt x="3088" y="3722"/>
                </a:lnTo>
                <a:lnTo>
                  <a:pt x="3105" y="3713"/>
                </a:lnTo>
                <a:lnTo>
                  <a:pt x="3105" y="3713"/>
                </a:lnTo>
                <a:close/>
                <a:moveTo>
                  <a:pt x="8390" y="3832"/>
                </a:moveTo>
                <a:lnTo>
                  <a:pt x="8390" y="3832"/>
                </a:lnTo>
                <a:lnTo>
                  <a:pt x="8258" y="3923"/>
                </a:lnTo>
                <a:lnTo>
                  <a:pt x="8191" y="3967"/>
                </a:lnTo>
                <a:lnTo>
                  <a:pt x="8124" y="4011"/>
                </a:lnTo>
                <a:lnTo>
                  <a:pt x="8056" y="4056"/>
                </a:lnTo>
                <a:lnTo>
                  <a:pt x="7989" y="4098"/>
                </a:lnTo>
                <a:lnTo>
                  <a:pt x="7920" y="4139"/>
                </a:lnTo>
                <a:lnTo>
                  <a:pt x="7850" y="4177"/>
                </a:lnTo>
                <a:lnTo>
                  <a:pt x="7850" y="4177"/>
                </a:lnTo>
                <a:lnTo>
                  <a:pt x="7693" y="4260"/>
                </a:lnTo>
                <a:lnTo>
                  <a:pt x="7536" y="4342"/>
                </a:lnTo>
                <a:lnTo>
                  <a:pt x="7378" y="4423"/>
                </a:lnTo>
                <a:lnTo>
                  <a:pt x="7219" y="4503"/>
                </a:lnTo>
                <a:lnTo>
                  <a:pt x="6902" y="4663"/>
                </a:lnTo>
                <a:lnTo>
                  <a:pt x="6584" y="4821"/>
                </a:lnTo>
                <a:lnTo>
                  <a:pt x="6584" y="4821"/>
                </a:lnTo>
                <a:lnTo>
                  <a:pt x="6556" y="4836"/>
                </a:lnTo>
                <a:lnTo>
                  <a:pt x="6530" y="4853"/>
                </a:lnTo>
                <a:lnTo>
                  <a:pt x="6506" y="4872"/>
                </a:lnTo>
                <a:lnTo>
                  <a:pt x="6484" y="4893"/>
                </a:lnTo>
                <a:lnTo>
                  <a:pt x="6464" y="4914"/>
                </a:lnTo>
                <a:lnTo>
                  <a:pt x="6446" y="4938"/>
                </a:lnTo>
                <a:lnTo>
                  <a:pt x="6430" y="4965"/>
                </a:lnTo>
                <a:lnTo>
                  <a:pt x="6416" y="4994"/>
                </a:lnTo>
                <a:lnTo>
                  <a:pt x="6416" y="4994"/>
                </a:lnTo>
                <a:lnTo>
                  <a:pt x="5905" y="6098"/>
                </a:lnTo>
                <a:lnTo>
                  <a:pt x="5648" y="6650"/>
                </a:lnTo>
                <a:lnTo>
                  <a:pt x="5392" y="7201"/>
                </a:lnTo>
                <a:lnTo>
                  <a:pt x="5392" y="7201"/>
                </a:lnTo>
                <a:lnTo>
                  <a:pt x="5371" y="7243"/>
                </a:lnTo>
                <a:lnTo>
                  <a:pt x="5349" y="7283"/>
                </a:lnTo>
                <a:lnTo>
                  <a:pt x="5326" y="7321"/>
                </a:lnTo>
                <a:lnTo>
                  <a:pt x="5301" y="7358"/>
                </a:lnTo>
                <a:lnTo>
                  <a:pt x="5274" y="7394"/>
                </a:lnTo>
                <a:lnTo>
                  <a:pt x="5247" y="7428"/>
                </a:lnTo>
                <a:lnTo>
                  <a:pt x="5218" y="7462"/>
                </a:lnTo>
                <a:lnTo>
                  <a:pt x="5187" y="7492"/>
                </a:lnTo>
                <a:lnTo>
                  <a:pt x="5154" y="7522"/>
                </a:lnTo>
                <a:lnTo>
                  <a:pt x="5119" y="7549"/>
                </a:lnTo>
                <a:lnTo>
                  <a:pt x="5083" y="7575"/>
                </a:lnTo>
                <a:lnTo>
                  <a:pt x="5046" y="7599"/>
                </a:lnTo>
                <a:lnTo>
                  <a:pt x="5008" y="7622"/>
                </a:lnTo>
                <a:lnTo>
                  <a:pt x="4967" y="7643"/>
                </a:lnTo>
                <a:lnTo>
                  <a:pt x="4925" y="7662"/>
                </a:lnTo>
                <a:lnTo>
                  <a:pt x="4881" y="7679"/>
                </a:lnTo>
                <a:lnTo>
                  <a:pt x="4881" y="7679"/>
                </a:lnTo>
                <a:lnTo>
                  <a:pt x="4860" y="7686"/>
                </a:lnTo>
                <a:lnTo>
                  <a:pt x="4841" y="7692"/>
                </a:lnTo>
                <a:lnTo>
                  <a:pt x="4824" y="7695"/>
                </a:lnTo>
                <a:lnTo>
                  <a:pt x="4809" y="7697"/>
                </a:lnTo>
                <a:lnTo>
                  <a:pt x="4796" y="7698"/>
                </a:lnTo>
                <a:lnTo>
                  <a:pt x="4784" y="7697"/>
                </a:lnTo>
                <a:lnTo>
                  <a:pt x="4773" y="7693"/>
                </a:lnTo>
                <a:lnTo>
                  <a:pt x="4765" y="7687"/>
                </a:lnTo>
                <a:lnTo>
                  <a:pt x="4759" y="7681"/>
                </a:lnTo>
                <a:lnTo>
                  <a:pt x="4753" y="7671"/>
                </a:lnTo>
                <a:lnTo>
                  <a:pt x="4749" y="7661"/>
                </a:lnTo>
                <a:lnTo>
                  <a:pt x="4748" y="7647"/>
                </a:lnTo>
                <a:lnTo>
                  <a:pt x="4747" y="7632"/>
                </a:lnTo>
                <a:lnTo>
                  <a:pt x="4748" y="7614"/>
                </a:lnTo>
                <a:lnTo>
                  <a:pt x="4749" y="7595"/>
                </a:lnTo>
                <a:lnTo>
                  <a:pt x="4753" y="7572"/>
                </a:lnTo>
                <a:lnTo>
                  <a:pt x="4753" y="7572"/>
                </a:lnTo>
                <a:lnTo>
                  <a:pt x="4790" y="7366"/>
                </a:lnTo>
                <a:lnTo>
                  <a:pt x="4827" y="7158"/>
                </a:lnTo>
                <a:lnTo>
                  <a:pt x="4905" y="6744"/>
                </a:lnTo>
                <a:lnTo>
                  <a:pt x="4905" y="6744"/>
                </a:lnTo>
                <a:lnTo>
                  <a:pt x="5016" y="6148"/>
                </a:lnTo>
                <a:lnTo>
                  <a:pt x="5130" y="5552"/>
                </a:lnTo>
                <a:lnTo>
                  <a:pt x="5130" y="5552"/>
                </a:lnTo>
                <a:lnTo>
                  <a:pt x="5131" y="5539"/>
                </a:lnTo>
                <a:lnTo>
                  <a:pt x="5133" y="5524"/>
                </a:lnTo>
                <a:lnTo>
                  <a:pt x="5135" y="5483"/>
                </a:lnTo>
                <a:lnTo>
                  <a:pt x="5135" y="5483"/>
                </a:lnTo>
                <a:lnTo>
                  <a:pt x="4905" y="5584"/>
                </a:lnTo>
                <a:lnTo>
                  <a:pt x="4683" y="5681"/>
                </a:lnTo>
                <a:lnTo>
                  <a:pt x="4683" y="5681"/>
                </a:lnTo>
                <a:lnTo>
                  <a:pt x="4510" y="5755"/>
                </a:lnTo>
                <a:lnTo>
                  <a:pt x="4338" y="5828"/>
                </a:lnTo>
                <a:lnTo>
                  <a:pt x="4250" y="5863"/>
                </a:lnTo>
                <a:lnTo>
                  <a:pt x="4162" y="5899"/>
                </a:lnTo>
                <a:lnTo>
                  <a:pt x="4076" y="5933"/>
                </a:lnTo>
                <a:lnTo>
                  <a:pt x="3989" y="5966"/>
                </a:lnTo>
                <a:lnTo>
                  <a:pt x="3900" y="5999"/>
                </a:lnTo>
                <a:lnTo>
                  <a:pt x="3811" y="6030"/>
                </a:lnTo>
                <a:lnTo>
                  <a:pt x="3722" y="6060"/>
                </a:lnTo>
                <a:lnTo>
                  <a:pt x="3634" y="6088"/>
                </a:lnTo>
                <a:lnTo>
                  <a:pt x="3544" y="6115"/>
                </a:lnTo>
                <a:lnTo>
                  <a:pt x="3453" y="6141"/>
                </a:lnTo>
                <a:lnTo>
                  <a:pt x="3363" y="6165"/>
                </a:lnTo>
                <a:lnTo>
                  <a:pt x="3270" y="6187"/>
                </a:lnTo>
                <a:lnTo>
                  <a:pt x="3270" y="6187"/>
                </a:lnTo>
                <a:lnTo>
                  <a:pt x="3188" y="6206"/>
                </a:lnTo>
                <a:lnTo>
                  <a:pt x="3104" y="6223"/>
                </a:lnTo>
                <a:lnTo>
                  <a:pt x="3020" y="6238"/>
                </a:lnTo>
                <a:lnTo>
                  <a:pt x="2978" y="6246"/>
                </a:lnTo>
                <a:lnTo>
                  <a:pt x="2936" y="6252"/>
                </a:lnTo>
                <a:lnTo>
                  <a:pt x="2894" y="6256"/>
                </a:lnTo>
                <a:lnTo>
                  <a:pt x="2852" y="6261"/>
                </a:lnTo>
                <a:lnTo>
                  <a:pt x="2809" y="6265"/>
                </a:lnTo>
                <a:lnTo>
                  <a:pt x="2767" y="6267"/>
                </a:lnTo>
                <a:lnTo>
                  <a:pt x="2723" y="6268"/>
                </a:lnTo>
                <a:lnTo>
                  <a:pt x="2680" y="6268"/>
                </a:lnTo>
                <a:lnTo>
                  <a:pt x="2638" y="6267"/>
                </a:lnTo>
                <a:lnTo>
                  <a:pt x="2595" y="6265"/>
                </a:lnTo>
                <a:lnTo>
                  <a:pt x="2595" y="6265"/>
                </a:lnTo>
                <a:lnTo>
                  <a:pt x="2556" y="6261"/>
                </a:lnTo>
                <a:lnTo>
                  <a:pt x="2520" y="6256"/>
                </a:lnTo>
                <a:lnTo>
                  <a:pt x="2484" y="6249"/>
                </a:lnTo>
                <a:lnTo>
                  <a:pt x="2449" y="6240"/>
                </a:lnTo>
                <a:lnTo>
                  <a:pt x="2416" y="6229"/>
                </a:lnTo>
                <a:lnTo>
                  <a:pt x="2385" y="6216"/>
                </a:lnTo>
                <a:lnTo>
                  <a:pt x="2355" y="6200"/>
                </a:lnTo>
                <a:lnTo>
                  <a:pt x="2326" y="6182"/>
                </a:lnTo>
                <a:lnTo>
                  <a:pt x="2300" y="6163"/>
                </a:lnTo>
                <a:lnTo>
                  <a:pt x="2275" y="6141"/>
                </a:lnTo>
                <a:lnTo>
                  <a:pt x="2251" y="6117"/>
                </a:lnTo>
                <a:lnTo>
                  <a:pt x="2228" y="6091"/>
                </a:lnTo>
                <a:lnTo>
                  <a:pt x="2207" y="6062"/>
                </a:lnTo>
                <a:lnTo>
                  <a:pt x="2187" y="6031"/>
                </a:lnTo>
                <a:lnTo>
                  <a:pt x="2169" y="5996"/>
                </a:lnTo>
                <a:lnTo>
                  <a:pt x="2153" y="5960"/>
                </a:lnTo>
                <a:lnTo>
                  <a:pt x="2153" y="5960"/>
                </a:lnTo>
                <a:lnTo>
                  <a:pt x="2102" y="5841"/>
                </a:lnTo>
                <a:lnTo>
                  <a:pt x="2052" y="5724"/>
                </a:lnTo>
                <a:lnTo>
                  <a:pt x="1948" y="5489"/>
                </a:lnTo>
                <a:lnTo>
                  <a:pt x="1843" y="5255"/>
                </a:lnTo>
                <a:lnTo>
                  <a:pt x="1739" y="5020"/>
                </a:lnTo>
                <a:lnTo>
                  <a:pt x="1739" y="5020"/>
                </a:lnTo>
                <a:lnTo>
                  <a:pt x="1720" y="4976"/>
                </a:lnTo>
                <a:lnTo>
                  <a:pt x="1720" y="4976"/>
                </a:lnTo>
                <a:lnTo>
                  <a:pt x="1709" y="4947"/>
                </a:lnTo>
                <a:lnTo>
                  <a:pt x="1700" y="4920"/>
                </a:lnTo>
                <a:lnTo>
                  <a:pt x="1696" y="4895"/>
                </a:lnTo>
                <a:lnTo>
                  <a:pt x="1693" y="4871"/>
                </a:lnTo>
                <a:lnTo>
                  <a:pt x="1693" y="4850"/>
                </a:lnTo>
                <a:lnTo>
                  <a:pt x="1694" y="4839"/>
                </a:lnTo>
                <a:lnTo>
                  <a:pt x="1696" y="4829"/>
                </a:lnTo>
                <a:lnTo>
                  <a:pt x="1698" y="4820"/>
                </a:lnTo>
                <a:lnTo>
                  <a:pt x="1702" y="4810"/>
                </a:lnTo>
                <a:lnTo>
                  <a:pt x="1705" y="4802"/>
                </a:lnTo>
                <a:lnTo>
                  <a:pt x="1710" y="4793"/>
                </a:lnTo>
                <a:lnTo>
                  <a:pt x="1716" y="4786"/>
                </a:lnTo>
                <a:lnTo>
                  <a:pt x="1722" y="4778"/>
                </a:lnTo>
                <a:lnTo>
                  <a:pt x="1728" y="4772"/>
                </a:lnTo>
                <a:lnTo>
                  <a:pt x="1736" y="4765"/>
                </a:lnTo>
                <a:lnTo>
                  <a:pt x="1744" y="4759"/>
                </a:lnTo>
                <a:lnTo>
                  <a:pt x="1753" y="4753"/>
                </a:lnTo>
                <a:lnTo>
                  <a:pt x="1772" y="4743"/>
                </a:lnTo>
                <a:lnTo>
                  <a:pt x="1794" y="4735"/>
                </a:lnTo>
                <a:lnTo>
                  <a:pt x="1819" y="4727"/>
                </a:lnTo>
                <a:lnTo>
                  <a:pt x="1847" y="4723"/>
                </a:lnTo>
                <a:lnTo>
                  <a:pt x="1878" y="4719"/>
                </a:lnTo>
                <a:lnTo>
                  <a:pt x="1878" y="4719"/>
                </a:lnTo>
                <a:lnTo>
                  <a:pt x="1895" y="4719"/>
                </a:lnTo>
                <a:lnTo>
                  <a:pt x="1913" y="4719"/>
                </a:lnTo>
                <a:lnTo>
                  <a:pt x="1930" y="4719"/>
                </a:lnTo>
                <a:lnTo>
                  <a:pt x="1946" y="4720"/>
                </a:lnTo>
                <a:lnTo>
                  <a:pt x="1962" y="4723"/>
                </a:lnTo>
                <a:lnTo>
                  <a:pt x="1979" y="4725"/>
                </a:lnTo>
                <a:lnTo>
                  <a:pt x="1994" y="4729"/>
                </a:lnTo>
                <a:lnTo>
                  <a:pt x="2010" y="4733"/>
                </a:lnTo>
                <a:lnTo>
                  <a:pt x="2025" y="4738"/>
                </a:lnTo>
                <a:lnTo>
                  <a:pt x="2041" y="4744"/>
                </a:lnTo>
                <a:lnTo>
                  <a:pt x="2057" y="4750"/>
                </a:lnTo>
                <a:lnTo>
                  <a:pt x="2071" y="4757"/>
                </a:lnTo>
                <a:lnTo>
                  <a:pt x="2087" y="4766"/>
                </a:lnTo>
                <a:lnTo>
                  <a:pt x="2101" y="4774"/>
                </a:lnTo>
                <a:lnTo>
                  <a:pt x="2115" y="4784"/>
                </a:lnTo>
                <a:lnTo>
                  <a:pt x="2130" y="4793"/>
                </a:lnTo>
                <a:lnTo>
                  <a:pt x="2130" y="4793"/>
                </a:lnTo>
                <a:lnTo>
                  <a:pt x="2264" y="4894"/>
                </a:lnTo>
                <a:lnTo>
                  <a:pt x="2398" y="4994"/>
                </a:lnTo>
                <a:lnTo>
                  <a:pt x="2533" y="5093"/>
                </a:lnTo>
                <a:lnTo>
                  <a:pt x="2600" y="5143"/>
                </a:lnTo>
                <a:lnTo>
                  <a:pt x="2666" y="5195"/>
                </a:lnTo>
                <a:lnTo>
                  <a:pt x="2666" y="5195"/>
                </a:lnTo>
                <a:lnTo>
                  <a:pt x="2687" y="5211"/>
                </a:lnTo>
                <a:lnTo>
                  <a:pt x="2710" y="5225"/>
                </a:lnTo>
                <a:lnTo>
                  <a:pt x="2733" y="5238"/>
                </a:lnTo>
                <a:lnTo>
                  <a:pt x="2755" y="5249"/>
                </a:lnTo>
                <a:lnTo>
                  <a:pt x="2777" y="5257"/>
                </a:lnTo>
                <a:lnTo>
                  <a:pt x="2800" y="5265"/>
                </a:lnTo>
                <a:lnTo>
                  <a:pt x="2823" y="5269"/>
                </a:lnTo>
                <a:lnTo>
                  <a:pt x="2846" y="5272"/>
                </a:lnTo>
                <a:lnTo>
                  <a:pt x="2870" y="5273"/>
                </a:lnTo>
                <a:lnTo>
                  <a:pt x="2893" y="5273"/>
                </a:lnTo>
                <a:lnTo>
                  <a:pt x="2917" y="5271"/>
                </a:lnTo>
                <a:lnTo>
                  <a:pt x="2940" y="5267"/>
                </a:lnTo>
                <a:lnTo>
                  <a:pt x="2964" y="5261"/>
                </a:lnTo>
                <a:lnTo>
                  <a:pt x="2988" y="5254"/>
                </a:lnTo>
                <a:lnTo>
                  <a:pt x="3014" y="5244"/>
                </a:lnTo>
                <a:lnTo>
                  <a:pt x="3039" y="5235"/>
                </a:lnTo>
                <a:lnTo>
                  <a:pt x="3039" y="5235"/>
                </a:lnTo>
                <a:lnTo>
                  <a:pt x="4690" y="4496"/>
                </a:lnTo>
                <a:lnTo>
                  <a:pt x="6343" y="3758"/>
                </a:lnTo>
                <a:lnTo>
                  <a:pt x="6343" y="3758"/>
                </a:lnTo>
                <a:lnTo>
                  <a:pt x="6544" y="3668"/>
                </a:lnTo>
                <a:lnTo>
                  <a:pt x="6645" y="3623"/>
                </a:lnTo>
                <a:lnTo>
                  <a:pt x="6746" y="3578"/>
                </a:lnTo>
                <a:lnTo>
                  <a:pt x="6848" y="3535"/>
                </a:lnTo>
                <a:lnTo>
                  <a:pt x="6949" y="3493"/>
                </a:lnTo>
                <a:lnTo>
                  <a:pt x="7051" y="3453"/>
                </a:lnTo>
                <a:lnTo>
                  <a:pt x="7155" y="3414"/>
                </a:lnTo>
                <a:lnTo>
                  <a:pt x="7155" y="3414"/>
                </a:lnTo>
                <a:lnTo>
                  <a:pt x="7221" y="3393"/>
                </a:lnTo>
                <a:lnTo>
                  <a:pt x="7254" y="3383"/>
                </a:lnTo>
                <a:lnTo>
                  <a:pt x="7286" y="3373"/>
                </a:lnTo>
                <a:lnTo>
                  <a:pt x="7319" y="3365"/>
                </a:lnTo>
                <a:lnTo>
                  <a:pt x="7352" y="3358"/>
                </a:lnTo>
                <a:lnTo>
                  <a:pt x="7385" y="3351"/>
                </a:lnTo>
                <a:lnTo>
                  <a:pt x="7418" y="3346"/>
                </a:lnTo>
                <a:lnTo>
                  <a:pt x="7451" y="3340"/>
                </a:lnTo>
                <a:lnTo>
                  <a:pt x="7484" y="3336"/>
                </a:lnTo>
                <a:lnTo>
                  <a:pt x="7517" y="3333"/>
                </a:lnTo>
                <a:lnTo>
                  <a:pt x="7550" y="3329"/>
                </a:lnTo>
                <a:lnTo>
                  <a:pt x="7583" y="3328"/>
                </a:lnTo>
                <a:lnTo>
                  <a:pt x="7616" y="3327"/>
                </a:lnTo>
                <a:lnTo>
                  <a:pt x="7649" y="3327"/>
                </a:lnTo>
                <a:lnTo>
                  <a:pt x="7681" y="3327"/>
                </a:lnTo>
                <a:lnTo>
                  <a:pt x="7715" y="3329"/>
                </a:lnTo>
                <a:lnTo>
                  <a:pt x="7747" y="3331"/>
                </a:lnTo>
                <a:lnTo>
                  <a:pt x="7779" y="3334"/>
                </a:lnTo>
                <a:lnTo>
                  <a:pt x="7813" y="3339"/>
                </a:lnTo>
                <a:lnTo>
                  <a:pt x="7845" y="3343"/>
                </a:lnTo>
                <a:lnTo>
                  <a:pt x="7878" y="3349"/>
                </a:lnTo>
                <a:lnTo>
                  <a:pt x="7910" y="3357"/>
                </a:lnTo>
                <a:lnTo>
                  <a:pt x="7942" y="3364"/>
                </a:lnTo>
                <a:lnTo>
                  <a:pt x="7976" y="3372"/>
                </a:lnTo>
                <a:lnTo>
                  <a:pt x="8008" y="3382"/>
                </a:lnTo>
                <a:lnTo>
                  <a:pt x="8041" y="3393"/>
                </a:lnTo>
                <a:lnTo>
                  <a:pt x="8072" y="3405"/>
                </a:lnTo>
                <a:lnTo>
                  <a:pt x="8104" y="3417"/>
                </a:lnTo>
                <a:lnTo>
                  <a:pt x="8137" y="3430"/>
                </a:lnTo>
                <a:lnTo>
                  <a:pt x="8169" y="3444"/>
                </a:lnTo>
                <a:lnTo>
                  <a:pt x="8200" y="3460"/>
                </a:lnTo>
                <a:lnTo>
                  <a:pt x="8200" y="3460"/>
                </a:lnTo>
                <a:lnTo>
                  <a:pt x="8229" y="3475"/>
                </a:lnTo>
                <a:lnTo>
                  <a:pt x="8257" y="3492"/>
                </a:lnTo>
                <a:lnTo>
                  <a:pt x="8284" y="3510"/>
                </a:lnTo>
                <a:lnTo>
                  <a:pt x="8311" y="3529"/>
                </a:lnTo>
                <a:lnTo>
                  <a:pt x="8336" y="3550"/>
                </a:lnTo>
                <a:lnTo>
                  <a:pt x="8361" y="3571"/>
                </a:lnTo>
                <a:lnTo>
                  <a:pt x="8386" y="3593"/>
                </a:lnTo>
                <a:lnTo>
                  <a:pt x="8409" y="3616"/>
                </a:lnTo>
                <a:lnTo>
                  <a:pt x="8409" y="3616"/>
                </a:lnTo>
                <a:lnTo>
                  <a:pt x="8423" y="3631"/>
                </a:lnTo>
                <a:lnTo>
                  <a:pt x="8437" y="3646"/>
                </a:lnTo>
                <a:lnTo>
                  <a:pt x="8447" y="3661"/>
                </a:lnTo>
                <a:lnTo>
                  <a:pt x="8456" y="3676"/>
                </a:lnTo>
                <a:lnTo>
                  <a:pt x="8462" y="3690"/>
                </a:lnTo>
                <a:lnTo>
                  <a:pt x="8465" y="3703"/>
                </a:lnTo>
                <a:lnTo>
                  <a:pt x="8468" y="3716"/>
                </a:lnTo>
                <a:lnTo>
                  <a:pt x="8468" y="3731"/>
                </a:lnTo>
                <a:lnTo>
                  <a:pt x="8465" y="3744"/>
                </a:lnTo>
                <a:lnTo>
                  <a:pt x="8461" y="3757"/>
                </a:lnTo>
                <a:lnTo>
                  <a:pt x="8455" y="3769"/>
                </a:lnTo>
                <a:lnTo>
                  <a:pt x="8446" y="3782"/>
                </a:lnTo>
                <a:lnTo>
                  <a:pt x="8435" y="3794"/>
                </a:lnTo>
                <a:lnTo>
                  <a:pt x="8422" y="3808"/>
                </a:lnTo>
                <a:lnTo>
                  <a:pt x="8407" y="3820"/>
                </a:lnTo>
                <a:lnTo>
                  <a:pt x="8390" y="3832"/>
                </a:lnTo>
                <a:lnTo>
                  <a:pt x="8390" y="383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1" name="TextBox 11"/>
          <p:cNvSpPr txBox="1">
            <a:spLocks noChangeArrowheads="1"/>
          </p:cNvSpPr>
          <p:nvPr userDrawn="1"/>
        </p:nvSpPr>
        <p:spPr bwMode="auto">
          <a:xfrm>
            <a:off x="3226350" y="3633332"/>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ne</a:t>
            </a:r>
          </a:p>
        </p:txBody>
      </p:sp>
      <p:sp>
        <p:nvSpPr>
          <p:cNvPr id="68" name="TextBox 67"/>
          <p:cNvSpPr txBox="1"/>
          <p:nvPr userDrawn="1"/>
        </p:nvSpPr>
        <p:spPr>
          <a:xfrm>
            <a:off x="271148" y="196754"/>
            <a:ext cx="10884532"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BRAND SECTORS, FOOD AND DRINK, FILM GENRES,</a:t>
            </a:r>
            <a:r>
              <a:rPr lang="en-US" sz="2800" b="0" kern="1200" cap="all" spc="0" baseline="0" dirty="0">
                <a:ln w="22225">
                  <a:noFill/>
                  <a:prstDash val="solid"/>
                </a:ln>
                <a:solidFill>
                  <a:srgbClr val="000000"/>
                </a:solidFill>
                <a:effectLst/>
                <a:latin typeface="+mj-lt"/>
                <a:ea typeface="+mj-ea"/>
                <a:cs typeface="+mj-cs"/>
              </a:rPr>
              <a:t> SEASONS</a:t>
            </a:r>
            <a:endParaRPr lang="en-US" sz="2800" b="0" kern="1200" cap="all" spc="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288785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cons_4">
    <p:spTree>
      <p:nvGrpSpPr>
        <p:cNvPr id="1" name=""/>
        <p:cNvGrpSpPr/>
        <p:nvPr/>
      </p:nvGrpSpPr>
      <p:grpSpPr>
        <a:xfrm>
          <a:off x="0" y="0"/>
          <a:ext cx="0" cy="0"/>
          <a:chOff x="0" y="0"/>
          <a:chExt cx="0" cy="0"/>
        </a:xfrm>
      </p:grpSpPr>
      <p:sp>
        <p:nvSpPr>
          <p:cNvPr id="5" name="TextBox 11"/>
          <p:cNvSpPr txBox="1">
            <a:spLocks noChangeArrowheads="1"/>
          </p:cNvSpPr>
          <p:nvPr userDrawn="1"/>
        </p:nvSpPr>
        <p:spPr bwMode="auto">
          <a:xfrm>
            <a:off x="4708185" y="3622047"/>
            <a:ext cx="1069369"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pecial</a:t>
            </a:r>
          </a:p>
        </p:txBody>
      </p:sp>
      <p:sp>
        <p:nvSpPr>
          <p:cNvPr id="6" name="TextBox 12"/>
          <p:cNvSpPr txBox="1">
            <a:spLocks noChangeArrowheads="1"/>
          </p:cNvSpPr>
          <p:nvPr userDrawn="1"/>
        </p:nvSpPr>
        <p:spPr bwMode="auto">
          <a:xfrm>
            <a:off x="6180975" y="3616675"/>
            <a:ext cx="1086896"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VIP</a:t>
            </a:r>
          </a:p>
        </p:txBody>
      </p:sp>
      <p:sp>
        <p:nvSpPr>
          <p:cNvPr id="7" name="TextBox 13"/>
          <p:cNvSpPr txBox="1">
            <a:spLocks noChangeArrowheads="1"/>
          </p:cNvSpPr>
          <p:nvPr userDrawn="1"/>
        </p:nvSpPr>
        <p:spPr bwMode="auto">
          <a:xfrm>
            <a:off x="12192258" y="3618285"/>
            <a:ext cx="86065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elebration</a:t>
            </a:r>
          </a:p>
        </p:txBody>
      </p:sp>
      <p:sp>
        <p:nvSpPr>
          <p:cNvPr id="8" name="TextBox 14"/>
          <p:cNvSpPr txBox="1">
            <a:spLocks noChangeArrowheads="1"/>
          </p:cNvSpPr>
          <p:nvPr userDrawn="1"/>
        </p:nvSpPr>
        <p:spPr bwMode="auto">
          <a:xfrm>
            <a:off x="12086315" y="2174472"/>
            <a:ext cx="1080808"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eat</a:t>
            </a:r>
          </a:p>
        </p:txBody>
      </p:sp>
      <p:sp>
        <p:nvSpPr>
          <p:cNvPr id="9" name="TextBox 15"/>
          <p:cNvSpPr txBox="1">
            <a:spLocks noChangeArrowheads="1"/>
          </p:cNvSpPr>
          <p:nvPr userDrawn="1"/>
        </p:nvSpPr>
        <p:spPr bwMode="auto">
          <a:xfrm>
            <a:off x="261097" y="3619583"/>
            <a:ext cx="1087200"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ime</a:t>
            </a:r>
          </a:p>
        </p:txBody>
      </p:sp>
      <p:sp>
        <p:nvSpPr>
          <p:cNvPr id="10" name="TextBox 16"/>
          <p:cNvSpPr txBox="1">
            <a:spLocks noChangeArrowheads="1"/>
          </p:cNvSpPr>
          <p:nvPr userDrawn="1"/>
        </p:nvSpPr>
        <p:spPr bwMode="auto">
          <a:xfrm>
            <a:off x="1761350" y="3620513"/>
            <a:ext cx="1042950"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Waiting</a:t>
            </a:r>
          </a:p>
        </p:txBody>
      </p:sp>
      <p:sp>
        <p:nvSpPr>
          <p:cNvPr id="11" name="TextBox 17"/>
          <p:cNvSpPr txBox="1">
            <a:spLocks noChangeArrowheads="1"/>
          </p:cNvSpPr>
          <p:nvPr userDrawn="1"/>
        </p:nvSpPr>
        <p:spPr bwMode="auto">
          <a:xfrm>
            <a:off x="3221243" y="3621673"/>
            <a:ext cx="1087200"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re-reel</a:t>
            </a:r>
          </a:p>
        </p:txBody>
      </p:sp>
      <p:sp>
        <p:nvSpPr>
          <p:cNvPr id="18" name="TextBox 26"/>
          <p:cNvSpPr txBox="1">
            <a:spLocks noChangeArrowheads="1"/>
          </p:cNvSpPr>
          <p:nvPr userDrawn="1"/>
        </p:nvSpPr>
        <p:spPr bwMode="auto">
          <a:xfrm>
            <a:off x="10647867" y="3620185"/>
            <a:ext cx="990999"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 Club</a:t>
            </a:r>
          </a:p>
        </p:txBody>
      </p:sp>
      <p:sp>
        <p:nvSpPr>
          <p:cNvPr id="19" name="TextBox 27"/>
          <p:cNvSpPr txBox="1">
            <a:spLocks noChangeArrowheads="1"/>
          </p:cNvSpPr>
          <p:nvPr userDrawn="1"/>
        </p:nvSpPr>
        <p:spPr bwMode="auto">
          <a:xfrm>
            <a:off x="7660080" y="3620699"/>
            <a:ext cx="1067786"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End Frame Local</a:t>
            </a:r>
          </a:p>
        </p:txBody>
      </p:sp>
      <p:sp>
        <p:nvSpPr>
          <p:cNvPr id="20" name="TextBox 28"/>
          <p:cNvSpPr txBox="1">
            <a:spLocks noChangeArrowheads="1"/>
          </p:cNvSpPr>
          <p:nvPr userDrawn="1"/>
        </p:nvSpPr>
        <p:spPr bwMode="auto">
          <a:xfrm>
            <a:off x="9132115" y="3620699"/>
            <a:ext cx="1084397"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21" name="TextBox 29"/>
          <p:cNvSpPr txBox="1">
            <a:spLocks noChangeArrowheads="1"/>
          </p:cNvSpPr>
          <p:nvPr userDrawn="1"/>
        </p:nvSpPr>
        <p:spPr bwMode="auto">
          <a:xfrm>
            <a:off x="304290" y="2175590"/>
            <a:ext cx="100801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MAX</a:t>
            </a:r>
          </a:p>
        </p:txBody>
      </p:sp>
      <p:sp>
        <p:nvSpPr>
          <p:cNvPr id="22" name="Freeform 214"/>
          <p:cNvSpPr>
            <a:spLocks noEditPoints="1"/>
          </p:cNvSpPr>
          <p:nvPr userDrawn="1"/>
        </p:nvSpPr>
        <p:spPr bwMode="auto">
          <a:xfrm>
            <a:off x="12081181" y="2538673"/>
            <a:ext cx="1080000" cy="1080000"/>
          </a:xfrm>
          <a:custGeom>
            <a:avLst/>
            <a:gdLst>
              <a:gd name="T0" fmla="*/ 356 w 726"/>
              <a:gd name="T1" fmla="*/ 266 h 726"/>
              <a:gd name="T2" fmla="*/ 368 w 726"/>
              <a:gd name="T3" fmla="*/ 284 h 726"/>
              <a:gd name="T4" fmla="*/ 450 w 726"/>
              <a:gd name="T5" fmla="*/ 266 h 726"/>
              <a:gd name="T6" fmla="*/ 432 w 726"/>
              <a:gd name="T7" fmla="*/ 274 h 726"/>
              <a:gd name="T8" fmla="*/ 452 w 726"/>
              <a:gd name="T9" fmla="*/ 274 h 726"/>
              <a:gd name="T10" fmla="*/ 286 w 726"/>
              <a:gd name="T11" fmla="*/ 250 h 726"/>
              <a:gd name="T12" fmla="*/ 282 w 726"/>
              <a:gd name="T13" fmla="*/ 284 h 726"/>
              <a:gd name="T14" fmla="*/ 216 w 726"/>
              <a:gd name="T15" fmla="*/ 268 h 726"/>
              <a:gd name="T16" fmla="*/ 198 w 726"/>
              <a:gd name="T17" fmla="*/ 266 h 726"/>
              <a:gd name="T18" fmla="*/ 214 w 726"/>
              <a:gd name="T19" fmla="*/ 280 h 726"/>
              <a:gd name="T20" fmla="*/ 526 w 726"/>
              <a:gd name="T21" fmla="*/ 258 h 726"/>
              <a:gd name="T22" fmla="*/ 510 w 726"/>
              <a:gd name="T23" fmla="*/ 274 h 726"/>
              <a:gd name="T24" fmla="*/ 532 w 726"/>
              <a:gd name="T25" fmla="*/ 272 h 726"/>
              <a:gd name="T26" fmla="*/ 132 w 726"/>
              <a:gd name="T27" fmla="*/ 82 h 726"/>
              <a:gd name="T28" fmla="*/ 2 w 726"/>
              <a:gd name="T29" fmla="*/ 400 h 726"/>
              <a:gd name="T30" fmla="*/ 222 w 726"/>
              <a:gd name="T31" fmla="*/ 698 h 726"/>
              <a:gd name="T32" fmla="*/ 566 w 726"/>
              <a:gd name="T33" fmla="*/ 664 h 726"/>
              <a:gd name="T34" fmla="*/ 726 w 726"/>
              <a:gd name="T35" fmla="*/ 362 h 726"/>
              <a:gd name="T36" fmla="*/ 566 w 726"/>
              <a:gd name="T37" fmla="*/ 62 h 726"/>
              <a:gd name="T38" fmla="*/ 564 w 726"/>
              <a:gd name="T39" fmla="*/ 488 h 726"/>
              <a:gd name="T40" fmla="*/ 404 w 726"/>
              <a:gd name="T41" fmla="*/ 518 h 726"/>
              <a:gd name="T42" fmla="*/ 166 w 726"/>
              <a:gd name="T43" fmla="*/ 494 h 726"/>
              <a:gd name="T44" fmla="*/ 202 w 726"/>
              <a:gd name="T45" fmla="*/ 462 h 726"/>
              <a:gd name="T46" fmla="*/ 288 w 726"/>
              <a:gd name="T47" fmla="*/ 438 h 726"/>
              <a:gd name="T48" fmla="*/ 366 w 726"/>
              <a:gd name="T49" fmla="*/ 462 h 726"/>
              <a:gd name="T50" fmla="*/ 452 w 726"/>
              <a:gd name="T51" fmla="*/ 438 h 726"/>
              <a:gd name="T52" fmla="*/ 528 w 726"/>
              <a:gd name="T53" fmla="*/ 462 h 726"/>
              <a:gd name="T54" fmla="*/ 528 w 726"/>
              <a:gd name="T55" fmla="*/ 440 h 726"/>
              <a:gd name="T56" fmla="*/ 432 w 726"/>
              <a:gd name="T57" fmla="*/ 416 h 726"/>
              <a:gd name="T58" fmla="*/ 340 w 726"/>
              <a:gd name="T59" fmla="*/ 436 h 726"/>
              <a:gd name="T60" fmla="*/ 254 w 726"/>
              <a:gd name="T61" fmla="*/ 426 h 726"/>
              <a:gd name="T62" fmla="*/ 158 w 726"/>
              <a:gd name="T63" fmla="*/ 406 h 726"/>
              <a:gd name="T64" fmla="*/ 234 w 726"/>
              <a:gd name="T65" fmla="*/ 410 h 726"/>
              <a:gd name="T66" fmla="*/ 324 w 726"/>
              <a:gd name="T67" fmla="*/ 406 h 726"/>
              <a:gd name="T68" fmla="*/ 424 w 726"/>
              <a:gd name="T69" fmla="*/ 396 h 726"/>
              <a:gd name="T70" fmla="*/ 514 w 726"/>
              <a:gd name="T71" fmla="*/ 416 h 726"/>
              <a:gd name="T72" fmla="*/ 568 w 726"/>
              <a:gd name="T73" fmla="*/ 386 h 726"/>
              <a:gd name="T74" fmla="*/ 498 w 726"/>
              <a:gd name="T75" fmla="*/ 386 h 726"/>
              <a:gd name="T76" fmla="*/ 414 w 726"/>
              <a:gd name="T77" fmla="*/ 376 h 726"/>
              <a:gd name="T78" fmla="*/ 334 w 726"/>
              <a:gd name="T79" fmla="*/ 386 h 726"/>
              <a:gd name="T80" fmla="*/ 250 w 726"/>
              <a:gd name="T81" fmla="*/ 376 h 726"/>
              <a:gd name="T82" fmla="*/ 180 w 726"/>
              <a:gd name="T83" fmla="*/ 392 h 726"/>
              <a:gd name="T84" fmla="*/ 166 w 726"/>
              <a:gd name="T85" fmla="*/ 334 h 726"/>
              <a:gd name="T86" fmla="*/ 178 w 726"/>
              <a:gd name="T87" fmla="*/ 256 h 726"/>
              <a:gd name="T88" fmla="*/ 216 w 726"/>
              <a:gd name="T89" fmla="*/ 222 h 726"/>
              <a:gd name="T90" fmla="*/ 218 w 726"/>
              <a:gd name="T91" fmla="*/ 334 h 726"/>
              <a:gd name="T92" fmla="*/ 258 w 726"/>
              <a:gd name="T93" fmla="*/ 256 h 726"/>
              <a:gd name="T94" fmla="*/ 302 w 726"/>
              <a:gd name="T95" fmla="*/ 234 h 726"/>
              <a:gd name="T96" fmla="*/ 352 w 726"/>
              <a:gd name="T97" fmla="*/ 334 h 726"/>
              <a:gd name="T98" fmla="*/ 344 w 726"/>
              <a:gd name="T99" fmla="*/ 240 h 726"/>
              <a:gd name="T100" fmla="*/ 392 w 726"/>
              <a:gd name="T101" fmla="*/ 256 h 726"/>
              <a:gd name="T102" fmla="*/ 432 w 726"/>
              <a:gd name="T103" fmla="*/ 304 h 726"/>
              <a:gd name="T104" fmla="*/ 422 w 726"/>
              <a:gd name="T105" fmla="*/ 240 h 726"/>
              <a:gd name="T106" fmla="*/ 470 w 726"/>
              <a:gd name="T107" fmla="*/ 256 h 726"/>
              <a:gd name="T108" fmla="*/ 510 w 726"/>
              <a:gd name="T109" fmla="*/ 304 h 726"/>
              <a:gd name="T110" fmla="*/ 512 w 726"/>
              <a:gd name="T111" fmla="*/ 222 h 726"/>
              <a:gd name="T112" fmla="*/ 552 w 726"/>
              <a:gd name="T113" fmla="*/ 266 h 726"/>
              <a:gd name="T114" fmla="*/ 564 w 726"/>
              <a:gd name="T115" fmla="*/ 3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74" y="268"/>
                </a:moveTo>
                <a:lnTo>
                  <a:pt x="374" y="268"/>
                </a:lnTo>
                <a:lnTo>
                  <a:pt x="372" y="266"/>
                </a:lnTo>
                <a:lnTo>
                  <a:pt x="368" y="258"/>
                </a:lnTo>
                <a:lnTo>
                  <a:pt x="364" y="250"/>
                </a:lnTo>
                <a:lnTo>
                  <a:pt x="356" y="266"/>
                </a:lnTo>
                <a:lnTo>
                  <a:pt x="354" y="272"/>
                </a:lnTo>
                <a:lnTo>
                  <a:pt x="354" y="274"/>
                </a:lnTo>
                <a:lnTo>
                  <a:pt x="354" y="278"/>
                </a:lnTo>
                <a:lnTo>
                  <a:pt x="356" y="280"/>
                </a:lnTo>
                <a:lnTo>
                  <a:pt x="360" y="284"/>
                </a:lnTo>
                <a:lnTo>
                  <a:pt x="364" y="284"/>
                </a:lnTo>
                <a:lnTo>
                  <a:pt x="368" y="284"/>
                </a:lnTo>
                <a:lnTo>
                  <a:pt x="372" y="280"/>
                </a:lnTo>
                <a:lnTo>
                  <a:pt x="374" y="278"/>
                </a:lnTo>
                <a:lnTo>
                  <a:pt x="374" y="274"/>
                </a:lnTo>
                <a:lnTo>
                  <a:pt x="374" y="272"/>
                </a:lnTo>
                <a:lnTo>
                  <a:pt x="374" y="268"/>
                </a:lnTo>
                <a:close/>
                <a:moveTo>
                  <a:pt x="452" y="268"/>
                </a:moveTo>
                <a:lnTo>
                  <a:pt x="452" y="268"/>
                </a:lnTo>
                <a:lnTo>
                  <a:pt x="450" y="266"/>
                </a:lnTo>
                <a:lnTo>
                  <a:pt x="448" y="258"/>
                </a:lnTo>
                <a:lnTo>
                  <a:pt x="442" y="250"/>
                </a:lnTo>
                <a:lnTo>
                  <a:pt x="434" y="266"/>
                </a:lnTo>
                <a:lnTo>
                  <a:pt x="432" y="272"/>
                </a:lnTo>
                <a:lnTo>
                  <a:pt x="432" y="274"/>
                </a:lnTo>
                <a:lnTo>
                  <a:pt x="432" y="278"/>
                </a:lnTo>
                <a:lnTo>
                  <a:pt x="434" y="280"/>
                </a:lnTo>
                <a:lnTo>
                  <a:pt x="438" y="284"/>
                </a:lnTo>
                <a:lnTo>
                  <a:pt x="442" y="284"/>
                </a:lnTo>
                <a:lnTo>
                  <a:pt x="446" y="284"/>
                </a:lnTo>
                <a:lnTo>
                  <a:pt x="450" y="280"/>
                </a:lnTo>
                <a:lnTo>
                  <a:pt x="452" y="278"/>
                </a:lnTo>
                <a:lnTo>
                  <a:pt x="452" y="274"/>
                </a:lnTo>
                <a:lnTo>
                  <a:pt x="452" y="272"/>
                </a:lnTo>
                <a:lnTo>
                  <a:pt x="452" y="268"/>
                </a:lnTo>
                <a:close/>
                <a:moveTo>
                  <a:pt x="294" y="268"/>
                </a:moveTo>
                <a:lnTo>
                  <a:pt x="294" y="268"/>
                </a:lnTo>
                <a:lnTo>
                  <a:pt x="294" y="266"/>
                </a:lnTo>
                <a:lnTo>
                  <a:pt x="290" y="258"/>
                </a:lnTo>
                <a:lnTo>
                  <a:pt x="286" y="250"/>
                </a:lnTo>
                <a:lnTo>
                  <a:pt x="278" y="266"/>
                </a:lnTo>
                <a:lnTo>
                  <a:pt x="276" y="272"/>
                </a:lnTo>
                <a:lnTo>
                  <a:pt x="276" y="274"/>
                </a:lnTo>
                <a:lnTo>
                  <a:pt x="276" y="278"/>
                </a:lnTo>
                <a:lnTo>
                  <a:pt x="278" y="280"/>
                </a:lnTo>
                <a:lnTo>
                  <a:pt x="282" y="284"/>
                </a:lnTo>
                <a:lnTo>
                  <a:pt x="286" y="284"/>
                </a:lnTo>
                <a:lnTo>
                  <a:pt x="290" y="284"/>
                </a:lnTo>
                <a:lnTo>
                  <a:pt x="294" y="280"/>
                </a:lnTo>
                <a:lnTo>
                  <a:pt x="296" y="278"/>
                </a:lnTo>
                <a:lnTo>
                  <a:pt x="296" y="274"/>
                </a:lnTo>
                <a:lnTo>
                  <a:pt x="296" y="272"/>
                </a:lnTo>
                <a:lnTo>
                  <a:pt x="294" y="268"/>
                </a:lnTo>
                <a:close/>
                <a:moveTo>
                  <a:pt x="216" y="268"/>
                </a:moveTo>
                <a:lnTo>
                  <a:pt x="216" y="268"/>
                </a:lnTo>
                <a:lnTo>
                  <a:pt x="216" y="266"/>
                </a:lnTo>
                <a:lnTo>
                  <a:pt x="212" y="258"/>
                </a:lnTo>
                <a:lnTo>
                  <a:pt x="208" y="250"/>
                </a:lnTo>
                <a:lnTo>
                  <a:pt x="198" y="266"/>
                </a:lnTo>
                <a:lnTo>
                  <a:pt x="196" y="272"/>
                </a:lnTo>
                <a:lnTo>
                  <a:pt x="196" y="274"/>
                </a:lnTo>
                <a:lnTo>
                  <a:pt x="198" y="278"/>
                </a:lnTo>
                <a:lnTo>
                  <a:pt x="200" y="280"/>
                </a:lnTo>
                <a:lnTo>
                  <a:pt x="204" y="284"/>
                </a:lnTo>
                <a:lnTo>
                  <a:pt x="208" y="284"/>
                </a:lnTo>
                <a:lnTo>
                  <a:pt x="212" y="284"/>
                </a:lnTo>
                <a:lnTo>
                  <a:pt x="214" y="280"/>
                </a:lnTo>
                <a:lnTo>
                  <a:pt x="216" y="278"/>
                </a:lnTo>
                <a:lnTo>
                  <a:pt x="218" y="274"/>
                </a:lnTo>
                <a:lnTo>
                  <a:pt x="218" y="272"/>
                </a:lnTo>
                <a:lnTo>
                  <a:pt x="216" y="268"/>
                </a:lnTo>
                <a:close/>
                <a:moveTo>
                  <a:pt x="530" y="268"/>
                </a:moveTo>
                <a:lnTo>
                  <a:pt x="530" y="268"/>
                </a:lnTo>
                <a:lnTo>
                  <a:pt x="528" y="266"/>
                </a:lnTo>
                <a:lnTo>
                  <a:pt x="526" y="258"/>
                </a:lnTo>
                <a:lnTo>
                  <a:pt x="520" y="250"/>
                </a:lnTo>
                <a:lnTo>
                  <a:pt x="512" y="266"/>
                </a:lnTo>
                <a:lnTo>
                  <a:pt x="510" y="272"/>
                </a:lnTo>
                <a:lnTo>
                  <a:pt x="510" y="274"/>
                </a:lnTo>
                <a:lnTo>
                  <a:pt x="510" y="278"/>
                </a:lnTo>
                <a:lnTo>
                  <a:pt x="514" y="280"/>
                </a:lnTo>
                <a:lnTo>
                  <a:pt x="516" y="284"/>
                </a:lnTo>
                <a:lnTo>
                  <a:pt x="520" y="284"/>
                </a:lnTo>
                <a:lnTo>
                  <a:pt x="524" y="284"/>
                </a:lnTo>
                <a:lnTo>
                  <a:pt x="528" y="280"/>
                </a:lnTo>
                <a:lnTo>
                  <a:pt x="530" y="278"/>
                </a:lnTo>
                <a:lnTo>
                  <a:pt x="532" y="274"/>
                </a:lnTo>
                <a:lnTo>
                  <a:pt x="532" y="272"/>
                </a:lnTo>
                <a:lnTo>
                  <a:pt x="530" y="26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68" y="478"/>
                </a:moveTo>
                <a:lnTo>
                  <a:pt x="568" y="478"/>
                </a:lnTo>
                <a:lnTo>
                  <a:pt x="566" y="484"/>
                </a:lnTo>
                <a:lnTo>
                  <a:pt x="564" y="488"/>
                </a:lnTo>
                <a:lnTo>
                  <a:pt x="560" y="494"/>
                </a:lnTo>
                <a:lnTo>
                  <a:pt x="554" y="498"/>
                </a:lnTo>
                <a:lnTo>
                  <a:pt x="546" y="500"/>
                </a:lnTo>
                <a:lnTo>
                  <a:pt x="528" y="506"/>
                </a:lnTo>
                <a:lnTo>
                  <a:pt x="504" y="510"/>
                </a:lnTo>
                <a:lnTo>
                  <a:pt x="474" y="514"/>
                </a:lnTo>
                <a:lnTo>
                  <a:pt x="442" y="516"/>
                </a:lnTo>
                <a:lnTo>
                  <a:pt x="404" y="518"/>
                </a:lnTo>
                <a:lnTo>
                  <a:pt x="364" y="518"/>
                </a:lnTo>
                <a:lnTo>
                  <a:pt x="314" y="518"/>
                </a:lnTo>
                <a:lnTo>
                  <a:pt x="270" y="514"/>
                </a:lnTo>
                <a:lnTo>
                  <a:pt x="232" y="510"/>
                </a:lnTo>
                <a:lnTo>
                  <a:pt x="200" y="506"/>
                </a:lnTo>
                <a:lnTo>
                  <a:pt x="184" y="502"/>
                </a:lnTo>
                <a:lnTo>
                  <a:pt x="172" y="496"/>
                </a:lnTo>
                <a:lnTo>
                  <a:pt x="166" y="494"/>
                </a:lnTo>
                <a:lnTo>
                  <a:pt x="162" y="488"/>
                </a:lnTo>
                <a:lnTo>
                  <a:pt x="160" y="484"/>
                </a:lnTo>
                <a:lnTo>
                  <a:pt x="158" y="478"/>
                </a:lnTo>
                <a:lnTo>
                  <a:pt x="158" y="454"/>
                </a:lnTo>
                <a:lnTo>
                  <a:pt x="180" y="460"/>
                </a:lnTo>
                <a:lnTo>
                  <a:pt x="200" y="462"/>
                </a:lnTo>
                <a:lnTo>
                  <a:pt x="202" y="462"/>
                </a:lnTo>
                <a:lnTo>
                  <a:pt x="222" y="460"/>
                </a:lnTo>
                <a:lnTo>
                  <a:pt x="240" y="456"/>
                </a:lnTo>
                <a:lnTo>
                  <a:pt x="254" y="450"/>
                </a:lnTo>
                <a:lnTo>
                  <a:pt x="264" y="444"/>
                </a:lnTo>
                <a:lnTo>
                  <a:pt x="268" y="442"/>
                </a:lnTo>
                <a:lnTo>
                  <a:pt x="278" y="438"/>
                </a:lnTo>
                <a:lnTo>
                  <a:pt x="282" y="436"/>
                </a:lnTo>
                <a:lnTo>
                  <a:pt x="288" y="438"/>
                </a:lnTo>
                <a:lnTo>
                  <a:pt x="296" y="442"/>
                </a:lnTo>
                <a:lnTo>
                  <a:pt x="312" y="450"/>
                </a:lnTo>
                <a:lnTo>
                  <a:pt x="324" y="456"/>
                </a:lnTo>
                <a:lnTo>
                  <a:pt x="336" y="458"/>
                </a:lnTo>
                <a:lnTo>
                  <a:pt x="350" y="460"/>
                </a:lnTo>
                <a:lnTo>
                  <a:pt x="364" y="462"/>
                </a:lnTo>
                <a:lnTo>
                  <a:pt x="366" y="462"/>
                </a:lnTo>
                <a:lnTo>
                  <a:pt x="386" y="460"/>
                </a:lnTo>
                <a:lnTo>
                  <a:pt x="404" y="456"/>
                </a:lnTo>
                <a:lnTo>
                  <a:pt x="418" y="450"/>
                </a:lnTo>
                <a:lnTo>
                  <a:pt x="428" y="444"/>
                </a:lnTo>
                <a:lnTo>
                  <a:pt x="432" y="442"/>
                </a:lnTo>
                <a:lnTo>
                  <a:pt x="440" y="438"/>
                </a:lnTo>
                <a:lnTo>
                  <a:pt x="446" y="436"/>
                </a:lnTo>
                <a:lnTo>
                  <a:pt x="452" y="438"/>
                </a:lnTo>
                <a:lnTo>
                  <a:pt x="460" y="442"/>
                </a:lnTo>
                <a:lnTo>
                  <a:pt x="476" y="450"/>
                </a:lnTo>
                <a:lnTo>
                  <a:pt x="488" y="456"/>
                </a:lnTo>
                <a:lnTo>
                  <a:pt x="500" y="458"/>
                </a:lnTo>
                <a:lnTo>
                  <a:pt x="514" y="460"/>
                </a:lnTo>
                <a:lnTo>
                  <a:pt x="528" y="462"/>
                </a:lnTo>
                <a:lnTo>
                  <a:pt x="546" y="460"/>
                </a:lnTo>
                <a:lnTo>
                  <a:pt x="568" y="456"/>
                </a:lnTo>
                <a:lnTo>
                  <a:pt x="568" y="478"/>
                </a:lnTo>
                <a:close/>
                <a:moveTo>
                  <a:pt x="568" y="432"/>
                </a:moveTo>
                <a:lnTo>
                  <a:pt x="568" y="432"/>
                </a:lnTo>
                <a:lnTo>
                  <a:pt x="558" y="436"/>
                </a:lnTo>
                <a:lnTo>
                  <a:pt x="546" y="438"/>
                </a:lnTo>
                <a:lnTo>
                  <a:pt x="528" y="440"/>
                </a:lnTo>
                <a:lnTo>
                  <a:pt x="516" y="438"/>
                </a:lnTo>
                <a:lnTo>
                  <a:pt x="504" y="436"/>
                </a:lnTo>
                <a:lnTo>
                  <a:pt x="486" y="430"/>
                </a:lnTo>
                <a:lnTo>
                  <a:pt x="460" y="416"/>
                </a:lnTo>
                <a:lnTo>
                  <a:pt x="454" y="414"/>
                </a:lnTo>
                <a:lnTo>
                  <a:pt x="446" y="414"/>
                </a:lnTo>
                <a:lnTo>
                  <a:pt x="438" y="414"/>
                </a:lnTo>
                <a:lnTo>
                  <a:pt x="432" y="416"/>
                </a:lnTo>
                <a:lnTo>
                  <a:pt x="418" y="426"/>
                </a:lnTo>
                <a:lnTo>
                  <a:pt x="408" y="430"/>
                </a:lnTo>
                <a:lnTo>
                  <a:pt x="396" y="434"/>
                </a:lnTo>
                <a:lnTo>
                  <a:pt x="382" y="438"/>
                </a:lnTo>
                <a:lnTo>
                  <a:pt x="366" y="440"/>
                </a:lnTo>
                <a:lnTo>
                  <a:pt x="364" y="440"/>
                </a:lnTo>
                <a:lnTo>
                  <a:pt x="352" y="438"/>
                </a:lnTo>
                <a:lnTo>
                  <a:pt x="340" y="436"/>
                </a:lnTo>
                <a:lnTo>
                  <a:pt x="322" y="430"/>
                </a:lnTo>
                <a:lnTo>
                  <a:pt x="298" y="416"/>
                </a:lnTo>
                <a:lnTo>
                  <a:pt x="290" y="414"/>
                </a:lnTo>
                <a:lnTo>
                  <a:pt x="282" y="414"/>
                </a:lnTo>
                <a:lnTo>
                  <a:pt x="274" y="414"/>
                </a:lnTo>
                <a:lnTo>
                  <a:pt x="268" y="416"/>
                </a:lnTo>
                <a:lnTo>
                  <a:pt x="254" y="426"/>
                </a:lnTo>
                <a:lnTo>
                  <a:pt x="244" y="430"/>
                </a:lnTo>
                <a:lnTo>
                  <a:pt x="232" y="434"/>
                </a:lnTo>
                <a:lnTo>
                  <a:pt x="218" y="438"/>
                </a:lnTo>
                <a:lnTo>
                  <a:pt x="200" y="440"/>
                </a:lnTo>
                <a:lnTo>
                  <a:pt x="180" y="438"/>
                </a:lnTo>
                <a:lnTo>
                  <a:pt x="168" y="434"/>
                </a:lnTo>
                <a:lnTo>
                  <a:pt x="158" y="430"/>
                </a:lnTo>
                <a:lnTo>
                  <a:pt x="158" y="406"/>
                </a:lnTo>
                <a:lnTo>
                  <a:pt x="168" y="410"/>
                </a:lnTo>
                <a:lnTo>
                  <a:pt x="180" y="414"/>
                </a:lnTo>
                <a:lnTo>
                  <a:pt x="190" y="416"/>
                </a:lnTo>
                <a:lnTo>
                  <a:pt x="200" y="416"/>
                </a:lnTo>
                <a:lnTo>
                  <a:pt x="220" y="414"/>
                </a:lnTo>
                <a:lnTo>
                  <a:pt x="234" y="410"/>
                </a:lnTo>
                <a:lnTo>
                  <a:pt x="246" y="404"/>
                </a:lnTo>
                <a:lnTo>
                  <a:pt x="260" y="396"/>
                </a:lnTo>
                <a:lnTo>
                  <a:pt x="270" y="392"/>
                </a:lnTo>
                <a:lnTo>
                  <a:pt x="282" y="392"/>
                </a:lnTo>
                <a:lnTo>
                  <a:pt x="296" y="392"/>
                </a:lnTo>
                <a:lnTo>
                  <a:pt x="306" y="396"/>
                </a:lnTo>
                <a:lnTo>
                  <a:pt x="324" y="406"/>
                </a:lnTo>
                <a:lnTo>
                  <a:pt x="330" y="410"/>
                </a:lnTo>
                <a:lnTo>
                  <a:pt x="340" y="414"/>
                </a:lnTo>
                <a:lnTo>
                  <a:pt x="350" y="416"/>
                </a:lnTo>
                <a:lnTo>
                  <a:pt x="364" y="416"/>
                </a:lnTo>
                <a:lnTo>
                  <a:pt x="384" y="414"/>
                </a:lnTo>
                <a:lnTo>
                  <a:pt x="398" y="410"/>
                </a:lnTo>
                <a:lnTo>
                  <a:pt x="410" y="404"/>
                </a:lnTo>
                <a:lnTo>
                  <a:pt x="424" y="396"/>
                </a:lnTo>
                <a:lnTo>
                  <a:pt x="434" y="392"/>
                </a:lnTo>
                <a:lnTo>
                  <a:pt x="446" y="392"/>
                </a:lnTo>
                <a:lnTo>
                  <a:pt x="460" y="392"/>
                </a:lnTo>
                <a:lnTo>
                  <a:pt x="470" y="396"/>
                </a:lnTo>
                <a:lnTo>
                  <a:pt x="486" y="406"/>
                </a:lnTo>
                <a:lnTo>
                  <a:pt x="494" y="410"/>
                </a:lnTo>
                <a:lnTo>
                  <a:pt x="504" y="414"/>
                </a:lnTo>
                <a:lnTo>
                  <a:pt x="514" y="416"/>
                </a:lnTo>
                <a:lnTo>
                  <a:pt x="528" y="416"/>
                </a:lnTo>
                <a:lnTo>
                  <a:pt x="546" y="416"/>
                </a:lnTo>
                <a:lnTo>
                  <a:pt x="556" y="412"/>
                </a:lnTo>
                <a:lnTo>
                  <a:pt x="564" y="408"/>
                </a:lnTo>
                <a:lnTo>
                  <a:pt x="568" y="408"/>
                </a:lnTo>
                <a:lnTo>
                  <a:pt x="568" y="432"/>
                </a:lnTo>
                <a:close/>
                <a:moveTo>
                  <a:pt x="568" y="386"/>
                </a:moveTo>
                <a:lnTo>
                  <a:pt x="568" y="386"/>
                </a:lnTo>
                <a:lnTo>
                  <a:pt x="560" y="386"/>
                </a:lnTo>
                <a:lnTo>
                  <a:pt x="554" y="388"/>
                </a:lnTo>
                <a:lnTo>
                  <a:pt x="546" y="392"/>
                </a:lnTo>
                <a:lnTo>
                  <a:pt x="538" y="394"/>
                </a:lnTo>
                <a:lnTo>
                  <a:pt x="528" y="394"/>
                </a:lnTo>
                <a:lnTo>
                  <a:pt x="518" y="394"/>
                </a:lnTo>
                <a:lnTo>
                  <a:pt x="510" y="392"/>
                </a:lnTo>
                <a:lnTo>
                  <a:pt x="498" y="386"/>
                </a:lnTo>
                <a:lnTo>
                  <a:pt x="494" y="384"/>
                </a:lnTo>
                <a:lnTo>
                  <a:pt x="478" y="376"/>
                </a:lnTo>
                <a:lnTo>
                  <a:pt x="462" y="372"/>
                </a:lnTo>
                <a:lnTo>
                  <a:pt x="446" y="370"/>
                </a:lnTo>
                <a:lnTo>
                  <a:pt x="430" y="372"/>
                </a:lnTo>
                <a:lnTo>
                  <a:pt x="414" y="376"/>
                </a:lnTo>
                <a:lnTo>
                  <a:pt x="398" y="384"/>
                </a:lnTo>
                <a:lnTo>
                  <a:pt x="388" y="390"/>
                </a:lnTo>
                <a:lnTo>
                  <a:pt x="380" y="394"/>
                </a:lnTo>
                <a:lnTo>
                  <a:pt x="364" y="394"/>
                </a:lnTo>
                <a:lnTo>
                  <a:pt x="354" y="394"/>
                </a:lnTo>
                <a:lnTo>
                  <a:pt x="346" y="392"/>
                </a:lnTo>
                <a:lnTo>
                  <a:pt x="334" y="386"/>
                </a:lnTo>
                <a:lnTo>
                  <a:pt x="330" y="384"/>
                </a:lnTo>
                <a:lnTo>
                  <a:pt x="314" y="376"/>
                </a:lnTo>
                <a:lnTo>
                  <a:pt x="300" y="372"/>
                </a:lnTo>
                <a:lnTo>
                  <a:pt x="282" y="370"/>
                </a:lnTo>
                <a:lnTo>
                  <a:pt x="266" y="372"/>
                </a:lnTo>
                <a:lnTo>
                  <a:pt x="250" y="376"/>
                </a:lnTo>
                <a:lnTo>
                  <a:pt x="234" y="384"/>
                </a:lnTo>
                <a:lnTo>
                  <a:pt x="224" y="390"/>
                </a:lnTo>
                <a:lnTo>
                  <a:pt x="216" y="394"/>
                </a:lnTo>
                <a:lnTo>
                  <a:pt x="200" y="394"/>
                </a:lnTo>
                <a:lnTo>
                  <a:pt x="188" y="394"/>
                </a:lnTo>
                <a:lnTo>
                  <a:pt x="180" y="392"/>
                </a:lnTo>
                <a:lnTo>
                  <a:pt x="178" y="390"/>
                </a:lnTo>
                <a:lnTo>
                  <a:pt x="168" y="384"/>
                </a:lnTo>
                <a:lnTo>
                  <a:pt x="158" y="380"/>
                </a:lnTo>
                <a:lnTo>
                  <a:pt x="158" y="344"/>
                </a:lnTo>
                <a:lnTo>
                  <a:pt x="160" y="340"/>
                </a:lnTo>
                <a:lnTo>
                  <a:pt x="162" y="336"/>
                </a:lnTo>
                <a:lnTo>
                  <a:pt x="166" y="334"/>
                </a:lnTo>
                <a:lnTo>
                  <a:pt x="170" y="334"/>
                </a:lnTo>
                <a:lnTo>
                  <a:pt x="196" y="334"/>
                </a:lnTo>
                <a:lnTo>
                  <a:pt x="196" y="304"/>
                </a:lnTo>
                <a:lnTo>
                  <a:pt x="188" y="300"/>
                </a:lnTo>
                <a:lnTo>
                  <a:pt x="180" y="292"/>
                </a:lnTo>
                <a:lnTo>
                  <a:pt x="176" y="284"/>
                </a:lnTo>
                <a:lnTo>
                  <a:pt x="174" y="274"/>
                </a:lnTo>
                <a:lnTo>
                  <a:pt x="176" y="266"/>
                </a:lnTo>
                <a:lnTo>
                  <a:pt x="178" y="256"/>
                </a:lnTo>
                <a:lnTo>
                  <a:pt x="186" y="240"/>
                </a:lnTo>
                <a:lnTo>
                  <a:pt x="198" y="222"/>
                </a:lnTo>
                <a:lnTo>
                  <a:pt x="202" y="218"/>
                </a:lnTo>
                <a:lnTo>
                  <a:pt x="208" y="216"/>
                </a:lnTo>
                <a:lnTo>
                  <a:pt x="212" y="218"/>
                </a:lnTo>
                <a:lnTo>
                  <a:pt x="216" y="222"/>
                </a:lnTo>
                <a:lnTo>
                  <a:pt x="224" y="234"/>
                </a:lnTo>
                <a:lnTo>
                  <a:pt x="236" y="256"/>
                </a:lnTo>
                <a:lnTo>
                  <a:pt x="238" y="266"/>
                </a:lnTo>
                <a:lnTo>
                  <a:pt x="240" y="274"/>
                </a:lnTo>
                <a:lnTo>
                  <a:pt x="238" y="284"/>
                </a:lnTo>
                <a:lnTo>
                  <a:pt x="234" y="292"/>
                </a:lnTo>
                <a:lnTo>
                  <a:pt x="228" y="300"/>
                </a:lnTo>
                <a:lnTo>
                  <a:pt x="218" y="304"/>
                </a:lnTo>
                <a:lnTo>
                  <a:pt x="218" y="334"/>
                </a:lnTo>
                <a:lnTo>
                  <a:pt x="274" y="334"/>
                </a:lnTo>
                <a:lnTo>
                  <a:pt x="274" y="304"/>
                </a:lnTo>
                <a:lnTo>
                  <a:pt x="266" y="300"/>
                </a:lnTo>
                <a:lnTo>
                  <a:pt x="258" y="292"/>
                </a:lnTo>
                <a:lnTo>
                  <a:pt x="254" y="284"/>
                </a:lnTo>
                <a:lnTo>
                  <a:pt x="252" y="274"/>
                </a:lnTo>
                <a:lnTo>
                  <a:pt x="254" y="266"/>
                </a:lnTo>
                <a:lnTo>
                  <a:pt x="258" y="256"/>
                </a:lnTo>
                <a:lnTo>
                  <a:pt x="264" y="240"/>
                </a:lnTo>
                <a:lnTo>
                  <a:pt x="276" y="222"/>
                </a:lnTo>
                <a:lnTo>
                  <a:pt x="280" y="218"/>
                </a:lnTo>
                <a:lnTo>
                  <a:pt x="286" y="216"/>
                </a:lnTo>
                <a:lnTo>
                  <a:pt x="290" y="218"/>
                </a:lnTo>
                <a:lnTo>
                  <a:pt x="296" y="222"/>
                </a:lnTo>
                <a:lnTo>
                  <a:pt x="302" y="234"/>
                </a:lnTo>
                <a:lnTo>
                  <a:pt x="314" y="256"/>
                </a:lnTo>
                <a:lnTo>
                  <a:pt x="318" y="266"/>
                </a:lnTo>
                <a:lnTo>
                  <a:pt x="318" y="274"/>
                </a:lnTo>
                <a:lnTo>
                  <a:pt x="316" y="284"/>
                </a:lnTo>
                <a:lnTo>
                  <a:pt x="312" y="292"/>
                </a:lnTo>
                <a:lnTo>
                  <a:pt x="306" y="300"/>
                </a:lnTo>
                <a:lnTo>
                  <a:pt x="296" y="304"/>
                </a:lnTo>
                <a:lnTo>
                  <a:pt x="296" y="334"/>
                </a:lnTo>
                <a:lnTo>
                  <a:pt x="352" y="334"/>
                </a:lnTo>
                <a:lnTo>
                  <a:pt x="352" y="304"/>
                </a:lnTo>
                <a:lnTo>
                  <a:pt x="344" y="300"/>
                </a:lnTo>
                <a:lnTo>
                  <a:pt x="338" y="292"/>
                </a:lnTo>
                <a:lnTo>
                  <a:pt x="332" y="284"/>
                </a:lnTo>
                <a:lnTo>
                  <a:pt x="332" y="274"/>
                </a:lnTo>
                <a:lnTo>
                  <a:pt x="332" y="266"/>
                </a:lnTo>
                <a:lnTo>
                  <a:pt x="336" y="256"/>
                </a:lnTo>
                <a:lnTo>
                  <a:pt x="344" y="240"/>
                </a:lnTo>
                <a:lnTo>
                  <a:pt x="354" y="222"/>
                </a:lnTo>
                <a:lnTo>
                  <a:pt x="358" y="218"/>
                </a:lnTo>
                <a:lnTo>
                  <a:pt x="364" y="216"/>
                </a:lnTo>
                <a:lnTo>
                  <a:pt x="370" y="218"/>
                </a:lnTo>
                <a:lnTo>
                  <a:pt x="374" y="222"/>
                </a:lnTo>
                <a:lnTo>
                  <a:pt x="380" y="234"/>
                </a:lnTo>
                <a:lnTo>
                  <a:pt x="392" y="256"/>
                </a:lnTo>
                <a:lnTo>
                  <a:pt x="396" y="266"/>
                </a:lnTo>
                <a:lnTo>
                  <a:pt x="396" y="274"/>
                </a:lnTo>
                <a:lnTo>
                  <a:pt x="396" y="284"/>
                </a:lnTo>
                <a:lnTo>
                  <a:pt x="390" y="292"/>
                </a:lnTo>
                <a:lnTo>
                  <a:pt x="384" y="300"/>
                </a:lnTo>
                <a:lnTo>
                  <a:pt x="376" y="304"/>
                </a:lnTo>
                <a:lnTo>
                  <a:pt x="376" y="334"/>
                </a:lnTo>
                <a:lnTo>
                  <a:pt x="432" y="334"/>
                </a:lnTo>
                <a:lnTo>
                  <a:pt x="432" y="304"/>
                </a:lnTo>
                <a:lnTo>
                  <a:pt x="422" y="300"/>
                </a:lnTo>
                <a:lnTo>
                  <a:pt x="416" y="292"/>
                </a:lnTo>
                <a:lnTo>
                  <a:pt x="412" y="284"/>
                </a:lnTo>
                <a:lnTo>
                  <a:pt x="410" y="274"/>
                </a:lnTo>
                <a:lnTo>
                  <a:pt x="410" y="266"/>
                </a:lnTo>
                <a:lnTo>
                  <a:pt x="414" y="256"/>
                </a:lnTo>
                <a:lnTo>
                  <a:pt x="422" y="240"/>
                </a:lnTo>
                <a:lnTo>
                  <a:pt x="432" y="222"/>
                </a:lnTo>
                <a:lnTo>
                  <a:pt x="436" y="218"/>
                </a:lnTo>
                <a:lnTo>
                  <a:pt x="442" y="216"/>
                </a:lnTo>
                <a:lnTo>
                  <a:pt x="448" y="218"/>
                </a:lnTo>
                <a:lnTo>
                  <a:pt x="452" y="222"/>
                </a:lnTo>
                <a:lnTo>
                  <a:pt x="458" y="234"/>
                </a:lnTo>
                <a:lnTo>
                  <a:pt x="470" y="256"/>
                </a:lnTo>
                <a:lnTo>
                  <a:pt x="474" y="266"/>
                </a:lnTo>
                <a:lnTo>
                  <a:pt x="476" y="274"/>
                </a:lnTo>
                <a:lnTo>
                  <a:pt x="474" y="284"/>
                </a:lnTo>
                <a:lnTo>
                  <a:pt x="470" y="292"/>
                </a:lnTo>
                <a:lnTo>
                  <a:pt x="462" y="300"/>
                </a:lnTo>
                <a:lnTo>
                  <a:pt x="454" y="304"/>
                </a:lnTo>
                <a:lnTo>
                  <a:pt x="454" y="334"/>
                </a:lnTo>
                <a:lnTo>
                  <a:pt x="510" y="334"/>
                </a:lnTo>
                <a:lnTo>
                  <a:pt x="510" y="304"/>
                </a:lnTo>
                <a:lnTo>
                  <a:pt x="500" y="300"/>
                </a:lnTo>
                <a:lnTo>
                  <a:pt x="494" y="292"/>
                </a:lnTo>
                <a:lnTo>
                  <a:pt x="490" y="284"/>
                </a:lnTo>
                <a:lnTo>
                  <a:pt x="488" y="274"/>
                </a:lnTo>
                <a:lnTo>
                  <a:pt x="490" y="266"/>
                </a:lnTo>
                <a:lnTo>
                  <a:pt x="492" y="256"/>
                </a:lnTo>
                <a:lnTo>
                  <a:pt x="500" y="240"/>
                </a:lnTo>
                <a:lnTo>
                  <a:pt x="512" y="222"/>
                </a:lnTo>
                <a:lnTo>
                  <a:pt x="516" y="218"/>
                </a:lnTo>
                <a:lnTo>
                  <a:pt x="520" y="216"/>
                </a:lnTo>
                <a:lnTo>
                  <a:pt x="526" y="218"/>
                </a:lnTo>
                <a:lnTo>
                  <a:pt x="530" y="222"/>
                </a:lnTo>
                <a:lnTo>
                  <a:pt x="538" y="234"/>
                </a:lnTo>
                <a:lnTo>
                  <a:pt x="550" y="256"/>
                </a:lnTo>
                <a:lnTo>
                  <a:pt x="552" y="266"/>
                </a:lnTo>
                <a:lnTo>
                  <a:pt x="554" y="274"/>
                </a:lnTo>
                <a:lnTo>
                  <a:pt x="552" y="284"/>
                </a:lnTo>
                <a:lnTo>
                  <a:pt x="548" y="292"/>
                </a:lnTo>
                <a:lnTo>
                  <a:pt x="540" y="300"/>
                </a:lnTo>
                <a:lnTo>
                  <a:pt x="532" y="304"/>
                </a:lnTo>
                <a:lnTo>
                  <a:pt x="532" y="334"/>
                </a:lnTo>
                <a:lnTo>
                  <a:pt x="556" y="334"/>
                </a:lnTo>
                <a:lnTo>
                  <a:pt x="560" y="334"/>
                </a:lnTo>
                <a:lnTo>
                  <a:pt x="564" y="336"/>
                </a:lnTo>
                <a:lnTo>
                  <a:pt x="566" y="340"/>
                </a:lnTo>
                <a:lnTo>
                  <a:pt x="568" y="344"/>
                </a:lnTo>
                <a:lnTo>
                  <a:pt x="568" y="38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Freeform 121"/>
          <p:cNvSpPr>
            <a:spLocks/>
          </p:cNvSpPr>
          <p:nvPr userDrawn="1"/>
        </p:nvSpPr>
        <p:spPr bwMode="auto">
          <a:xfrm>
            <a:off x="10603878" y="2517413"/>
            <a:ext cx="1080000" cy="1080000"/>
          </a:xfrm>
          <a:custGeom>
            <a:avLst/>
            <a:gdLst>
              <a:gd name="T0" fmla="*/ 671505 w 1087200"/>
              <a:gd name="T1" fmla="*/ 628460 h 1087200"/>
              <a:gd name="T2" fmla="*/ 666587 w 1087200"/>
              <a:gd name="T3" fmla="*/ 600173 h 1087200"/>
              <a:gd name="T4" fmla="*/ 662897 w 1087200"/>
              <a:gd name="T5" fmla="*/ 558358 h 1087200"/>
              <a:gd name="T6" fmla="*/ 693644 w 1087200"/>
              <a:gd name="T7" fmla="*/ 595254 h 1087200"/>
              <a:gd name="T8" fmla="*/ 698563 w 1087200"/>
              <a:gd name="T9" fmla="*/ 637070 h 1087200"/>
              <a:gd name="T10" fmla="*/ 624771 w 1087200"/>
              <a:gd name="T11" fmla="*/ 670276 h 1087200"/>
              <a:gd name="T12" fmla="*/ 578036 w 1087200"/>
              <a:gd name="T13" fmla="*/ 653058 h 1087200"/>
              <a:gd name="T14" fmla="*/ 612472 w 1087200"/>
              <a:gd name="T15" fmla="*/ 645679 h 1087200"/>
              <a:gd name="T16" fmla="*/ 552209 w 1087200"/>
              <a:gd name="T17" fmla="*/ 665357 h 1087200"/>
              <a:gd name="T18" fmla="*/ 536221 w 1087200"/>
              <a:gd name="T19" fmla="*/ 649368 h 1087200"/>
              <a:gd name="T20" fmla="*/ 458740 w 1087200"/>
              <a:gd name="T21" fmla="*/ 576807 h 1087200"/>
              <a:gd name="T22" fmla="*/ 430453 w 1087200"/>
              <a:gd name="T23" fmla="*/ 575577 h 1087200"/>
              <a:gd name="T24" fmla="*/ 414464 w 1087200"/>
              <a:gd name="T25" fmla="*/ 641989 h 1087200"/>
              <a:gd name="T26" fmla="*/ 437832 w 1087200"/>
              <a:gd name="T27" fmla="*/ 627231 h 1087200"/>
              <a:gd name="T28" fmla="*/ 436602 w 1087200"/>
              <a:gd name="T29" fmla="*/ 670276 h 1087200"/>
              <a:gd name="T30" fmla="*/ 388637 w 1087200"/>
              <a:gd name="T31" fmla="*/ 591565 h 1087200"/>
              <a:gd name="T32" fmla="*/ 842457 w 1087200"/>
              <a:gd name="T33" fmla="*/ 533762 h 1087200"/>
              <a:gd name="T34" fmla="*/ 287788 w 1087200"/>
              <a:gd name="T35" fmla="*/ 501785 h 1087200"/>
              <a:gd name="T36" fmla="*/ 274260 w 1087200"/>
              <a:gd name="T37" fmla="*/ 527612 h 1087200"/>
              <a:gd name="T38" fmla="*/ 559588 w 1087200"/>
              <a:gd name="T39" fmla="*/ 490716 h 1087200"/>
              <a:gd name="T40" fmla="*/ 543600 w 1087200"/>
              <a:gd name="T41" fmla="*/ 429223 h 1087200"/>
              <a:gd name="T42" fmla="*/ 686265 w 1087200"/>
              <a:gd name="T43" fmla="*/ 458740 h 1087200"/>
              <a:gd name="T44" fmla="*/ 681345 w 1087200"/>
              <a:gd name="T45" fmla="*/ 437832 h 1087200"/>
              <a:gd name="T46" fmla="*/ 579267 w 1087200"/>
              <a:gd name="T47" fmla="*/ 425534 h 1087200"/>
              <a:gd name="T48" fmla="*/ 571888 w 1087200"/>
              <a:gd name="T49" fmla="*/ 514084 h 1087200"/>
              <a:gd name="T50" fmla="*/ 471038 w 1087200"/>
              <a:gd name="T51" fmla="*/ 522693 h 1087200"/>
              <a:gd name="T52" fmla="*/ 441521 w 1087200"/>
              <a:gd name="T53" fmla="*/ 522693 h 1087200"/>
              <a:gd name="T54" fmla="*/ 649369 w 1087200"/>
              <a:gd name="T55" fmla="*/ 412005 h 1087200"/>
              <a:gd name="T56" fmla="*/ 640760 w 1087200"/>
              <a:gd name="T57" fmla="*/ 435372 h 1087200"/>
              <a:gd name="T58" fmla="*/ 621082 w 1087200"/>
              <a:gd name="T59" fmla="*/ 446441 h 1087200"/>
              <a:gd name="T60" fmla="*/ 667817 w 1087200"/>
              <a:gd name="T61" fmla="*/ 489486 h 1087200"/>
              <a:gd name="T62" fmla="*/ 619852 w 1087200"/>
              <a:gd name="T63" fmla="*/ 523922 h 1087200"/>
              <a:gd name="T64" fmla="*/ 617393 w 1087200"/>
              <a:gd name="T65" fmla="*/ 485796 h 1087200"/>
              <a:gd name="T66" fmla="*/ 641990 w 1087200"/>
              <a:gd name="T67" fmla="*/ 493176 h 1087200"/>
              <a:gd name="T68" fmla="*/ 596485 w 1087200"/>
              <a:gd name="T69" fmla="*/ 453820 h 1087200"/>
              <a:gd name="T70" fmla="*/ 622312 w 1087200"/>
              <a:gd name="T71" fmla="*/ 409545 h 1087200"/>
              <a:gd name="T72" fmla="*/ 255812 w 1087200"/>
              <a:gd name="T73" fmla="*/ 366500 h 1087200"/>
              <a:gd name="T74" fmla="*/ 186939 w 1087200"/>
              <a:gd name="T75" fmla="*/ 398476 h 1087200"/>
              <a:gd name="T76" fmla="*/ 249662 w 1087200"/>
              <a:gd name="T77" fmla="*/ 714551 h 1087200"/>
              <a:gd name="T78" fmla="*/ 811710 w 1087200"/>
              <a:gd name="T79" fmla="*/ 777274 h 1087200"/>
              <a:gd name="T80" fmla="*/ 843686 w 1087200"/>
              <a:gd name="T81" fmla="*/ 708402 h 1087200"/>
              <a:gd name="T82" fmla="*/ 891651 w 1087200"/>
              <a:gd name="T83" fmla="*/ 398476 h 1087200"/>
              <a:gd name="T84" fmla="*/ 827698 w 1087200"/>
              <a:gd name="T85" fmla="*/ 359121 h 1087200"/>
              <a:gd name="T86" fmla="*/ 543600 w 1087200"/>
              <a:gd name="T87" fmla="*/ 0 h 1087200"/>
              <a:gd name="T88" fmla="*/ 779734 w 1087200"/>
              <a:gd name="T89" fmla="*/ 52884 h 1087200"/>
              <a:gd name="T90" fmla="*/ 962984 w 1087200"/>
              <a:gd name="T91" fmla="*/ 198008 h 1087200"/>
              <a:gd name="T92" fmla="*/ 1069982 w 1087200"/>
              <a:gd name="T93" fmla="*/ 407085 h 1087200"/>
              <a:gd name="T94" fmla="*/ 1076131 w 1087200"/>
              <a:gd name="T95" fmla="*/ 653058 h 1087200"/>
              <a:gd name="T96" fmla="*/ 978972 w 1087200"/>
              <a:gd name="T97" fmla="*/ 868284 h 1087200"/>
              <a:gd name="T98" fmla="*/ 803102 w 1087200"/>
              <a:gd name="T99" fmla="*/ 1022017 h 1087200"/>
              <a:gd name="T100" fmla="*/ 571887 w 1087200"/>
              <a:gd name="T101" fmla="*/ 1085970 h 1087200"/>
              <a:gd name="T102" fmla="*/ 332064 w 1087200"/>
              <a:gd name="T103" fmla="*/ 1044155 h 1087200"/>
              <a:gd name="T104" fmla="*/ 141435 w 1087200"/>
              <a:gd name="T105" fmla="*/ 908870 h 1087200"/>
              <a:gd name="T106" fmla="*/ 24598 w 1087200"/>
              <a:gd name="T107" fmla="*/ 704712 h 1087200"/>
              <a:gd name="T108" fmla="*/ 6150 w 1087200"/>
              <a:gd name="T109" fmla="*/ 461199 h 1087200"/>
              <a:gd name="T110" fmla="*/ 93470 w 1087200"/>
              <a:gd name="T111" fmla="*/ 239824 h 1087200"/>
              <a:gd name="T112" fmla="*/ 261961 w 1087200"/>
              <a:gd name="T113" fmla="*/ 78711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649368" y="621081"/>
                </a:moveTo>
                <a:lnTo>
                  <a:pt x="649368" y="650598"/>
                </a:lnTo>
                <a:lnTo>
                  <a:pt x="656747" y="650598"/>
                </a:lnTo>
                <a:lnTo>
                  <a:pt x="662897" y="650598"/>
                </a:lnTo>
                <a:lnTo>
                  <a:pt x="669046" y="648138"/>
                </a:lnTo>
                <a:lnTo>
                  <a:pt x="670276" y="645679"/>
                </a:lnTo>
                <a:lnTo>
                  <a:pt x="671505" y="643219"/>
                </a:lnTo>
                <a:lnTo>
                  <a:pt x="672735" y="635840"/>
                </a:lnTo>
                <a:lnTo>
                  <a:pt x="671505" y="628460"/>
                </a:lnTo>
                <a:lnTo>
                  <a:pt x="669046" y="623541"/>
                </a:lnTo>
                <a:lnTo>
                  <a:pt x="664126" y="621081"/>
                </a:lnTo>
                <a:lnTo>
                  <a:pt x="657977" y="621081"/>
                </a:lnTo>
                <a:lnTo>
                  <a:pt x="649368" y="621081"/>
                </a:lnTo>
                <a:close/>
                <a:moveTo>
                  <a:pt x="649368" y="576806"/>
                </a:moveTo>
                <a:lnTo>
                  <a:pt x="649368" y="602633"/>
                </a:lnTo>
                <a:lnTo>
                  <a:pt x="654288" y="602633"/>
                </a:lnTo>
                <a:lnTo>
                  <a:pt x="661667" y="602633"/>
                </a:lnTo>
                <a:lnTo>
                  <a:pt x="666587" y="600173"/>
                </a:lnTo>
                <a:lnTo>
                  <a:pt x="669046" y="596484"/>
                </a:lnTo>
                <a:lnTo>
                  <a:pt x="670276" y="590335"/>
                </a:lnTo>
                <a:lnTo>
                  <a:pt x="670276" y="584185"/>
                </a:lnTo>
                <a:lnTo>
                  <a:pt x="667816" y="580496"/>
                </a:lnTo>
                <a:lnTo>
                  <a:pt x="662897" y="578036"/>
                </a:lnTo>
                <a:lnTo>
                  <a:pt x="655518" y="576806"/>
                </a:lnTo>
                <a:lnTo>
                  <a:pt x="649368" y="576806"/>
                </a:lnTo>
                <a:close/>
                <a:moveTo>
                  <a:pt x="624771" y="558358"/>
                </a:moveTo>
                <a:lnTo>
                  <a:pt x="662897" y="558358"/>
                </a:lnTo>
                <a:lnTo>
                  <a:pt x="669046" y="558358"/>
                </a:lnTo>
                <a:lnTo>
                  <a:pt x="675196" y="559588"/>
                </a:lnTo>
                <a:lnTo>
                  <a:pt x="681345" y="562048"/>
                </a:lnTo>
                <a:lnTo>
                  <a:pt x="686265" y="564507"/>
                </a:lnTo>
                <a:lnTo>
                  <a:pt x="689954" y="568197"/>
                </a:lnTo>
                <a:lnTo>
                  <a:pt x="692414" y="573117"/>
                </a:lnTo>
                <a:lnTo>
                  <a:pt x="694874" y="579266"/>
                </a:lnTo>
                <a:lnTo>
                  <a:pt x="694874" y="586645"/>
                </a:lnTo>
                <a:lnTo>
                  <a:pt x="693644" y="595254"/>
                </a:lnTo>
                <a:lnTo>
                  <a:pt x="691184" y="602633"/>
                </a:lnTo>
                <a:lnTo>
                  <a:pt x="687494" y="607553"/>
                </a:lnTo>
                <a:lnTo>
                  <a:pt x="681345" y="611242"/>
                </a:lnTo>
                <a:lnTo>
                  <a:pt x="687494" y="613702"/>
                </a:lnTo>
                <a:lnTo>
                  <a:pt x="692414" y="618622"/>
                </a:lnTo>
                <a:lnTo>
                  <a:pt x="694874" y="622311"/>
                </a:lnTo>
                <a:lnTo>
                  <a:pt x="697333" y="626001"/>
                </a:lnTo>
                <a:lnTo>
                  <a:pt x="698563" y="630920"/>
                </a:lnTo>
                <a:lnTo>
                  <a:pt x="698563" y="637070"/>
                </a:lnTo>
                <a:lnTo>
                  <a:pt x="698563" y="643219"/>
                </a:lnTo>
                <a:lnTo>
                  <a:pt x="697333" y="649368"/>
                </a:lnTo>
                <a:lnTo>
                  <a:pt x="694874" y="654288"/>
                </a:lnTo>
                <a:lnTo>
                  <a:pt x="691184" y="660437"/>
                </a:lnTo>
                <a:lnTo>
                  <a:pt x="686265" y="664127"/>
                </a:lnTo>
                <a:lnTo>
                  <a:pt x="680115" y="666587"/>
                </a:lnTo>
                <a:lnTo>
                  <a:pt x="672736" y="669046"/>
                </a:lnTo>
                <a:lnTo>
                  <a:pt x="662897" y="670276"/>
                </a:lnTo>
                <a:lnTo>
                  <a:pt x="624771" y="670276"/>
                </a:lnTo>
                <a:lnTo>
                  <a:pt x="624771" y="558358"/>
                </a:lnTo>
                <a:close/>
                <a:moveTo>
                  <a:pt x="541140" y="558358"/>
                </a:moveTo>
                <a:lnTo>
                  <a:pt x="565738" y="558358"/>
                </a:lnTo>
                <a:lnTo>
                  <a:pt x="565738" y="635840"/>
                </a:lnTo>
                <a:lnTo>
                  <a:pt x="566967" y="643219"/>
                </a:lnTo>
                <a:lnTo>
                  <a:pt x="568197" y="648139"/>
                </a:lnTo>
                <a:lnTo>
                  <a:pt x="571887" y="651828"/>
                </a:lnTo>
                <a:lnTo>
                  <a:pt x="574347" y="653058"/>
                </a:lnTo>
                <a:lnTo>
                  <a:pt x="578036" y="653058"/>
                </a:lnTo>
                <a:lnTo>
                  <a:pt x="580496" y="653058"/>
                </a:lnTo>
                <a:lnTo>
                  <a:pt x="582956" y="651828"/>
                </a:lnTo>
                <a:lnTo>
                  <a:pt x="586645" y="648139"/>
                </a:lnTo>
                <a:lnTo>
                  <a:pt x="587875" y="643219"/>
                </a:lnTo>
                <a:lnTo>
                  <a:pt x="589105" y="635840"/>
                </a:lnTo>
                <a:lnTo>
                  <a:pt x="589105" y="558358"/>
                </a:lnTo>
                <a:lnTo>
                  <a:pt x="613702" y="558358"/>
                </a:lnTo>
                <a:lnTo>
                  <a:pt x="613702" y="635840"/>
                </a:lnTo>
                <a:lnTo>
                  <a:pt x="612472" y="645679"/>
                </a:lnTo>
                <a:lnTo>
                  <a:pt x="611243" y="653058"/>
                </a:lnTo>
                <a:lnTo>
                  <a:pt x="607553" y="659207"/>
                </a:lnTo>
                <a:lnTo>
                  <a:pt x="602633" y="664127"/>
                </a:lnTo>
                <a:lnTo>
                  <a:pt x="596484" y="667817"/>
                </a:lnTo>
                <a:lnTo>
                  <a:pt x="590335" y="670276"/>
                </a:lnTo>
                <a:lnTo>
                  <a:pt x="578036" y="671506"/>
                </a:lnTo>
                <a:lnTo>
                  <a:pt x="564508" y="670276"/>
                </a:lnTo>
                <a:lnTo>
                  <a:pt x="558358" y="667817"/>
                </a:lnTo>
                <a:lnTo>
                  <a:pt x="552209" y="665357"/>
                </a:lnTo>
                <a:lnTo>
                  <a:pt x="548519" y="660437"/>
                </a:lnTo>
                <a:lnTo>
                  <a:pt x="544830" y="654288"/>
                </a:lnTo>
                <a:lnTo>
                  <a:pt x="542370" y="645679"/>
                </a:lnTo>
                <a:lnTo>
                  <a:pt x="541140" y="635840"/>
                </a:lnTo>
                <a:lnTo>
                  <a:pt x="541140" y="558358"/>
                </a:lnTo>
                <a:close/>
                <a:moveTo>
                  <a:pt x="472268" y="558358"/>
                </a:moveTo>
                <a:lnTo>
                  <a:pt x="496866" y="558358"/>
                </a:lnTo>
                <a:lnTo>
                  <a:pt x="496866" y="649368"/>
                </a:lnTo>
                <a:lnTo>
                  <a:pt x="536221" y="649368"/>
                </a:lnTo>
                <a:lnTo>
                  <a:pt x="536221" y="670276"/>
                </a:lnTo>
                <a:lnTo>
                  <a:pt x="472268" y="670276"/>
                </a:lnTo>
                <a:lnTo>
                  <a:pt x="472268" y="558358"/>
                </a:lnTo>
                <a:close/>
                <a:moveTo>
                  <a:pt x="426763" y="555899"/>
                </a:moveTo>
                <a:lnTo>
                  <a:pt x="437832" y="557129"/>
                </a:lnTo>
                <a:lnTo>
                  <a:pt x="445211" y="559589"/>
                </a:lnTo>
                <a:lnTo>
                  <a:pt x="451360" y="564508"/>
                </a:lnTo>
                <a:lnTo>
                  <a:pt x="456280" y="570657"/>
                </a:lnTo>
                <a:lnTo>
                  <a:pt x="458740" y="576807"/>
                </a:lnTo>
                <a:lnTo>
                  <a:pt x="461199" y="582956"/>
                </a:lnTo>
                <a:lnTo>
                  <a:pt x="461199" y="596485"/>
                </a:lnTo>
                <a:lnTo>
                  <a:pt x="461199" y="597714"/>
                </a:lnTo>
                <a:lnTo>
                  <a:pt x="436602" y="597714"/>
                </a:lnTo>
                <a:lnTo>
                  <a:pt x="436602" y="596485"/>
                </a:lnTo>
                <a:lnTo>
                  <a:pt x="436602" y="586646"/>
                </a:lnTo>
                <a:lnTo>
                  <a:pt x="434142" y="579266"/>
                </a:lnTo>
                <a:lnTo>
                  <a:pt x="432912" y="578037"/>
                </a:lnTo>
                <a:lnTo>
                  <a:pt x="430453" y="575577"/>
                </a:lnTo>
                <a:lnTo>
                  <a:pt x="425533" y="575577"/>
                </a:lnTo>
                <a:lnTo>
                  <a:pt x="421844" y="575577"/>
                </a:lnTo>
                <a:lnTo>
                  <a:pt x="419384" y="576807"/>
                </a:lnTo>
                <a:lnTo>
                  <a:pt x="416924" y="579266"/>
                </a:lnTo>
                <a:lnTo>
                  <a:pt x="415694" y="582956"/>
                </a:lnTo>
                <a:lnTo>
                  <a:pt x="413234" y="596485"/>
                </a:lnTo>
                <a:lnTo>
                  <a:pt x="413234" y="614932"/>
                </a:lnTo>
                <a:lnTo>
                  <a:pt x="413234" y="635840"/>
                </a:lnTo>
                <a:lnTo>
                  <a:pt x="414464" y="641989"/>
                </a:lnTo>
                <a:lnTo>
                  <a:pt x="415694" y="646909"/>
                </a:lnTo>
                <a:lnTo>
                  <a:pt x="418154" y="649369"/>
                </a:lnTo>
                <a:lnTo>
                  <a:pt x="419384" y="651828"/>
                </a:lnTo>
                <a:lnTo>
                  <a:pt x="425533" y="653058"/>
                </a:lnTo>
                <a:lnTo>
                  <a:pt x="430453" y="651828"/>
                </a:lnTo>
                <a:lnTo>
                  <a:pt x="431683" y="650598"/>
                </a:lnTo>
                <a:lnTo>
                  <a:pt x="434142" y="648139"/>
                </a:lnTo>
                <a:lnTo>
                  <a:pt x="436602" y="640760"/>
                </a:lnTo>
                <a:lnTo>
                  <a:pt x="437832" y="627231"/>
                </a:lnTo>
                <a:lnTo>
                  <a:pt x="437832" y="626001"/>
                </a:lnTo>
                <a:lnTo>
                  <a:pt x="462429" y="626001"/>
                </a:lnTo>
                <a:lnTo>
                  <a:pt x="462429" y="627231"/>
                </a:lnTo>
                <a:lnTo>
                  <a:pt x="461199" y="643219"/>
                </a:lnTo>
                <a:lnTo>
                  <a:pt x="458740" y="651828"/>
                </a:lnTo>
                <a:lnTo>
                  <a:pt x="456280" y="657978"/>
                </a:lnTo>
                <a:lnTo>
                  <a:pt x="451360" y="664127"/>
                </a:lnTo>
                <a:lnTo>
                  <a:pt x="445211" y="667817"/>
                </a:lnTo>
                <a:lnTo>
                  <a:pt x="436602" y="670276"/>
                </a:lnTo>
                <a:lnTo>
                  <a:pt x="426763" y="671506"/>
                </a:lnTo>
                <a:lnTo>
                  <a:pt x="414464" y="670276"/>
                </a:lnTo>
                <a:lnTo>
                  <a:pt x="405855" y="667817"/>
                </a:lnTo>
                <a:lnTo>
                  <a:pt x="399706" y="662897"/>
                </a:lnTo>
                <a:lnTo>
                  <a:pt x="394786" y="655518"/>
                </a:lnTo>
                <a:lnTo>
                  <a:pt x="391097" y="646909"/>
                </a:lnTo>
                <a:lnTo>
                  <a:pt x="388637" y="637070"/>
                </a:lnTo>
                <a:lnTo>
                  <a:pt x="387407" y="613703"/>
                </a:lnTo>
                <a:lnTo>
                  <a:pt x="388637" y="591565"/>
                </a:lnTo>
                <a:lnTo>
                  <a:pt x="391097" y="580496"/>
                </a:lnTo>
                <a:lnTo>
                  <a:pt x="394786" y="573117"/>
                </a:lnTo>
                <a:lnTo>
                  <a:pt x="399706" y="565738"/>
                </a:lnTo>
                <a:lnTo>
                  <a:pt x="405855" y="560819"/>
                </a:lnTo>
                <a:lnTo>
                  <a:pt x="414464" y="557129"/>
                </a:lnTo>
                <a:lnTo>
                  <a:pt x="426763" y="555899"/>
                </a:lnTo>
                <a:close/>
                <a:moveTo>
                  <a:pt x="798182" y="501785"/>
                </a:moveTo>
                <a:lnTo>
                  <a:pt x="812941" y="527612"/>
                </a:lnTo>
                <a:lnTo>
                  <a:pt x="842457" y="533762"/>
                </a:lnTo>
                <a:lnTo>
                  <a:pt x="821550" y="555899"/>
                </a:lnTo>
                <a:lnTo>
                  <a:pt x="825239" y="584186"/>
                </a:lnTo>
                <a:lnTo>
                  <a:pt x="799412" y="571888"/>
                </a:lnTo>
                <a:lnTo>
                  <a:pt x="772355" y="585416"/>
                </a:lnTo>
                <a:lnTo>
                  <a:pt x="776045" y="555899"/>
                </a:lnTo>
                <a:lnTo>
                  <a:pt x="755137" y="533762"/>
                </a:lnTo>
                <a:lnTo>
                  <a:pt x="784654" y="527612"/>
                </a:lnTo>
                <a:lnTo>
                  <a:pt x="798182" y="501785"/>
                </a:lnTo>
                <a:close/>
                <a:moveTo>
                  <a:pt x="287788" y="501785"/>
                </a:moveTo>
                <a:lnTo>
                  <a:pt x="302547" y="527612"/>
                </a:lnTo>
                <a:lnTo>
                  <a:pt x="332063" y="533762"/>
                </a:lnTo>
                <a:lnTo>
                  <a:pt x="312385" y="555899"/>
                </a:lnTo>
                <a:lnTo>
                  <a:pt x="316075" y="584186"/>
                </a:lnTo>
                <a:lnTo>
                  <a:pt x="289018" y="571888"/>
                </a:lnTo>
                <a:lnTo>
                  <a:pt x="261961" y="585416"/>
                </a:lnTo>
                <a:lnTo>
                  <a:pt x="265651" y="555899"/>
                </a:lnTo>
                <a:lnTo>
                  <a:pt x="244743" y="533762"/>
                </a:lnTo>
                <a:lnTo>
                  <a:pt x="274260" y="527612"/>
                </a:lnTo>
                <a:lnTo>
                  <a:pt x="287788" y="501785"/>
                </a:lnTo>
                <a:close/>
                <a:moveTo>
                  <a:pt x="534991" y="429223"/>
                </a:moveTo>
                <a:lnTo>
                  <a:pt x="534991" y="503015"/>
                </a:lnTo>
                <a:lnTo>
                  <a:pt x="543600" y="503015"/>
                </a:lnTo>
                <a:lnTo>
                  <a:pt x="548520" y="503015"/>
                </a:lnTo>
                <a:lnTo>
                  <a:pt x="552209" y="501785"/>
                </a:lnTo>
                <a:lnTo>
                  <a:pt x="554669" y="499326"/>
                </a:lnTo>
                <a:lnTo>
                  <a:pt x="557129" y="495636"/>
                </a:lnTo>
                <a:lnTo>
                  <a:pt x="559588" y="490716"/>
                </a:lnTo>
                <a:lnTo>
                  <a:pt x="559588" y="484567"/>
                </a:lnTo>
                <a:lnTo>
                  <a:pt x="560818" y="466119"/>
                </a:lnTo>
                <a:lnTo>
                  <a:pt x="559588" y="448901"/>
                </a:lnTo>
                <a:lnTo>
                  <a:pt x="559588" y="442752"/>
                </a:lnTo>
                <a:lnTo>
                  <a:pt x="557129" y="437832"/>
                </a:lnTo>
                <a:lnTo>
                  <a:pt x="555899" y="434143"/>
                </a:lnTo>
                <a:lnTo>
                  <a:pt x="552209" y="431683"/>
                </a:lnTo>
                <a:lnTo>
                  <a:pt x="548520" y="430453"/>
                </a:lnTo>
                <a:lnTo>
                  <a:pt x="543600" y="429223"/>
                </a:lnTo>
                <a:lnTo>
                  <a:pt x="534991" y="429223"/>
                </a:lnTo>
                <a:close/>
                <a:moveTo>
                  <a:pt x="673966" y="410775"/>
                </a:moveTo>
                <a:lnTo>
                  <a:pt x="697333" y="410775"/>
                </a:lnTo>
                <a:lnTo>
                  <a:pt x="697333" y="431683"/>
                </a:lnTo>
                <a:lnTo>
                  <a:pt x="696103" y="442751"/>
                </a:lnTo>
                <a:lnTo>
                  <a:pt x="694874" y="447671"/>
                </a:lnTo>
                <a:lnTo>
                  <a:pt x="692414" y="452590"/>
                </a:lnTo>
                <a:lnTo>
                  <a:pt x="689954" y="456280"/>
                </a:lnTo>
                <a:lnTo>
                  <a:pt x="686265" y="458740"/>
                </a:lnTo>
                <a:lnTo>
                  <a:pt x="681345" y="461199"/>
                </a:lnTo>
                <a:lnTo>
                  <a:pt x="675196" y="462429"/>
                </a:lnTo>
                <a:lnTo>
                  <a:pt x="673966" y="462429"/>
                </a:lnTo>
                <a:lnTo>
                  <a:pt x="673966" y="448901"/>
                </a:lnTo>
                <a:lnTo>
                  <a:pt x="675196" y="448901"/>
                </a:lnTo>
                <a:lnTo>
                  <a:pt x="677656" y="447671"/>
                </a:lnTo>
                <a:lnTo>
                  <a:pt x="680115" y="445211"/>
                </a:lnTo>
                <a:lnTo>
                  <a:pt x="681345" y="441522"/>
                </a:lnTo>
                <a:lnTo>
                  <a:pt x="681345" y="437832"/>
                </a:lnTo>
                <a:lnTo>
                  <a:pt x="681345" y="436602"/>
                </a:lnTo>
                <a:lnTo>
                  <a:pt x="673966" y="436602"/>
                </a:lnTo>
                <a:lnTo>
                  <a:pt x="673966" y="410775"/>
                </a:lnTo>
                <a:close/>
                <a:moveTo>
                  <a:pt x="510394" y="410775"/>
                </a:moveTo>
                <a:lnTo>
                  <a:pt x="548520" y="410775"/>
                </a:lnTo>
                <a:lnTo>
                  <a:pt x="558359" y="412005"/>
                </a:lnTo>
                <a:lnTo>
                  <a:pt x="566968" y="414465"/>
                </a:lnTo>
                <a:lnTo>
                  <a:pt x="574347" y="419384"/>
                </a:lnTo>
                <a:lnTo>
                  <a:pt x="579267" y="425534"/>
                </a:lnTo>
                <a:lnTo>
                  <a:pt x="581727" y="434143"/>
                </a:lnTo>
                <a:lnTo>
                  <a:pt x="584186" y="442752"/>
                </a:lnTo>
                <a:lnTo>
                  <a:pt x="585416" y="453821"/>
                </a:lnTo>
                <a:lnTo>
                  <a:pt x="585416" y="464889"/>
                </a:lnTo>
                <a:lnTo>
                  <a:pt x="585416" y="478418"/>
                </a:lnTo>
                <a:lnTo>
                  <a:pt x="584186" y="489487"/>
                </a:lnTo>
                <a:lnTo>
                  <a:pt x="581727" y="500556"/>
                </a:lnTo>
                <a:lnTo>
                  <a:pt x="578037" y="507935"/>
                </a:lnTo>
                <a:lnTo>
                  <a:pt x="571888" y="514084"/>
                </a:lnTo>
                <a:lnTo>
                  <a:pt x="565738" y="519004"/>
                </a:lnTo>
                <a:lnTo>
                  <a:pt x="557129" y="521463"/>
                </a:lnTo>
                <a:lnTo>
                  <a:pt x="547290" y="522693"/>
                </a:lnTo>
                <a:lnTo>
                  <a:pt x="510394" y="522693"/>
                </a:lnTo>
                <a:lnTo>
                  <a:pt x="510394" y="410775"/>
                </a:lnTo>
                <a:close/>
                <a:moveTo>
                  <a:pt x="471038" y="410775"/>
                </a:moveTo>
                <a:lnTo>
                  <a:pt x="495635" y="410775"/>
                </a:lnTo>
                <a:lnTo>
                  <a:pt x="495635" y="522693"/>
                </a:lnTo>
                <a:lnTo>
                  <a:pt x="471038" y="522693"/>
                </a:lnTo>
                <a:lnTo>
                  <a:pt x="471038" y="410775"/>
                </a:lnTo>
                <a:close/>
                <a:moveTo>
                  <a:pt x="388637" y="410775"/>
                </a:moveTo>
                <a:lnTo>
                  <a:pt x="413235" y="410775"/>
                </a:lnTo>
                <a:lnTo>
                  <a:pt x="413235" y="451361"/>
                </a:lnTo>
                <a:lnTo>
                  <a:pt x="439062" y="410775"/>
                </a:lnTo>
                <a:lnTo>
                  <a:pt x="466119" y="410775"/>
                </a:lnTo>
                <a:lnTo>
                  <a:pt x="435372" y="458740"/>
                </a:lnTo>
                <a:lnTo>
                  <a:pt x="469808" y="522693"/>
                </a:lnTo>
                <a:lnTo>
                  <a:pt x="441521" y="522693"/>
                </a:lnTo>
                <a:lnTo>
                  <a:pt x="419384" y="478418"/>
                </a:lnTo>
                <a:lnTo>
                  <a:pt x="413235" y="489487"/>
                </a:lnTo>
                <a:lnTo>
                  <a:pt x="413235" y="522693"/>
                </a:lnTo>
                <a:lnTo>
                  <a:pt x="388637" y="522693"/>
                </a:lnTo>
                <a:lnTo>
                  <a:pt x="388637" y="410775"/>
                </a:lnTo>
                <a:close/>
                <a:moveTo>
                  <a:pt x="629691" y="408315"/>
                </a:moveTo>
                <a:lnTo>
                  <a:pt x="637071" y="408315"/>
                </a:lnTo>
                <a:lnTo>
                  <a:pt x="643220" y="409545"/>
                </a:lnTo>
                <a:lnTo>
                  <a:pt x="649369" y="412005"/>
                </a:lnTo>
                <a:lnTo>
                  <a:pt x="654289" y="415694"/>
                </a:lnTo>
                <a:lnTo>
                  <a:pt x="659208" y="419384"/>
                </a:lnTo>
                <a:lnTo>
                  <a:pt x="661668" y="425533"/>
                </a:lnTo>
                <a:lnTo>
                  <a:pt x="664128" y="431682"/>
                </a:lnTo>
                <a:lnTo>
                  <a:pt x="664128" y="439062"/>
                </a:lnTo>
                <a:lnTo>
                  <a:pt x="664128" y="443981"/>
                </a:lnTo>
                <a:lnTo>
                  <a:pt x="640760" y="443981"/>
                </a:lnTo>
                <a:lnTo>
                  <a:pt x="640760" y="442751"/>
                </a:lnTo>
                <a:lnTo>
                  <a:pt x="640760" y="435372"/>
                </a:lnTo>
                <a:lnTo>
                  <a:pt x="638300" y="430453"/>
                </a:lnTo>
                <a:lnTo>
                  <a:pt x="634611" y="427993"/>
                </a:lnTo>
                <a:lnTo>
                  <a:pt x="629691" y="427993"/>
                </a:lnTo>
                <a:lnTo>
                  <a:pt x="624772" y="427993"/>
                </a:lnTo>
                <a:lnTo>
                  <a:pt x="621082" y="430453"/>
                </a:lnTo>
                <a:lnTo>
                  <a:pt x="619852" y="434142"/>
                </a:lnTo>
                <a:lnTo>
                  <a:pt x="618622" y="439062"/>
                </a:lnTo>
                <a:lnTo>
                  <a:pt x="619852" y="442751"/>
                </a:lnTo>
                <a:lnTo>
                  <a:pt x="621082" y="446441"/>
                </a:lnTo>
                <a:lnTo>
                  <a:pt x="624772" y="448901"/>
                </a:lnTo>
                <a:lnTo>
                  <a:pt x="629691" y="452590"/>
                </a:lnTo>
                <a:lnTo>
                  <a:pt x="646909" y="459969"/>
                </a:lnTo>
                <a:lnTo>
                  <a:pt x="656748" y="464889"/>
                </a:lnTo>
                <a:lnTo>
                  <a:pt x="660438" y="468578"/>
                </a:lnTo>
                <a:lnTo>
                  <a:pt x="664128" y="472268"/>
                </a:lnTo>
                <a:lnTo>
                  <a:pt x="665358" y="475958"/>
                </a:lnTo>
                <a:lnTo>
                  <a:pt x="666587" y="479647"/>
                </a:lnTo>
                <a:lnTo>
                  <a:pt x="667817" y="489486"/>
                </a:lnTo>
                <a:lnTo>
                  <a:pt x="667817" y="498095"/>
                </a:lnTo>
                <a:lnTo>
                  <a:pt x="665358" y="505474"/>
                </a:lnTo>
                <a:lnTo>
                  <a:pt x="661668" y="511624"/>
                </a:lnTo>
                <a:lnTo>
                  <a:pt x="657978" y="515313"/>
                </a:lnTo>
                <a:lnTo>
                  <a:pt x="651829" y="519003"/>
                </a:lnTo>
                <a:lnTo>
                  <a:pt x="645680" y="521462"/>
                </a:lnTo>
                <a:lnTo>
                  <a:pt x="637071" y="523922"/>
                </a:lnTo>
                <a:lnTo>
                  <a:pt x="628461" y="523922"/>
                </a:lnTo>
                <a:lnTo>
                  <a:pt x="619852" y="523922"/>
                </a:lnTo>
                <a:lnTo>
                  <a:pt x="612473" y="521462"/>
                </a:lnTo>
                <a:lnTo>
                  <a:pt x="606324" y="519003"/>
                </a:lnTo>
                <a:lnTo>
                  <a:pt x="601404" y="515313"/>
                </a:lnTo>
                <a:lnTo>
                  <a:pt x="597715" y="510394"/>
                </a:lnTo>
                <a:lnTo>
                  <a:pt x="595255" y="505474"/>
                </a:lnTo>
                <a:lnTo>
                  <a:pt x="594025" y="498095"/>
                </a:lnTo>
                <a:lnTo>
                  <a:pt x="592795" y="490716"/>
                </a:lnTo>
                <a:lnTo>
                  <a:pt x="592795" y="485796"/>
                </a:lnTo>
                <a:lnTo>
                  <a:pt x="617393" y="485796"/>
                </a:lnTo>
                <a:lnTo>
                  <a:pt x="617393" y="489486"/>
                </a:lnTo>
                <a:lnTo>
                  <a:pt x="618622" y="496865"/>
                </a:lnTo>
                <a:lnTo>
                  <a:pt x="619852" y="501785"/>
                </a:lnTo>
                <a:lnTo>
                  <a:pt x="624772" y="504244"/>
                </a:lnTo>
                <a:lnTo>
                  <a:pt x="630921" y="505474"/>
                </a:lnTo>
                <a:lnTo>
                  <a:pt x="634611" y="504244"/>
                </a:lnTo>
                <a:lnTo>
                  <a:pt x="639530" y="503014"/>
                </a:lnTo>
                <a:lnTo>
                  <a:pt x="641990" y="499325"/>
                </a:lnTo>
                <a:lnTo>
                  <a:pt x="641990" y="493176"/>
                </a:lnTo>
                <a:lnTo>
                  <a:pt x="641990" y="487026"/>
                </a:lnTo>
                <a:lnTo>
                  <a:pt x="638300" y="483337"/>
                </a:lnTo>
                <a:lnTo>
                  <a:pt x="633381" y="479647"/>
                </a:lnTo>
                <a:lnTo>
                  <a:pt x="623542" y="475958"/>
                </a:lnTo>
                <a:lnTo>
                  <a:pt x="611243" y="471038"/>
                </a:lnTo>
                <a:lnTo>
                  <a:pt x="606324" y="467348"/>
                </a:lnTo>
                <a:lnTo>
                  <a:pt x="601404" y="463659"/>
                </a:lnTo>
                <a:lnTo>
                  <a:pt x="598945" y="458739"/>
                </a:lnTo>
                <a:lnTo>
                  <a:pt x="596485" y="453820"/>
                </a:lnTo>
                <a:lnTo>
                  <a:pt x="595255" y="448901"/>
                </a:lnTo>
                <a:lnTo>
                  <a:pt x="594025" y="441521"/>
                </a:lnTo>
                <a:lnTo>
                  <a:pt x="595255" y="434142"/>
                </a:lnTo>
                <a:lnTo>
                  <a:pt x="596485" y="426763"/>
                </a:lnTo>
                <a:lnTo>
                  <a:pt x="600174" y="421844"/>
                </a:lnTo>
                <a:lnTo>
                  <a:pt x="603864" y="416924"/>
                </a:lnTo>
                <a:lnTo>
                  <a:pt x="608784" y="413235"/>
                </a:lnTo>
                <a:lnTo>
                  <a:pt x="614933" y="410775"/>
                </a:lnTo>
                <a:lnTo>
                  <a:pt x="622312" y="409545"/>
                </a:lnTo>
                <a:lnTo>
                  <a:pt x="629691" y="408315"/>
                </a:lnTo>
                <a:close/>
                <a:moveTo>
                  <a:pt x="275489" y="309926"/>
                </a:moveTo>
                <a:lnTo>
                  <a:pt x="275489" y="319765"/>
                </a:lnTo>
                <a:lnTo>
                  <a:pt x="274260" y="328374"/>
                </a:lnTo>
                <a:lnTo>
                  <a:pt x="271800" y="336983"/>
                </a:lnTo>
                <a:lnTo>
                  <a:pt x="269340" y="344362"/>
                </a:lnTo>
                <a:lnTo>
                  <a:pt x="265651" y="351741"/>
                </a:lnTo>
                <a:lnTo>
                  <a:pt x="260731" y="359121"/>
                </a:lnTo>
                <a:lnTo>
                  <a:pt x="255812" y="366500"/>
                </a:lnTo>
                <a:lnTo>
                  <a:pt x="249662" y="372649"/>
                </a:lnTo>
                <a:lnTo>
                  <a:pt x="243513" y="378798"/>
                </a:lnTo>
                <a:lnTo>
                  <a:pt x="237364" y="383718"/>
                </a:lnTo>
                <a:lnTo>
                  <a:pt x="229984" y="387408"/>
                </a:lnTo>
                <a:lnTo>
                  <a:pt x="221375" y="391097"/>
                </a:lnTo>
                <a:lnTo>
                  <a:pt x="213996" y="394787"/>
                </a:lnTo>
                <a:lnTo>
                  <a:pt x="205387" y="396017"/>
                </a:lnTo>
                <a:lnTo>
                  <a:pt x="196778" y="398476"/>
                </a:lnTo>
                <a:lnTo>
                  <a:pt x="186939" y="398476"/>
                </a:lnTo>
                <a:lnTo>
                  <a:pt x="186939" y="688724"/>
                </a:lnTo>
                <a:lnTo>
                  <a:pt x="196778" y="688724"/>
                </a:lnTo>
                <a:lnTo>
                  <a:pt x="205387" y="691184"/>
                </a:lnTo>
                <a:lnTo>
                  <a:pt x="213996" y="692414"/>
                </a:lnTo>
                <a:lnTo>
                  <a:pt x="221375" y="696103"/>
                </a:lnTo>
                <a:lnTo>
                  <a:pt x="229984" y="699793"/>
                </a:lnTo>
                <a:lnTo>
                  <a:pt x="237364" y="703482"/>
                </a:lnTo>
                <a:lnTo>
                  <a:pt x="243513" y="708402"/>
                </a:lnTo>
                <a:lnTo>
                  <a:pt x="249662" y="714551"/>
                </a:lnTo>
                <a:lnTo>
                  <a:pt x="255812" y="720700"/>
                </a:lnTo>
                <a:lnTo>
                  <a:pt x="260731" y="728080"/>
                </a:lnTo>
                <a:lnTo>
                  <a:pt x="265651" y="735459"/>
                </a:lnTo>
                <a:lnTo>
                  <a:pt x="269340" y="742838"/>
                </a:lnTo>
                <a:lnTo>
                  <a:pt x="271800" y="750217"/>
                </a:lnTo>
                <a:lnTo>
                  <a:pt x="274260" y="758826"/>
                </a:lnTo>
                <a:lnTo>
                  <a:pt x="275489" y="767435"/>
                </a:lnTo>
                <a:lnTo>
                  <a:pt x="275489" y="777274"/>
                </a:lnTo>
                <a:lnTo>
                  <a:pt x="811710" y="777274"/>
                </a:lnTo>
                <a:lnTo>
                  <a:pt x="812940" y="767435"/>
                </a:lnTo>
                <a:lnTo>
                  <a:pt x="814170" y="758826"/>
                </a:lnTo>
                <a:lnTo>
                  <a:pt x="816629" y="750217"/>
                </a:lnTo>
                <a:lnTo>
                  <a:pt x="819089" y="742838"/>
                </a:lnTo>
                <a:lnTo>
                  <a:pt x="822779" y="735459"/>
                </a:lnTo>
                <a:lnTo>
                  <a:pt x="827698" y="728080"/>
                </a:lnTo>
                <a:lnTo>
                  <a:pt x="832618" y="720700"/>
                </a:lnTo>
                <a:lnTo>
                  <a:pt x="837537" y="714551"/>
                </a:lnTo>
                <a:lnTo>
                  <a:pt x="843686" y="708402"/>
                </a:lnTo>
                <a:lnTo>
                  <a:pt x="851066" y="703482"/>
                </a:lnTo>
                <a:lnTo>
                  <a:pt x="858445" y="699793"/>
                </a:lnTo>
                <a:lnTo>
                  <a:pt x="865824" y="696103"/>
                </a:lnTo>
                <a:lnTo>
                  <a:pt x="874433" y="692414"/>
                </a:lnTo>
                <a:lnTo>
                  <a:pt x="883042" y="691184"/>
                </a:lnTo>
                <a:lnTo>
                  <a:pt x="891651" y="688724"/>
                </a:lnTo>
                <a:lnTo>
                  <a:pt x="900260" y="688724"/>
                </a:lnTo>
                <a:lnTo>
                  <a:pt x="900260" y="398476"/>
                </a:lnTo>
                <a:lnTo>
                  <a:pt x="891651" y="398476"/>
                </a:lnTo>
                <a:lnTo>
                  <a:pt x="883042" y="396017"/>
                </a:lnTo>
                <a:lnTo>
                  <a:pt x="874433" y="394787"/>
                </a:lnTo>
                <a:lnTo>
                  <a:pt x="865824" y="391097"/>
                </a:lnTo>
                <a:lnTo>
                  <a:pt x="858445" y="387408"/>
                </a:lnTo>
                <a:lnTo>
                  <a:pt x="851066" y="383718"/>
                </a:lnTo>
                <a:lnTo>
                  <a:pt x="843686" y="377569"/>
                </a:lnTo>
                <a:lnTo>
                  <a:pt x="837537" y="372649"/>
                </a:lnTo>
                <a:lnTo>
                  <a:pt x="832618" y="366500"/>
                </a:lnTo>
                <a:lnTo>
                  <a:pt x="827698" y="359121"/>
                </a:lnTo>
                <a:lnTo>
                  <a:pt x="822779" y="351741"/>
                </a:lnTo>
                <a:lnTo>
                  <a:pt x="819089" y="344362"/>
                </a:lnTo>
                <a:lnTo>
                  <a:pt x="816629" y="336983"/>
                </a:lnTo>
                <a:lnTo>
                  <a:pt x="814170" y="328374"/>
                </a:lnTo>
                <a:lnTo>
                  <a:pt x="812940" y="319765"/>
                </a:lnTo>
                <a:lnTo>
                  <a:pt x="811710" y="309926"/>
                </a:lnTo>
                <a:lnTo>
                  <a:pt x="275489" y="30992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288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5385" y="332063"/>
                </a:lnTo>
                <a:lnTo>
                  <a:pt x="1053994" y="356661"/>
                </a:lnTo>
                <a:lnTo>
                  <a:pt x="1062603" y="38125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538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5329" y="1022017"/>
                </a:lnTo>
                <a:lnTo>
                  <a:pt x="261961" y="1008489"/>
                </a:lnTo>
                <a:lnTo>
                  <a:pt x="239824" y="99373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641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1258"/>
                </a:lnTo>
                <a:lnTo>
                  <a:pt x="33207" y="356661"/>
                </a:lnTo>
                <a:lnTo>
                  <a:pt x="43045" y="332063"/>
                </a:lnTo>
                <a:lnTo>
                  <a:pt x="54114" y="307466"/>
                </a:lnTo>
                <a:lnTo>
                  <a:pt x="6641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5329" y="65183"/>
                </a:lnTo>
                <a:lnTo>
                  <a:pt x="308696" y="5288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0" name="Freeform 394"/>
          <p:cNvSpPr>
            <a:spLocks noEditPoints="1"/>
          </p:cNvSpPr>
          <p:nvPr userDrawn="1"/>
        </p:nvSpPr>
        <p:spPr bwMode="auto">
          <a:xfrm>
            <a:off x="4700206" y="2530624"/>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288 w 724"/>
              <a:gd name="T35" fmla="*/ 522 h 726"/>
              <a:gd name="T36" fmla="*/ 286 w 724"/>
              <a:gd name="T37" fmla="*/ 530 h 726"/>
              <a:gd name="T38" fmla="*/ 222 w 724"/>
              <a:gd name="T39" fmla="*/ 500 h 726"/>
              <a:gd name="T40" fmla="*/ 158 w 724"/>
              <a:gd name="T41" fmla="*/ 530 h 726"/>
              <a:gd name="T42" fmla="*/ 166 w 724"/>
              <a:gd name="T43" fmla="*/ 460 h 726"/>
              <a:gd name="T44" fmla="*/ 120 w 724"/>
              <a:gd name="T45" fmla="*/ 408 h 726"/>
              <a:gd name="T46" fmla="*/ 188 w 724"/>
              <a:gd name="T47" fmla="*/ 394 h 726"/>
              <a:gd name="T48" fmla="*/ 222 w 724"/>
              <a:gd name="T49" fmla="*/ 334 h 726"/>
              <a:gd name="T50" fmla="*/ 256 w 724"/>
              <a:gd name="T51" fmla="*/ 394 h 726"/>
              <a:gd name="T52" fmla="*/ 326 w 724"/>
              <a:gd name="T53" fmla="*/ 408 h 726"/>
              <a:gd name="T54" fmla="*/ 306 w 724"/>
              <a:gd name="T55" fmla="*/ 326 h 726"/>
              <a:gd name="T56" fmla="*/ 298 w 724"/>
              <a:gd name="T57" fmla="*/ 326 h 726"/>
              <a:gd name="T58" fmla="*/ 260 w 724"/>
              <a:gd name="T59" fmla="*/ 212 h 726"/>
              <a:gd name="T60" fmla="*/ 260 w 724"/>
              <a:gd name="T61" fmla="*/ 204 h 726"/>
              <a:gd name="T62" fmla="*/ 356 w 724"/>
              <a:gd name="T63" fmla="*/ 134 h 726"/>
              <a:gd name="T64" fmla="*/ 362 w 724"/>
              <a:gd name="T65" fmla="*/ 130 h 726"/>
              <a:gd name="T66" fmla="*/ 460 w 724"/>
              <a:gd name="T67" fmla="*/ 200 h 726"/>
              <a:gd name="T68" fmla="*/ 466 w 724"/>
              <a:gd name="T69" fmla="*/ 204 h 726"/>
              <a:gd name="T70" fmla="*/ 428 w 724"/>
              <a:gd name="T71" fmla="*/ 320 h 726"/>
              <a:gd name="T72" fmla="*/ 426 w 724"/>
              <a:gd name="T73" fmla="*/ 326 h 726"/>
              <a:gd name="T74" fmla="*/ 362 w 724"/>
              <a:gd name="T75" fmla="*/ 296 h 726"/>
              <a:gd name="T76" fmla="*/ 568 w 724"/>
              <a:gd name="T77" fmla="*/ 522 h 726"/>
              <a:gd name="T78" fmla="*/ 566 w 724"/>
              <a:gd name="T79" fmla="*/ 530 h 726"/>
              <a:gd name="T80" fmla="*/ 502 w 724"/>
              <a:gd name="T81" fmla="*/ 500 h 726"/>
              <a:gd name="T82" fmla="*/ 438 w 724"/>
              <a:gd name="T83" fmla="*/ 530 h 726"/>
              <a:gd name="T84" fmla="*/ 446 w 724"/>
              <a:gd name="T85" fmla="*/ 460 h 726"/>
              <a:gd name="T86" fmla="*/ 400 w 724"/>
              <a:gd name="T87" fmla="*/ 408 h 726"/>
              <a:gd name="T88" fmla="*/ 468 w 724"/>
              <a:gd name="T89" fmla="*/ 394 h 726"/>
              <a:gd name="T90" fmla="*/ 502 w 724"/>
              <a:gd name="T91" fmla="*/ 334 h 726"/>
              <a:gd name="T92" fmla="*/ 536 w 724"/>
              <a:gd name="T93" fmla="*/ 394 h 726"/>
              <a:gd name="T94" fmla="*/ 606 w 724"/>
              <a:gd name="T95" fmla="*/ 408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24" y="414"/>
                </a:moveTo>
                <a:lnTo>
                  <a:pt x="278" y="460"/>
                </a:lnTo>
                <a:lnTo>
                  <a:pt x="288" y="522"/>
                </a:lnTo>
                <a:lnTo>
                  <a:pt x="288" y="526"/>
                </a:lnTo>
                <a:lnTo>
                  <a:pt x="286" y="530"/>
                </a:lnTo>
                <a:lnTo>
                  <a:pt x="282" y="530"/>
                </a:lnTo>
                <a:lnTo>
                  <a:pt x="278" y="530"/>
                </a:lnTo>
                <a:lnTo>
                  <a:pt x="222" y="500"/>
                </a:lnTo>
                <a:lnTo>
                  <a:pt x="166" y="530"/>
                </a:lnTo>
                <a:lnTo>
                  <a:pt x="162" y="530"/>
                </a:lnTo>
                <a:lnTo>
                  <a:pt x="158" y="530"/>
                </a:lnTo>
                <a:lnTo>
                  <a:pt x="156" y="526"/>
                </a:lnTo>
                <a:lnTo>
                  <a:pt x="156" y="522"/>
                </a:lnTo>
                <a:lnTo>
                  <a:pt x="166" y="460"/>
                </a:lnTo>
                <a:lnTo>
                  <a:pt x="120" y="414"/>
                </a:lnTo>
                <a:lnTo>
                  <a:pt x="118" y="412"/>
                </a:lnTo>
                <a:lnTo>
                  <a:pt x="120" y="408"/>
                </a:lnTo>
                <a:lnTo>
                  <a:pt x="122" y="404"/>
                </a:lnTo>
                <a:lnTo>
                  <a:pt x="124" y="404"/>
                </a:lnTo>
                <a:lnTo>
                  <a:pt x="188" y="394"/>
                </a:lnTo>
                <a:lnTo>
                  <a:pt x="216" y="336"/>
                </a:lnTo>
                <a:lnTo>
                  <a:pt x="218" y="334"/>
                </a:lnTo>
                <a:lnTo>
                  <a:pt x="222" y="334"/>
                </a:lnTo>
                <a:lnTo>
                  <a:pt x="226" y="334"/>
                </a:lnTo>
                <a:lnTo>
                  <a:pt x="228" y="336"/>
                </a:lnTo>
                <a:lnTo>
                  <a:pt x="256" y="394"/>
                </a:lnTo>
                <a:lnTo>
                  <a:pt x="320" y="404"/>
                </a:lnTo>
                <a:lnTo>
                  <a:pt x="324" y="404"/>
                </a:lnTo>
                <a:lnTo>
                  <a:pt x="326" y="408"/>
                </a:lnTo>
                <a:lnTo>
                  <a:pt x="326" y="412"/>
                </a:lnTo>
                <a:lnTo>
                  <a:pt x="324" y="414"/>
                </a:lnTo>
                <a:close/>
                <a:moveTo>
                  <a:pt x="306" y="326"/>
                </a:moveTo>
                <a:lnTo>
                  <a:pt x="306" y="326"/>
                </a:lnTo>
                <a:lnTo>
                  <a:pt x="302" y="326"/>
                </a:lnTo>
                <a:lnTo>
                  <a:pt x="298" y="326"/>
                </a:lnTo>
                <a:lnTo>
                  <a:pt x="296" y="322"/>
                </a:lnTo>
                <a:lnTo>
                  <a:pt x="296" y="320"/>
                </a:lnTo>
                <a:lnTo>
                  <a:pt x="306" y="256"/>
                </a:lnTo>
                <a:lnTo>
                  <a:pt x="260" y="212"/>
                </a:lnTo>
                <a:lnTo>
                  <a:pt x="258" y="208"/>
                </a:lnTo>
                <a:lnTo>
                  <a:pt x="260" y="204"/>
                </a:lnTo>
                <a:lnTo>
                  <a:pt x="262" y="202"/>
                </a:lnTo>
                <a:lnTo>
                  <a:pt x="264" y="200"/>
                </a:lnTo>
                <a:lnTo>
                  <a:pt x="328" y="190"/>
                </a:lnTo>
                <a:lnTo>
                  <a:pt x="356" y="134"/>
                </a:lnTo>
                <a:lnTo>
                  <a:pt x="358" y="130"/>
                </a:lnTo>
                <a:lnTo>
                  <a:pt x="362" y="130"/>
                </a:lnTo>
                <a:lnTo>
                  <a:pt x="366" y="130"/>
                </a:lnTo>
                <a:lnTo>
                  <a:pt x="368" y="134"/>
                </a:lnTo>
                <a:lnTo>
                  <a:pt x="396" y="190"/>
                </a:lnTo>
                <a:lnTo>
                  <a:pt x="460" y="200"/>
                </a:lnTo>
                <a:lnTo>
                  <a:pt x="464" y="202"/>
                </a:lnTo>
                <a:lnTo>
                  <a:pt x="466" y="204"/>
                </a:lnTo>
                <a:lnTo>
                  <a:pt x="466" y="208"/>
                </a:lnTo>
                <a:lnTo>
                  <a:pt x="464" y="212"/>
                </a:lnTo>
                <a:lnTo>
                  <a:pt x="418" y="256"/>
                </a:lnTo>
                <a:lnTo>
                  <a:pt x="428" y="320"/>
                </a:lnTo>
                <a:lnTo>
                  <a:pt x="428" y="322"/>
                </a:lnTo>
                <a:lnTo>
                  <a:pt x="426" y="326"/>
                </a:lnTo>
                <a:lnTo>
                  <a:pt x="422" y="326"/>
                </a:lnTo>
                <a:lnTo>
                  <a:pt x="418" y="326"/>
                </a:lnTo>
                <a:lnTo>
                  <a:pt x="362" y="296"/>
                </a:lnTo>
                <a:lnTo>
                  <a:pt x="306" y="326"/>
                </a:lnTo>
                <a:close/>
                <a:moveTo>
                  <a:pt x="604" y="414"/>
                </a:moveTo>
                <a:lnTo>
                  <a:pt x="558" y="460"/>
                </a:lnTo>
                <a:lnTo>
                  <a:pt x="568" y="522"/>
                </a:lnTo>
                <a:lnTo>
                  <a:pt x="568" y="526"/>
                </a:lnTo>
                <a:lnTo>
                  <a:pt x="566" y="530"/>
                </a:lnTo>
                <a:lnTo>
                  <a:pt x="562" y="530"/>
                </a:lnTo>
                <a:lnTo>
                  <a:pt x="558" y="530"/>
                </a:lnTo>
                <a:lnTo>
                  <a:pt x="502" y="500"/>
                </a:lnTo>
                <a:lnTo>
                  <a:pt x="446" y="530"/>
                </a:lnTo>
                <a:lnTo>
                  <a:pt x="442" y="530"/>
                </a:lnTo>
                <a:lnTo>
                  <a:pt x="438" y="530"/>
                </a:lnTo>
                <a:lnTo>
                  <a:pt x="436" y="526"/>
                </a:lnTo>
                <a:lnTo>
                  <a:pt x="436" y="522"/>
                </a:lnTo>
                <a:lnTo>
                  <a:pt x="446" y="460"/>
                </a:lnTo>
                <a:lnTo>
                  <a:pt x="400" y="414"/>
                </a:lnTo>
                <a:lnTo>
                  <a:pt x="398" y="412"/>
                </a:lnTo>
                <a:lnTo>
                  <a:pt x="400" y="408"/>
                </a:lnTo>
                <a:lnTo>
                  <a:pt x="402" y="404"/>
                </a:lnTo>
                <a:lnTo>
                  <a:pt x="404" y="404"/>
                </a:lnTo>
                <a:lnTo>
                  <a:pt x="468" y="394"/>
                </a:lnTo>
                <a:lnTo>
                  <a:pt x="496" y="336"/>
                </a:lnTo>
                <a:lnTo>
                  <a:pt x="498" y="334"/>
                </a:lnTo>
                <a:lnTo>
                  <a:pt x="502" y="334"/>
                </a:lnTo>
                <a:lnTo>
                  <a:pt x="506" y="334"/>
                </a:lnTo>
                <a:lnTo>
                  <a:pt x="508" y="336"/>
                </a:lnTo>
                <a:lnTo>
                  <a:pt x="536" y="394"/>
                </a:lnTo>
                <a:lnTo>
                  <a:pt x="600" y="404"/>
                </a:lnTo>
                <a:lnTo>
                  <a:pt x="604" y="404"/>
                </a:lnTo>
                <a:lnTo>
                  <a:pt x="606" y="408"/>
                </a:lnTo>
                <a:lnTo>
                  <a:pt x="606" y="412"/>
                </a:lnTo>
                <a:lnTo>
                  <a:pt x="604" y="41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Freeform 399"/>
          <p:cNvSpPr>
            <a:spLocks noEditPoints="1"/>
          </p:cNvSpPr>
          <p:nvPr userDrawn="1"/>
        </p:nvSpPr>
        <p:spPr bwMode="auto">
          <a:xfrm>
            <a:off x="6177509" y="253062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580 w 726"/>
              <a:gd name="T69" fmla="*/ 302 h 726"/>
              <a:gd name="T70" fmla="*/ 506 w 726"/>
              <a:gd name="T71" fmla="*/ 534 h 726"/>
              <a:gd name="T72" fmla="*/ 504 w 726"/>
              <a:gd name="T73" fmla="*/ 540 h 726"/>
              <a:gd name="T74" fmla="*/ 500 w 726"/>
              <a:gd name="T75" fmla="*/ 546 h 726"/>
              <a:gd name="T76" fmla="*/ 492 w 726"/>
              <a:gd name="T77" fmla="*/ 550 h 726"/>
              <a:gd name="T78" fmla="*/ 486 w 726"/>
              <a:gd name="T79" fmla="*/ 548 h 726"/>
              <a:gd name="T80" fmla="*/ 242 w 726"/>
              <a:gd name="T81" fmla="*/ 548 h 726"/>
              <a:gd name="T82" fmla="*/ 234 w 726"/>
              <a:gd name="T83" fmla="*/ 550 h 726"/>
              <a:gd name="T84" fmla="*/ 228 w 726"/>
              <a:gd name="T85" fmla="*/ 546 h 726"/>
              <a:gd name="T86" fmla="*/ 222 w 726"/>
              <a:gd name="T87" fmla="*/ 534 h 726"/>
              <a:gd name="T88" fmla="*/ 148 w 726"/>
              <a:gd name="T89" fmla="*/ 302 h 726"/>
              <a:gd name="T90" fmla="*/ 144 w 726"/>
              <a:gd name="T91" fmla="*/ 296 h 726"/>
              <a:gd name="T92" fmla="*/ 144 w 726"/>
              <a:gd name="T93" fmla="*/ 288 h 726"/>
              <a:gd name="T94" fmla="*/ 154 w 726"/>
              <a:gd name="T95" fmla="*/ 278 h 726"/>
              <a:gd name="T96" fmla="*/ 352 w 726"/>
              <a:gd name="T97" fmla="*/ 136 h 726"/>
              <a:gd name="T98" fmla="*/ 356 w 726"/>
              <a:gd name="T99" fmla="*/ 130 h 726"/>
              <a:gd name="T100" fmla="*/ 364 w 726"/>
              <a:gd name="T101" fmla="*/ 128 h 726"/>
              <a:gd name="T102" fmla="*/ 376 w 726"/>
              <a:gd name="T103" fmla="*/ 136 h 726"/>
              <a:gd name="T104" fmla="*/ 574 w 726"/>
              <a:gd name="T105" fmla="*/ 278 h 726"/>
              <a:gd name="T106" fmla="*/ 580 w 726"/>
              <a:gd name="T107" fmla="*/ 282 h 726"/>
              <a:gd name="T108" fmla="*/ 584 w 726"/>
              <a:gd name="T109" fmla="*/ 288 h 726"/>
              <a:gd name="T110" fmla="*/ 580 w 726"/>
              <a:gd name="T111" fmla="*/ 30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80" y="302"/>
                </a:moveTo>
                <a:lnTo>
                  <a:pt x="482" y="398"/>
                </a:lnTo>
                <a:lnTo>
                  <a:pt x="506" y="534"/>
                </a:lnTo>
                <a:lnTo>
                  <a:pt x="504" y="540"/>
                </a:lnTo>
                <a:lnTo>
                  <a:pt x="500" y="546"/>
                </a:lnTo>
                <a:lnTo>
                  <a:pt x="496" y="548"/>
                </a:lnTo>
                <a:lnTo>
                  <a:pt x="492" y="550"/>
                </a:lnTo>
                <a:lnTo>
                  <a:pt x="486" y="548"/>
                </a:lnTo>
                <a:lnTo>
                  <a:pt x="364" y="484"/>
                </a:lnTo>
                <a:lnTo>
                  <a:pt x="242" y="548"/>
                </a:lnTo>
                <a:lnTo>
                  <a:pt x="234" y="550"/>
                </a:lnTo>
                <a:lnTo>
                  <a:pt x="228" y="546"/>
                </a:lnTo>
                <a:lnTo>
                  <a:pt x="224" y="540"/>
                </a:lnTo>
                <a:lnTo>
                  <a:pt x="222" y="534"/>
                </a:lnTo>
                <a:lnTo>
                  <a:pt x="246" y="398"/>
                </a:lnTo>
                <a:lnTo>
                  <a:pt x="148" y="302"/>
                </a:lnTo>
                <a:lnTo>
                  <a:pt x="144" y="296"/>
                </a:lnTo>
                <a:lnTo>
                  <a:pt x="144" y="288"/>
                </a:lnTo>
                <a:lnTo>
                  <a:pt x="148" y="282"/>
                </a:lnTo>
                <a:lnTo>
                  <a:pt x="154" y="278"/>
                </a:lnTo>
                <a:lnTo>
                  <a:pt x="290" y="258"/>
                </a:lnTo>
                <a:lnTo>
                  <a:pt x="352" y="136"/>
                </a:lnTo>
                <a:lnTo>
                  <a:pt x="356" y="130"/>
                </a:lnTo>
                <a:lnTo>
                  <a:pt x="364" y="128"/>
                </a:lnTo>
                <a:lnTo>
                  <a:pt x="372" y="130"/>
                </a:lnTo>
                <a:lnTo>
                  <a:pt x="376" y="136"/>
                </a:lnTo>
                <a:lnTo>
                  <a:pt x="438" y="258"/>
                </a:lnTo>
                <a:lnTo>
                  <a:pt x="574" y="278"/>
                </a:lnTo>
                <a:lnTo>
                  <a:pt x="580" y="282"/>
                </a:lnTo>
                <a:lnTo>
                  <a:pt x="584" y="288"/>
                </a:lnTo>
                <a:lnTo>
                  <a:pt x="584" y="296"/>
                </a:lnTo>
                <a:lnTo>
                  <a:pt x="580" y="30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2" name="Freeform 419"/>
          <p:cNvSpPr>
            <a:spLocks noEditPoints="1"/>
          </p:cNvSpPr>
          <p:nvPr userDrawn="1"/>
        </p:nvSpPr>
        <p:spPr bwMode="auto">
          <a:xfrm>
            <a:off x="12086719"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04 w 726"/>
              <a:gd name="T47" fmla="*/ 382 h 726"/>
              <a:gd name="T48" fmla="*/ 238 w 726"/>
              <a:gd name="T49" fmla="*/ 348 h 726"/>
              <a:gd name="T50" fmla="*/ 258 w 726"/>
              <a:gd name="T51" fmla="*/ 484 h 726"/>
              <a:gd name="T52" fmla="*/ 270 w 726"/>
              <a:gd name="T53" fmla="*/ 438 h 726"/>
              <a:gd name="T54" fmla="*/ 322 w 726"/>
              <a:gd name="T55" fmla="*/ 424 h 726"/>
              <a:gd name="T56" fmla="*/ 364 w 726"/>
              <a:gd name="T57" fmla="*/ 420 h 726"/>
              <a:gd name="T58" fmla="*/ 440 w 726"/>
              <a:gd name="T59" fmla="*/ 430 h 726"/>
              <a:gd name="T60" fmla="*/ 470 w 726"/>
              <a:gd name="T61" fmla="*/ 446 h 726"/>
              <a:gd name="T62" fmla="*/ 470 w 726"/>
              <a:gd name="T63" fmla="*/ 426 h 726"/>
              <a:gd name="T64" fmla="*/ 402 w 726"/>
              <a:gd name="T65" fmla="*/ 406 h 726"/>
              <a:gd name="T66" fmla="*/ 326 w 726"/>
              <a:gd name="T67" fmla="*/ 406 h 726"/>
              <a:gd name="T68" fmla="*/ 258 w 726"/>
              <a:gd name="T69" fmla="*/ 426 h 726"/>
              <a:gd name="T70" fmla="*/ 260 w 726"/>
              <a:gd name="T71" fmla="*/ 236 h 726"/>
              <a:gd name="T72" fmla="*/ 288 w 726"/>
              <a:gd name="T73" fmla="*/ 194 h 726"/>
              <a:gd name="T74" fmla="*/ 320 w 726"/>
              <a:gd name="T75" fmla="*/ 176 h 726"/>
              <a:gd name="T76" fmla="*/ 362 w 726"/>
              <a:gd name="T77" fmla="*/ 172 h 726"/>
              <a:gd name="T78" fmla="*/ 424 w 726"/>
              <a:gd name="T79" fmla="*/ 184 h 726"/>
              <a:gd name="T80" fmla="*/ 452 w 726"/>
              <a:gd name="T81" fmla="*/ 206 h 726"/>
              <a:gd name="T82" fmla="*/ 470 w 726"/>
              <a:gd name="T83" fmla="*/ 258 h 726"/>
              <a:gd name="T84" fmla="*/ 524 w 726"/>
              <a:gd name="T85" fmla="*/ 382 h 726"/>
              <a:gd name="T86" fmla="*/ 490 w 726"/>
              <a:gd name="T87" fmla="*/ 348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62" y="0"/>
                </a:moveTo>
                <a:lnTo>
                  <a:pt x="362"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38" y="568"/>
                </a:moveTo>
                <a:lnTo>
                  <a:pt x="204" y="568"/>
                </a:lnTo>
                <a:lnTo>
                  <a:pt x="204" y="382"/>
                </a:lnTo>
                <a:lnTo>
                  <a:pt x="188" y="382"/>
                </a:lnTo>
                <a:lnTo>
                  <a:pt x="188" y="348"/>
                </a:lnTo>
                <a:lnTo>
                  <a:pt x="238" y="348"/>
                </a:lnTo>
                <a:lnTo>
                  <a:pt x="238" y="568"/>
                </a:lnTo>
                <a:close/>
                <a:moveTo>
                  <a:pt x="470" y="484"/>
                </a:moveTo>
                <a:lnTo>
                  <a:pt x="258" y="484"/>
                </a:lnTo>
                <a:lnTo>
                  <a:pt x="258" y="446"/>
                </a:lnTo>
                <a:lnTo>
                  <a:pt x="270" y="438"/>
                </a:lnTo>
                <a:lnTo>
                  <a:pt x="290" y="430"/>
                </a:lnTo>
                <a:lnTo>
                  <a:pt x="304" y="426"/>
                </a:lnTo>
                <a:lnTo>
                  <a:pt x="322" y="424"/>
                </a:lnTo>
                <a:lnTo>
                  <a:pt x="342" y="422"/>
                </a:lnTo>
                <a:lnTo>
                  <a:pt x="364" y="420"/>
                </a:lnTo>
                <a:lnTo>
                  <a:pt x="396" y="422"/>
                </a:lnTo>
                <a:lnTo>
                  <a:pt x="422" y="426"/>
                </a:lnTo>
                <a:lnTo>
                  <a:pt x="440" y="430"/>
                </a:lnTo>
                <a:lnTo>
                  <a:pt x="454" y="436"/>
                </a:lnTo>
                <a:lnTo>
                  <a:pt x="470" y="446"/>
                </a:lnTo>
                <a:lnTo>
                  <a:pt x="470" y="484"/>
                </a:lnTo>
                <a:close/>
                <a:moveTo>
                  <a:pt x="470" y="426"/>
                </a:moveTo>
                <a:lnTo>
                  <a:pt x="470" y="426"/>
                </a:lnTo>
                <a:lnTo>
                  <a:pt x="454" y="418"/>
                </a:lnTo>
                <a:lnTo>
                  <a:pt x="430" y="410"/>
                </a:lnTo>
                <a:lnTo>
                  <a:pt x="402" y="406"/>
                </a:lnTo>
                <a:lnTo>
                  <a:pt x="364" y="404"/>
                </a:lnTo>
                <a:lnTo>
                  <a:pt x="326" y="406"/>
                </a:lnTo>
                <a:lnTo>
                  <a:pt x="298" y="412"/>
                </a:lnTo>
                <a:lnTo>
                  <a:pt x="274" y="418"/>
                </a:lnTo>
                <a:lnTo>
                  <a:pt x="258" y="426"/>
                </a:lnTo>
                <a:lnTo>
                  <a:pt x="258" y="258"/>
                </a:lnTo>
                <a:lnTo>
                  <a:pt x="260" y="236"/>
                </a:lnTo>
                <a:lnTo>
                  <a:pt x="266" y="220"/>
                </a:lnTo>
                <a:lnTo>
                  <a:pt x="276" y="206"/>
                </a:lnTo>
                <a:lnTo>
                  <a:pt x="288" y="194"/>
                </a:lnTo>
                <a:lnTo>
                  <a:pt x="302" y="184"/>
                </a:lnTo>
                <a:lnTo>
                  <a:pt x="320" y="176"/>
                </a:lnTo>
                <a:lnTo>
                  <a:pt x="340" y="172"/>
                </a:lnTo>
                <a:lnTo>
                  <a:pt x="362" y="172"/>
                </a:lnTo>
                <a:lnTo>
                  <a:pt x="386" y="172"/>
                </a:lnTo>
                <a:lnTo>
                  <a:pt x="406" y="176"/>
                </a:lnTo>
                <a:lnTo>
                  <a:pt x="424" y="184"/>
                </a:lnTo>
                <a:lnTo>
                  <a:pt x="440" y="194"/>
                </a:lnTo>
                <a:lnTo>
                  <a:pt x="452" y="206"/>
                </a:lnTo>
                <a:lnTo>
                  <a:pt x="462" y="220"/>
                </a:lnTo>
                <a:lnTo>
                  <a:pt x="468" y="238"/>
                </a:lnTo>
                <a:lnTo>
                  <a:pt x="470" y="258"/>
                </a:lnTo>
                <a:lnTo>
                  <a:pt x="470" y="426"/>
                </a:lnTo>
                <a:close/>
                <a:moveTo>
                  <a:pt x="540" y="382"/>
                </a:moveTo>
                <a:lnTo>
                  <a:pt x="524" y="382"/>
                </a:lnTo>
                <a:lnTo>
                  <a:pt x="524" y="568"/>
                </a:lnTo>
                <a:lnTo>
                  <a:pt x="490" y="568"/>
                </a:lnTo>
                <a:lnTo>
                  <a:pt x="490" y="348"/>
                </a:lnTo>
                <a:lnTo>
                  <a:pt x="540" y="348"/>
                </a:lnTo>
                <a:lnTo>
                  <a:pt x="540" y="38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Freeform 402"/>
          <p:cNvSpPr>
            <a:spLocks noEditPoints="1"/>
          </p:cNvSpPr>
          <p:nvPr userDrawn="1"/>
        </p:nvSpPr>
        <p:spPr bwMode="auto">
          <a:xfrm>
            <a:off x="268297" y="2530624"/>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362 w 726"/>
              <a:gd name="T19" fmla="*/ 594 h 726"/>
              <a:gd name="T20" fmla="*/ 234 w 726"/>
              <a:gd name="T21" fmla="*/ 556 h 726"/>
              <a:gd name="T22" fmla="*/ 142 w 726"/>
              <a:gd name="T23" fmla="*/ 434 h 726"/>
              <a:gd name="T24" fmla="*/ 142 w 726"/>
              <a:gd name="T25" fmla="*/ 296 h 726"/>
              <a:gd name="T26" fmla="*/ 232 w 726"/>
              <a:gd name="T27" fmla="*/ 174 h 726"/>
              <a:gd name="T28" fmla="*/ 362 w 726"/>
              <a:gd name="T29" fmla="*/ 134 h 726"/>
              <a:gd name="T30" fmla="*/ 508 w 726"/>
              <a:gd name="T31" fmla="*/ 186 h 726"/>
              <a:gd name="T32" fmla="*/ 588 w 726"/>
              <a:gd name="T33" fmla="*/ 318 h 726"/>
              <a:gd name="T34" fmla="*/ 574 w 726"/>
              <a:gd name="T35" fmla="*/ 454 h 726"/>
              <a:gd name="T36" fmla="*/ 472 w 726"/>
              <a:gd name="T37" fmla="*/ 566 h 726"/>
              <a:gd name="T38" fmla="*/ 190 w 726"/>
              <a:gd name="T39" fmla="*/ 280 h 726"/>
              <a:gd name="T40" fmla="*/ 210 w 726"/>
              <a:gd name="T41" fmla="*/ 264 h 726"/>
              <a:gd name="T42" fmla="*/ 184 w 726"/>
              <a:gd name="T43" fmla="*/ 262 h 726"/>
              <a:gd name="T44" fmla="*/ 534 w 726"/>
              <a:gd name="T45" fmla="*/ 448 h 726"/>
              <a:gd name="T46" fmla="*/ 514 w 726"/>
              <a:gd name="T47" fmla="*/ 464 h 726"/>
              <a:gd name="T48" fmla="*/ 540 w 726"/>
              <a:gd name="T49" fmla="*/ 466 h 726"/>
              <a:gd name="T50" fmla="*/ 274 w 726"/>
              <a:gd name="T51" fmla="*/ 210 h 726"/>
              <a:gd name="T52" fmla="*/ 270 w 726"/>
              <a:gd name="T53" fmla="*/ 186 h 726"/>
              <a:gd name="T54" fmla="*/ 254 w 726"/>
              <a:gd name="T55" fmla="*/ 204 h 726"/>
              <a:gd name="T56" fmla="*/ 452 w 726"/>
              <a:gd name="T57" fmla="*/ 518 h 726"/>
              <a:gd name="T58" fmla="*/ 454 w 726"/>
              <a:gd name="T59" fmla="*/ 542 h 726"/>
              <a:gd name="T60" fmla="*/ 470 w 726"/>
              <a:gd name="T61" fmla="*/ 524 h 726"/>
              <a:gd name="T62" fmla="*/ 362 w 726"/>
              <a:gd name="T63" fmla="*/ 186 h 726"/>
              <a:gd name="T64" fmla="*/ 372 w 726"/>
              <a:gd name="T65" fmla="*/ 164 h 726"/>
              <a:gd name="T66" fmla="*/ 348 w 726"/>
              <a:gd name="T67" fmla="*/ 172 h 726"/>
              <a:gd name="T68" fmla="*/ 362 w 726"/>
              <a:gd name="T69" fmla="*/ 542 h 726"/>
              <a:gd name="T70" fmla="*/ 352 w 726"/>
              <a:gd name="T71" fmla="*/ 564 h 726"/>
              <a:gd name="T72" fmla="*/ 376 w 726"/>
              <a:gd name="T73" fmla="*/ 556 h 726"/>
              <a:gd name="T74" fmla="*/ 464 w 726"/>
              <a:gd name="T75" fmla="*/ 186 h 726"/>
              <a:gd name="T76" fmla="*/ 444 w 726"/>
              <a:gd name="T77" fmla="*/ 202 h 726"/>
              <a:gd name="T78" fmla="*/ 470 w 726"/>
              <a:gd name="T79" fmla="*/ 206 h 726"/>
              <a:gd name="T80" fmla="*/ 274 w 726"/>
              <a:gd name="T81" fmla="*/ 518 h 726"/>
              <a:gd name="T82" fmla="*/ 254 w 726"/>
              <a:gd name="T83" fmla="*/ 534 h 726"/>
              <a:gd name="T84" fmla="*/ 278 w 726"/>
              <a:gd name="T85" fmla="*/ 536 h 726"/>
              <a:gd name="T86" fmla="*/ 516 w 726"/>
              <a:gd name="T87" fmla="*/ 276 h 726"/>
              <a:gd name="T88" fmla="*/ 540 w 726"/>
              <a:gd name="T89" fmla="*/ 272 h 726"/>
              <a:gd name="T90" fmla="*/ 522 w 726"/>
              <a:gd name="T91" fmla="*/ 256 h 726"/>
              <a:gd name="T92" fmla="*/ 190 w 726"/>
              <a:gd name="T93" fmla="*/ 448 h 726"/>
              <a:gd name="T94" fmla="*/ 192 w 726"/>
              <a:gd name="T95" fmla="*/ 472 h 726"/>
              <a:gd name="T96" fmla="*/ 208 w 726"/>
              <a:gd name="T97" fmla="*/ 454 h 726"/>
              <a:gd name="T98" fmla="*/ 554 w 726"/>
              <a:gd name="T99" fmla="*/ 378 h 726"/>
              <a:gd name="T100" fmla="*/ 562 w 726"/>
              <a:gd name="T101" fmla="*/ 354 h 726"/>
              <a:gd name="T102" fmla="*/ 540 w 726"/>
              <a:gd name="T103" fmla="*/ 364 h 726"/>
              <a:gd name="T104" fmla="*/ 170 w 726"/>
              <a:gd name="T105" fmla="*/ 350 h 726"/>
              <a:gd name="T106" fmla="*/ 162 w 726"/>
              <a:gd name="T107" fmla="*/ 374 h 726"/>
              <a:gd name="T108" fmla="*/ 184 w 726"/>
              <a:gd name="T109" fmla="*/ 364 h 726"/>
              <a:gd name="T110" fmla="*/ 376 w 726"/>
              <a:gd name="T111" fmla="*/ 356 h 726"/>
              <a:gd name="T112" fmla="*/ 364 w 726"/>
              <a:gd name="T113" fmla="*/ 208 h 726"/>
              <a:gd name="T114" fmla="*/ 246 w 726"/>
              <a:gd name="T115" fmla="*/ 282 h 726"/>
              <a:gd name="T116" fmla="*/ 228 w 726"/>
              <a:gd name="T117" fmla="*/ 296 h 726"/>
              <a:gd name="T118" fmla="*/ 354 w 726"/>
              <a:gd name="T119" fmla="*/ 406 h 726"/>
              <a:gd name="T120" fmla="*/ 376 w 726"/>
              <a:gd name="T121" fmla="*/ 398 h 726"/>
              <a:gd name="T122" fmla="*/ 404 w 726"/>
              <a:gd name="T123" fmla="*/ 386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594"/>
                </a:moveTo>
                <a:lnTo>
                  <a:pt x="362" y="594"/>
                </a:lnTo>
                <a:lnTo>
                  <a:pt x="340" y="594"/>
                </a:lnTo>
                <a:lnTo>
                  <a:pt x="316" y="590"/>
                </a:lnTo>
                <a:lnTo>
                  <a:pt x="294" y="584"/>
                </a:lnTo>
                <a:lnTo>
                  <a:pt x="272" y="576"/>
                </a:lnTo>
                <a:lnTo>
                  <a:pt x="252" y="566"/>
                </a:lnTo>
                <a:lnTo>
                  <a:pt x="234" y="556"/>
                </a:lnTo>
                <a:lnTo>
                  <a:pt x="216" y="542"/>
                </a:lnTo>
                <a:lnTo>
                  <a:pt x="200" y="528"/>
                </a:lnTo>
                <a:lnTo>
                  <a:pt x="184" y="512"/>
                </a:lnTo>
                <a:lnTo>
                  <a:pt x="172" y="494"/>
                </a:lnTo>
                <a:lnTo>
                  <a:pt x="160" y="474"/>
                </a:lnTo>
                <a:lnTo>
                  <a:pt x="150" y="454"/>
                </a:lnTo>
                <a:lnTo>
                  <a:pt x="142" y="434"/>
                </a:lnTo>
                <a:lnTo>
                  <a:pt x="136" y="412"/>
                </a:lnTo>
                <a:lnTo>
                  <a:pt x="132" y="388"/>
                </a:lnTo>
                <a:lnTo>
                  <a:pt x="132" y="364"/>
                </a:lnTo>
                <a:lnTo>
                  <a:pt x="132" y="342"/>
                </a:lnTo>
                <a:lnTo>
                  <a:pt x="136" y="318"/>
                </a:lnTo>
                <a:lnTo>
                  <a:pt x="142" y="296"/>
                </a:lnTo>
                <a:lnTo>
                  <a:pt x="150" y="274"/>
                </a:lnTo>
                <a:lnTo>
                  <a:pt x="160" y="254"/>
                </a:lnTo>
                <a:lnTo>
                  <a:pt x="170" y="236"/>
                </a:lnTo>
                <a:lnTo>
                  <a:pt x="184" y="218"/>
                </a:lnTo>
                <a:lnTo>
                  <a:pt x="198" y="202"/>
                </a:lnTo>
                <a:lnTo>
                  <a:pt x="216" y="186"/>
                </a:lnTo>
                <a:lnTo>
                  <a:pt x="232" y="174"/>
                </a:lnTo>
                <a:lnTo>
                  <a:pt x="252" y="162"/>
                </a:lnTo>
                <a:lnTo>
                  <a:pt x="272" y="152"/>
                </a:lnTo>
                <a:lnTo>
                  <a:pt x="294" y="144"/>
                </a:lnTo>
                <a:lnTo>
                  <a:pt x="316" y="138"/>
                </a:lnTo>
                <a:lnTo>
                  <a:pt x="338" y="134"/>
                </a:lnTo>
                <a:lnTo>
                  <a:pt x="362" y="134"/>
                </a:lnTo>
                <a:lnTo>
                  <a:pt x="386" y="134"/>
                </a:lnTo>
                <a:lnTo>
                  <a:pt x="408" y="138"/>
                </a:lnTo>
                <a:lnTo>
                  <a:pt x="430" y="144"/>
                </a:lnTo>
                <a:lnTo>
                  <a:pt x="452" y="152"/>
                </a:lnTo>
                <a:lnTo>
                  <a:pt x="472" y="162"/>
                </a:lnTo>
                <a:lnTo>
                  <a:pt x="490" y="172"/>
                </a:lnTo>
                <a:lnTo>
                  <a:pt x="508" y="186"/>
                </a:lnTo>
                <a:lnTo>
                  <a:pt x="524" y="200"/>
                </a:lnTo>
                <a:lnTo>
                  <a:pt x="540" y="218"/>
                </a:lnTo>
                <a:lnTo>
                  <a:pt x="552" y="234"/>
                </a:lnTo>
                <a:lnTo>
                  <a:pt x="564" y="254"/>
                </a:lnTo>
                <a:lnTo>
                  <a:pt x="574" y="274"/>
                </a:lnTo>
                <a:lnTo>
                  <a:pt x="582" y="296"/>
                </a:lnTo>
                <a:lnTo>
                  <a:pt x="588" y="318"/>
                </a:lnTo>
                <a:lnTo>
                  <a:pt x="592" y="340"/>
                </a:lnTo>
                <a:lnTo>
                  <a:pt x="592" y="364"/>
                </a:lnTo>
                <a:lnTo>
                  <a:pt x="592" y="388"/>
                </a:lnTo>
                <a:lnTo>
                  <a:pt x="588" y="410"/>
                </a:lnTo>
                <a:lnTo>
                  <a:pt x="582" y="432"/>
                </a:lnTo>
                <a:lnTo>
                  <a:pt x="574" y="454"/>
                </a:lnTo>
                <a:lnTo>
                  <a:pt x="564" y="474"/>
                </a:lnTo>
                <a:lnTo>
                  <a:pt x="554" y="492"/>
                </a:lnTo>
                <a:lnTo>
                  <a:pt x="540" y="510"/>
                </a:lnTo>
                <a:lnTo>
                  <a:pt x="526" y="526"/>
                </a:lnTo>
                <a:lnTo>
                  <a:pt x="510" y="542"/>
                </a:lnTo>
                <a:lnTo>
                  <a:pt x="492" y="554"/>
                </a:lnTo>
                <a:lnTo>
                  <a:pt x="472" y="566"/>
                </a:lnTo>
                <a:lnTo>
                  <a:pt x="452" y="576"/>
                </a:lnTo>
                <a:lnTo>
                  <a:pt x="432" y="584"/>
                </a:lnTo>
                <a:lnTo>
                  <a:pt x="410" y="590"/>
                </a:lnTo>
                <a:lnTo>
                  <a:pt x="386" y="594"/>
                </a:lnTo>
                <a:lnTo>
                  <a:pt x="362" y="594"/>
                </a:lnTo>
                <a:close/>
                <a:moveTo>
                  <a:pt x="190" y="280"/>
                </a:moveTo>
                <a:lnTo>
                  <a:pt x="190" y="280"/>
                </a:lnTo>
                <a:lnTo>
                  <a:pt x="194" y="282"/>
                </a:lnTo>
                <a:lnTo>
                  <a:pt x="200" y="282"/>
                </a:lnTo>
                <a:lnTo>
                  <a:pt x="204" y="280"/>
                </a:lnTo>
                <a:lnTo>
                  <a:pt x="208" y="276"/>
                </a:lnTo>
                <a:lnTo>
                  <a:pt x="210" y="270"/>
                </a:lnTo>
                <a:lnTo>
                  <a:pt x="210" y="264"/>
                </a:lnTo>
                <a:lnTo>
                  <a:pt x="208" y="260"/>
                </a:lnTo>
                <a:lnTo>
                  <a:pt x="204" y="256"/>
                </a:lnTo>
                <a:lnTo>
                  <a:pt x="198" y="256"/>
                </a:lnTo>
                <a:lnTo>
                  <a:pt x="192" y="256"/>
                </a:lnTo>
                <a:lnTo>
                  <a:pt x="188" y="258"/>
                </a:lnTo>
                <a:lnTo>
                  <a:pt x="184" y="262"/>
                </a:lnTo>
                <a:lnTo>
                  <a:pt x="184" y="266"/>
                </a:lnTo>
                <a:lnTo>
                  <a:pt x="184" y="272"/>
                </a:lnTo>
                <a:lnTo>
                  <a:pt x="186" y="276"/>
                </a:lnTo>
                <a:lnTo>
                  <a:pt x="190" y="280"/>
                </a:lnTo>
                <a:close/>
                <a:moveTo>
                  <a:pt x="534" y="448"/>
                </a:moveTo>
                <a:lnTo>
                  <a:pt x="534" y="448"/>
                </a:lnTo>
                <a:lnTo>
                  <a:pt x="530" y="446"/>
                </a:lnTo>
                <a:lnTo>
                  <a:pt x="524" y="446"/>
                </a:lnTo>
                <a:lnTo>
                  <a:pt x="520" y="450"/>
                </a:lnTo>
                <a:lnTo>
                  <a:pt x="516" y="454"/>
                </a:lnTo>
                <a:lnTo>
                  <a:pt x="514" y="458"/>
                </a:lnTo>
                <a:lnTo>
                  <a:pt x="514" y="464"/>
                </a:lnTo>
                <a:lnTo>
                  <a:pt x="518" y="468"/>
                </a:lnTo>
                <a:lnTo>
                  <a:pt x="522" y="472"/>
                </a:lnTo>
                <a:lnTo>
                  <a:pt x="526" y="472"/>
                </a:lnTo>
                <a:lnTo>
                  <a:pt x="532" y="472"/>
                </a:lnTo>
                <a:lnTo>
                  <a:pt x="536" y="470"/>
                </a:lnTo>
                <a:lnTo>
                  <a:pt x="540" y="466"/>
                </a:lnTo>
                <a:lnTo>
                  <a:pt x="542" y="462"/>
                </a:lnTo>
                <a:lnTo>
                  <a:pt x="540" y="456"/>
                </a:lnTo>
                <a:lnTo>
                  <a:pt x="538" y="452"/>
                </a:lnTo>
                <a:lnTo>
                  <a:pt x="534" y="448"/>
                </a:lnTo>
                <a:close/>
                <a:moveTo>
                  <a:pt x="274" y="210"/>
                </a:moveTo>
                <a:lnTo>
                  <a:pt x="274" y="210"/>
                </a:lnTo>
                <a:lnTo>
                  <a:pt x="278" y="206"/>
                </a:lnTo>
                <a:lnTo>
                  <a:pt x="280" y="202"/>
                </a:lnTo>
                <a:lnTo>
                  <a:pt x="280" y="196"/>
                </a:lnTo>
                <a:lnTo>
                  <a:pt x="278" y="192"/>
                </a:lnTo>
                <a:lnTo>
                  <a:pt x="274" y="188"/>
                </a:lnTo>
                <a:lnTo>
                  <a:pt x="270" y="186"/>
                </a:lnTo>
                <a:lnTo>
                  <a:pt x="264" y="186"/>
                </a:lnTo>
                <a:lnTo>
                  <a:pt x="260" y="186"/>
                </a:lnTo>
                <a:lnTo>
                  <a:pt x="256" y="190"/>
                </a:lnTo>
                <a:lnTo>
                  <a:pt x="254" y="194"/>
                </a:lnTo>
                <a:lnTo>
                  <a:pt x="254" y="200"/>
                </a:lnTo>
                <a:lnTo>
                  <a:pt x="254" y="204"/>
                </a:lnTo>
                <a:lnTo>
                  <a:pt x="258" y="208"/>
                </a:lnTo>
                <a:lnTo>
                  <a:pt x="262" y="212"/>
                </a:lnTo>
                <a:lnTo>
                  <a:pt x="268" y="212"/>
                </a:lnTo>
                <a:lnTo>
                  <a:pt x="274" y="210"/>
                </a:lnTo>
                <a:close/>
                <a:moveTo>
                  <a:pt x="452" y="518"/>
                </a:moveTo>
                <a:lnTo>
                  <a:pt x="452" y="518"/>
                </a:lnTo>
                <a:lnTo>
                  <a:pt x="448" y="522"/>
                </a:lnTo>
                <a:lnTo>
                  <a:pt x="444" y="526"/>
                </a:lnTo>
                <a:lnTo>
                  <a:pt x="444" y="532"/>
                </a:lnTo>
                <a:lnTo>
                  <a:pt x="446" y="536"/>
                </a:lnTo>
                <a:lnTo>
                  <a:pt x="450" y="540"/>
                </a:lnTo>
                <a:lnTo>
                  <a:pt x="454" y="542"/>
                </a:lnTo>
                <a:lnTo>
                  <a:pt x="460" y="544"/>
                </a:lnTo>
                <a:lnTo>
                  <a:pt x="464" y="542"/>
                </a:lnTo>
                <a:lnTo>
                  <a:pt x="468" y="538"/>
                </a:lnTo>
                <a:lnTo>
                  <a:pt x="470" y="534"/>
                </a:lnTo>
                <a:lnTo>
                  <a:pt x="472" y="528"/>
                </a:lnTo>
                <a:lnTo>
                  <a:pt x="470" y="524"/>
                </a:lnTo>
                <a:lnTo>
                  <a:pt x="466" y="520"/>
                </a:lnTo>
                <a:lnTo>
                  <a:pt x="462" y="516"/>
                </a:lnTo>
                <a:lnTo>
                  <a:pt x="456" y="516"/>
                </a:lnTo>
                <a:lnTo>
                  <a:pt x="452" y="518"/>
                </a:lnTo>
                <a:close/>
                <a:moveTo>
                  <a:pt x="362" y="186"/>
                </a:moveTo>
                <a:lnTo>
                  <a:pt x="362" y="186"/>
                </a:lnTo>
                <a:lnTo>
                  <a:pt x="368" y="186"/>
                </a:lnTo>
                <a:lnTo>
                  <a:pt x="372" y="182"/>
                </a:lnTo>
                <a:lnTo>
                  <a:pt x="374" y="178"/>
                </a:lnTo>
                <a:lnTo>
                  <a:pt x="376" y="172"/>
                </a:lnTo>
                <a:lnTo>
                  <a:pt x="374" y="168"/>
                </a:lnTo>
                <a:lnTo>
                  <a:pt x="372" y="164"/>
                </a:lnTo>
                <a:lnTo>
                  <a:pt x="368" y="160"/>
                </a:lnTo>
                <a:lnTo>
                  <a:pt x="362" y="160"/>
                </a:lnTo>
                <a:lnTo>
                  <a:pt x="356" y="160"/>
                </a:lnTo>
                <a:lnTo>
                  <a:pt x="352" y="164"/>
                </a:lnTo>
                <a:lnTo>
                  <a:pt x="350" y="168"/>
                </a:lnTo>
                <a:lnTo>
                  <a:pt x="348" y="172"/>
                </a:lnTo>
                <a:lnTo>
                  <a:pt x="350" y="178"/>
                </a:lnTo>
                <a:lnTo>
                  <a:pt x="352" y="182"/>
                </a:lnTo>
                <a:lnTo>
                  <a:pt x="356" y="184"/>
                </a:lnTo>
                <a:lnTo>
                  <a:pt x="362" y="186"/>
                </a:lnTo>
                <a:close/>
                <a:moveTo>
                  <a:pt x="362" y="542"/>
                </a:moveTo>
                <a:lnTo>
                  <a:pt x="362" y="542"/>
                </a:lnTo>
                <a:lnTo>
                  <a:pt x="356" y="544"/>
                </a:lnTo>
                <a:lnTo>
                  <a:pt x="352" y="546"/>
                </a:lnTo>
                <a:lnTo>
                  <a:pt x="350" y="550"/>
                </a:lnTo>
                <a:lnTo>
                  <a:pt x="348" y="556"/>
                </a:lnTo>
                <a:lnTo>
                  <a:pt x="350" y="560"/>
                </a:lnTo>
                <a:lnTo>
                  <a:pt x="352" y="564"/>
                </a:lnTo>
                <a:lnTo>
                  <a:pt x="356" y="568"/>
                </a:lnTo>
                <a:lnTo>
                  <a:pt x="362" y="568"/>
                </a:lnTo>
                <a:lnTo>
                  <a:pt x="368" y="568"/>
                </a:lnTo>
                <a:lnTo>
                  <a:pt x="372" y="564"/>
                </a:lnTo>
                <a:lnTo>
                  <a:pt x="374" y="560"/>
                </a:lnTo>
                <a:lnTo>
                  <a:pt x="376" y="556"/>
                </a:lnTo>
                <a:lnTo>
                  <a:pt x="374" y="550"/>
                </a:lnTo>
                <a:lnTo>
                  <a:pt x="372" y="546"/>
                </a:lnTo>
                <a:lnTo>
                  <a:pt x="368" y="544"/>
                </a:lnTo>
                <a:lnTo>
                  <a:pt x="362" y="542"/>
                </a:lnTo>
                <a:close/>
                <a:moveTo>
                  <a:pt x="464" y="186"/>
                </a:moveTo>
                <a:lnTo>
                  <a:pt x="464" y="186"/>
                </a:lnTo>
                <a:lnTo>
                  <a:pt x="460" y="186"/>
                </a:lnTo>
                <a:lnTo>
                  <a:pt x="454" y="186"/>
                </a:lnTo>
                <a:lnTo>
                  <a:pt x="450" y="188"/>
                </a:lnTo>
                <a:lnTo>
                  <a:pt x="446" y="192"/>
                </a:lnTo>
                <a:lnTo>
                  <a:pt x="444" y="196"/>
                </a:lnTo>
                <a:lnTo>
                  <a:pt x="444" y="202"/>
                </a:lnTo>
                <a:lnTo>
                  <a:pt x="448" y="206"/>
                </a:lnTo>
                <a:lnTo>
                  <a:pt x="452" y="210"/>
                </a:lnTo>
                <a:lnTo>
                  <a:pt x="456" y="212"/>
                </a:lnTo>
                <a:lnTo>
                  <a:pt x="462" y="212"/>
                </a:lnTo>
                <a:lnTo>
                  <a:pt x="466" y="208"/>
                </a:lnTo>
                <a:lnTo>
                  <a:pt x="470" y="206"/>
                </a:lnTo>
                <a:lnTo>
                  <a:pt x="470" y="200"/>
                </a:lnTo>
                <a:lnTo>
                  <a:pt x="470" y="194"/>
                </a:lnTo>
                <a:lnTo>
                  <a:pt x="468" y="190"/>
                </a:lnTo>
                <a:lnTo>
                  <a:pt x="464" y="186"/>
                </a:lnTo>
                <a:close/>
                <a:moveTo>
                  <a:pt x="274" y="518"/>
                </a:moveTo>
                <a:lnTo>
                  <a:pt x="274" y="518"/>
                </a:lnTo>
                <a:lnTo>
                  <a:pt x="268" y="516"/>
                </a:lnTo>
                <a:lnTo>
                  <a:pt x="262" y="516"/>
                </a:lnTo>
                <a:lnTo>
                  <a:pt x="258" y="520"/>
                </a:lnTo>
                <a:lnTo>
                  <a:pt x="254" y="524"/>
                </a:lnTo>
                <a:lnTo>
                  <a:pt x="254" y="528"/>
                </a:lnTo>
                <a:lnTo>
                  <a:pt x="254" y="534"/>
                </a:lnTo>
                <a:lnTo>
                  <a:pt x="256" y="538"/>
                </a:lnTo>
                <a:lnTo>
                  <a:pt x="260" y="542"/>
                </a:lnTo>
                <a:lnTo>
                  <a:pt x="264" y="544"/>
                </a:lnTo>
                <a:lnTo>
                  <a:pt x="270" y="542"/>
                </a:lnTo>
                <a:lnTo>
                  <a:pt x="274" y="540"/>
                </a:lnTo>
                <a:lnTo>
                  <a:pt x="278" y="536"/>
                </a:lnTo>
                <a:lnTo>
                  <a:pt x="280" y="532"/>
                </a:lnTo>
                <a:lnTo>
                  <a:pt x="280" y="526"/>
                </a:lnTo>
                <a:lnTo>
                  <a:pt x="278" y="522"/>
                </a:lnTo>
                <a:lnTo>
                  <a:pt x="274" y="518"/>
                </a:lnTo>
                <a:close/>
                <a:moveTo>
                  <a:pt x="516" y="276"/>
                </a:moveTo>
                <a:lnTo>
                  <a:pt x="516" y="276"/>
                </a:lnTo>
                <a:lnTo>
                  <a:pt x="520" y="280"/>
                </a:lnTo>
                <a:lnTo>
                  <a:pt x="524" y="282"/>
                </a:lnTo>
                <a:lnTo>
                  <a:pt x="530" y="282"/>
                </a:lnTo>
                <a:lnTo>
                  <a:pt x="534" y="280"/>
                </a:lnTo>
                <a:lnTo>
                  <a:pt x="538" y="276"/>
                </a:lnTo>
                <a:lnTo>
                  <a:pt x="540" y="272"/>
                </a:lnTo>
                <a:lnTo>
                  <a:pt x="542" y="266"/>
                </a:lnTo>
                <a:lnTo>
                  <a:pt x="540" y="262"/>
                </a:lnTo>
                <a:lnTo>
                  <a:pt x="536" y="258"/>
                </a:lnTo>
                <a:lnTo>
                  <a:pt x="532" y="256"/>
                </a:lnTo>
                <a:lnTo>
                  <a:pt x="526" y="256"/>
                </a:lnTo>
                <a:lnTo>
                  <a:pt x="522" y="256"/>
                </a:lnTo>
                <a:lnTo>
                  <a:pt x="518" y="260"/>
                </a:lnTo>
                <a:lnTo>
                  <a:pt x="514" y="264"/>
                </a:lnTo>
                <a:lnTo>
                  <a:pt x="514" y="270"/>
                </a:lnTo>
                <a:lnTo>
                  <a:pt x="516" y="276"/>
                </a:lnTo>
                <a:close/>
                <a:moveTo>
                  <a:pt x="190" y="448"/>
                </a:moveTo>
                <a:lnTo>
                  <a:pt x="190" y="448"/>
                </a:lnTo>
                <a:lnTo>
                  <a:pt x="186" y="452"/>
                </a:lnTo>
                <a:lnTo>
                  <a:pt x="184" y="456"/>
                </a:lnTo>
                <a:lnTo>
                  <a:pt x="184" y="462"/>
                </a:lnTo>
                <a:lnTo>
                  <a:pt x="184" y="466"/>
                </a:lnTo>
                <a:lnTo>
                  <a:pt x="188" y="470"/>
                </a:lnTo>
                <a:lnTo>
                  <a:pt x="192" y="472"/>
                </a:lnTo>
                <a:lnTo>
                  <a:pt x="198" y="472"/>
                </a:lnTo>
                <a:lnTo>
                  <a:pt x="204" y="472"/>
                </a:lnTo>
                <a:lnTo>
                  <a:pt x="206" y="468"/>
                </a:lnTo>
                <a:lnTo>
                  <a:pt x="210" y="464"/>
                </a:lnTo>
                <a:lnTo>
                  <a:pt x="210" y="458"/>
                </a:lnTo>
                <a:lnTo>
                  <a:pt x="208" y="454"/>
                </a:lnTo>
                <a:lnTo>
                  <a:pt x="204" y="450"/>
                </a:lnTo>
                <a:lnTo>
                  <a:pt x="200" y="446"/>
                </a:lnTo>
                <a:lnTo>
                  <a:pt x="194" y="446"/>
                </a:lnTo>
                <a:lnTo>
                  <a:pt x="190" y="448"/>
                </a:lnTo>
                <a:close/>
                <a:moveTo>
                  <a:pt x="554" y="378"/>
                </a:moveTo>
                <a:lnTo>
                  <a:pt x="554" y="378"/>
                </a:lnTo>
                <a:lnTo>
                  <a:pt x="558" y="376"/>
                </a:lnTo>
                <a:lnTo>
                  <a:pt x="562" y="374"/>
                </a:lnTo>
                <a:lnTo>
                  <a:pt x="566" y="370"/>
                </a:lnTo>
                <a:lnTo>
                  <a:pt x="566" y="364"/>
                </a:lnTo>
                <a:lnTo>
                  <a:pt x="566" y="358"/>
                </a:lnTo>
                <a:lnTo>
                  <a:pt x="562" y="354"/>
                </a:lnTo>
                <a:lnTo>
                  <a:pt x="558" y="352"/>
                </a:lnTo>
                <a:lnTo>
                  <a:pt x="554" y="350"/>
                </a:lnTo>
                <a:lnTo>
                  <a:pt x="548" y="352"/>
                </a:lnTo>
                <a:lnTo>
                  <a:pt x="544" y="354"/>
                </a:lnTo>
                <a:lnTo>
                  <a:pt x="542" y="358"/>
                </a:lnTo>
                <a:lnTo>
                  <a:pt x="540" y="364"/>
                </a:lnTo>
                <a:lnTo>
                  <a:pt x="542" y="370"/>
                </a:lnTo>
                <a:lnTo>
                  <a:pt x="544" y="374"/>
                </a:lnTo>
                <a:lnTo>
                  <a:pt x="548" y="376"/>
                </a:lnTo>
                <a:lnTo>
                  <a:pt x="554" y="378"/>
                </a:lnTo>
                <a:close/>
                <a:moveTo>
                  <a:pt x="170" y="350"/>
                </a:moveTo>
                <a:lnTo>
                  <a:pt x="170" y="350"/>
                </a:lnTo>
                <a:lnTo>
                  <a:pt x="166" y="352"/>
                </a:lnTo>
                <a:lnTo>
                  <a:pt x="162" y="354"/>
                </a:lnTo>
                <a:lnTo>
                  <a:pt x="158" y="358"/>
                </a:lnTo>
                <a:lnTo>
                  <a:pt x="158" y="364"/>
                </a:lnTo>
                <a:lnTo>
                  <a:pt x="158" y="370"/>
                </a:lnTo>
                <a:lnTo>
                  <a:pt x="162" y="374"/>
                </a:lnTo>
                <a:lnTo>
                  <a:pt x="166" y="376"/>
                </a:lnTo>
                <a:lnTo>
                  <a:pt x="170" y="378"/>
                </a:lnTo>
                <a:lnTo>
                  <a:pt x="176" y="376"/>
                </a:lnTo>
                <a:lnTo>
                  <a:pt x="180" y="374"/>
                </a:lnTo>
                <a:lnTo>
                  <a:pt x="184" y="370"/>
                </a:lnTo>
                <a:lnTo>
                  <a:pt x="184" y="364"/>
                </a:lnTo>
                <a:lnTo>
                  <a:pt x="184" y="358"/>
                </a:lnTo>
                <a:lnTo>
                  <a:pt x="180" y="354"/>
                </a:lnTo>
                <a:lnTo>
                  <a:pt x="176" y="352"/>
                </a:lnTo>
                <a:lnTo>
                  <a:pt x="170" y="350"/>
                </a:lnTo>
                <a:close/>
                <a:moveTo>
                  <a:pt x="398" y="370"/>
                </a:moveTo>
                <a:lnTo>
                  <a:pt x="376" y="356"/>
                </a:lnTo>
                <a:lnTo>
                  <a:pt x="376" y="220"/>
                </a:lnTo>
                <a:lnTo>
                  <a:pt x="374" y="216"/>
                </a:lnTo>
                <a:lnTo>
                  <a:pt x="372" y="212"/>
                </a:lnTo>
                <a:lnTo>
                  <a:pt x="368" y="210"/>
                </a:lnTo>
                <a:lnTo>
                  <a:pt x="364" y="208"/>
                </a:lnTo>
                <a:lnTo>
                  <a:pt x="358" y="210"/>
                </a:lnTo>
                <a:lnTo>
                  <a:pt x="354" y="212"/>
                </a:lnTo>
                <a:lnTo>
                  <a:pt x="352" y="216"/>
                </a:lnTo>
                <a:lnTo>
                  <a:pt x="352" y="220"/>
                </a:lnTo>
                <a:lnTo>
                  <a:pt x="352" y="342"/>
                </a:lnTo>
                <a:lnTo>
                  <a:pt x="246" y="282"/>
                </a:lnTo>
                <a:lnTo>
                  <a:pt x="242" y="280"/>
                </a:lnTo>
                <a:lnTo>
                  <a:pt x="236" y="280"/>
                </a:lnTo>
                <a:lnTo>
                  <a:pt x="232" y="282"/>
                </a:lnTo>
                <a:lnTo>
                  <a:pt x="230" y="286"/>
                </a:lnTo>
                <a:lnTo>
                  <a:pt x="228" y="290"/>
                </a:lnTo>
                <a:lnTo>
                  <a:pt x="228" y="296"/>
                </a:lnTo>
                <a:lnTo>
                  <a:pt x="230" y="300"/>
                </a:lnTo>
                <a:lnTo>
                  <a:pt x="234" y="302"/>
                </a:lnTo>
                <a:lnTo>
                  <a:pt x="352" y="370"/>
                </a:lnTo>
                <a:lnTo>
                  <a:pt x="352" y="398"/>
                </a:lnTo>
                <a:lnTo>
                  <a:pt x="352" y="402"/>
                </a:lnTo>
                <a:lnTo>
                  <a:pt x="354" y="406"/>
                </a:lnTo>
                <a:lnTo>
                  <a:pt x="358" y="408"/>
                </a:lnTo>
                <a:lnTo>
                  <a:pt x="364" y="410"/>
                </a:lnTo>
                <a:lnTo>
                  <a:pt x="368" y="408"/>
                </a:lnTo>
                <a:lnTo>
                  <a:pt x="372" y="406"/>
                </a:lnTo>
                <a:lnTo>
                  <a:pt x="374" y="402"/>
                </a:lnTo>
                <a:lnTo>
                  <a:pt x="376" y="398"/>
                </a:lnTo>
                <a:lnTo>
                  <a:pt x="376" y="384"/>
                </a:lnTo>
                <a:lnTo>
                  <a:pt x="386" y="390"/>
                </a:lnTo>
                <a:lnTo>
                  <a:pt x="392" y="392"/>
                </a:lnTo>
                <a:lnTo>
                  <a:pt x="398" y="390"/>
                </a:lnTo>
                <a:lnTo>
                  <a:pt x="404" y="386"/>
                </a:lnTo>
                <a:lnTo>
                  <a:pt x="404" y="382"/>
                </a:lnTo>
                <a:lnTo>
                  <a:pt x="404" y="378"/>
                </a:lnTo>
                <a:lnTo>
                  <a:pt x="402" y="372"/>
                </a:lnTo>
                <a:lnTo>
                  <a:pt x="398" y="3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4" name="Freeform 448"/>
          <p:cNvSpPr>
            <a:spLocks noEditPoints="1"/>
          </p:cNvSpPr>
          <p:nvPr userDrawn="1"/>
        </p:nvSpPr>
        <p:spPr bwMode="auto">
          <a:xfrm>
            <a:off x="1745600" y="2530624"/>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80 w 726"/>
              <a:gd name="T35" fmla="*/ 142 h 726"/>
              <a:gd name="T36" fmla="*/ 422 w 726"/>
              <a:gd name="T37" fmla="*/ 170 h 726"/>
              <a:gd name="T38" fmla="*/ 432 w 726"/>
              <a:gd name="T39" fmla="*/ 206 h 726"/>
              <a:gd name="T40" fmla="*/ 414 w 726"/>
              <a:gd name="T41" fmla="*/ 252 h 726"/>
              <a:gd name="T42" fmla="*/ 368 w 726"/>
              <a:gd name="T43" fmla="*/ 272 h 726"/>
              <a:gd name="T44" fmla="*/ 332 w 726"/>
              <a:gd name="T45" fmla="*/ 260 h 726"/>
              <a:gd name="T46" fmla="*/ 304 w 726"/>
              <a:gd name="T47" fmla="*/ 220 h 726"/>
              <a:gd name="T48" fmla="*/ 308 w 726"/>
              <a:gd name="T49" fmla="*/ 182 h 726"/>
              <a:gd name="T50" fmla="*/ 342 w 726"/>
              <a:gd name="T51" fmla="*/ 146 h 726"/>
              <a:gd name="T52" fmla="*/ 370 w 726"/>
              <a:gd name="T53" fmla="*/ 498 h 726"/>
              <a:gd name="T54" fmla="*/ 366 w 726"/>
              <a:gd name="T55" fmla="*/ 580 h 726"/>
              <a:gd name="T56" fmla="*/ 354 w 726"/>
              <a:gd name="T57" fmla="*/ 584 h 726"/>
              <a:gd name="T58" fmla="*/ 346 w 726"/>
              <a:gd name="T59" fmla="*/ 498 h 726"/>
              <a:gd name="T60" fmla="*/ 280 w 726"/>
              <a:gd name="T61" fmla="*/ 496 h 726"/>
              <a:gd name="T62" fmla="*/ 242 w 726"/>
              <a:gd name="T63" fmla="*/ 374 h 726"/>
              <a:gd name="T64" fmla="*/ 246 w 726"/>
              <a:gd name="T65" fmla="*/ 360 h 726"/>
              <a:gd name="T66" fmla="*/ 260 w 726"/>
              <a:gd name="T67" fmla="*/ 358 h 726"/>
              <a:gd name="T68" fmla="*/ 426 w 726"/>
              <a:gd name="T69" fmla="*/ 474 h 726"/>
              <a:gd name="T70" fmla="*/ 438 w 726"/>
              <a:gd name="T71" fmla="*/ 482 h 726"/>
              <a:gd name="T72" fmla="*/ 436 w 726"/>
              <a:gd name="T73" fmla="*/ 496 h 726"/>
              <a:gd name="T74" fmla="*/ 472 w 726"/>
              <a:gd name="T75" fmla="*/ 584 h 726"/>
              <a:gd name="T76" fmla="*/ 458 w 726"/>
              <a:gd name="T77" fmla="*/ 572 h 726"/>
              <a:gd name="T78" fmla="*/ 320 w 726"/>
              <a:gd name="T79" fmla="*/ 454 h 726"/>
              <a:gd name="T80" fmla="*/ 312 w 726"/>
              <a:gd name="T81" fmla="*/ 442 h 726"/>
              <a:gd name="T82" fmla="*/ 316 w 726"/>
              <a:gd name="T83" fmla="*/ 302 h 726"/>
              <a:gd name="T84" fmla="*/ 410 w 726"/>
              <a:gd name="T85" fmla="*/ 298 h 726"/>
              <a:gd name="T86" fmla="*/ 420 w 726"/>
              <a:gd name="T87" fmla="*/ 302 h 726"/>
              <a:gd name="T88" fmla="*/ 472 w 726"/>
              <a:gd name="T89" fmla="*/ 430 h 726"/>
              <a:gd name="T90" fmla="*/ 480 w 726"/>
              <a:gd name="T91" fmla="*/ 434 h 726"/>
              <a:gd name="T92" fmla="*/ 484 w 726"/>
              <a:gd name="T93" fmla="*/ 572 h 726"/>
              <a:gd name="T94" fmla="*/ 476 w 726"/>
              <a:gd name="T95" fmla="*/ 58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8" y="142"/>
                </a:moveTo>
                <a:lnTo>
                  <a:pt x="368" y="142"/>
                </a:lnTo>
                <a:lnTo>
                  <a:pt x="380" y="142"/>
                </a:lnTo>
                <a:lnTo>
                  <a:pt x="392" y="146"/>
                </a:lnTo>
                <a:lnTo>
                  <a:pt x="404" y="152"/>
                </a:lnTo>
                <a:lnTo>
                  <a:pt x="414" y="160"/>
                </a:lnTo>
                <a:lnTo>
                  <a:pt x="422" y="170"/>
                </a:lnTo>
                <a:lnTo>
                  <a:pt x="428" y="182"/>
                </a:lnTo>
                <a:lnTo>
                  <a:pt x="432" y="194"/>
                </a:lnTo>
                <a:lnTo>
                  <a:pt x="432" y="206"/>
                </a:lnTo>
                <a:lnTo>
                  <a:pt x="432" y="220"/>
                </a:lnTo>
                <a:lnTo>
                  <a:pt x="428" y="232"/>
                </a:lnTo>
                <a:lnTo>
                  <a:pt x="422" y="244"/>
                </a:lnTo>
                <a:lnTo>
                  <a:pt x="414" y="252"/>
                </a:lnTo>
                <a:lnTo>
                  <a:pt x="404" y="260"/>
                </a:lnTo>
                <a:lnTo>
                  <a:pt x="392" y="266"/>
                </a:lnTo>
                <a:lnTo>
                  <a:pt x="380" y="270"/>
                </a:lnTo>
                <a:lnTo>
                  <a:pt x="368" y="272"/>
                </a:lnTo>
                <a:lnTo>
                  <a:pt x="354" y="270"/>
                </a:lnTo>
                <a:lnTo>
                  <a:pt x="342" y="266"/>
                </a:lnTo>
                <a:lnTo>
                  <a:pt x="332" y="260"/>
                </a:lnTo>
                <a:lnTo>
                  <a:pt x="322" y="252"/>
                </a:lnTo>
                <a:lnTo>
                  <a:pt x="314" y="244"/>
                </a:lnTo>
                <a:lnTo>
                  <a:pt x="308" y="232"/>
                </a:lnTo>
                <a:lnTo>
                  <a:pt x="304" y="220"/>
                </a:lnTo>
                <a:lnTo>
                  <a:pt x="302" y="206"/>
                </a:lnTo>
                <a:lnTo>
                  <a:pt x="304" y="194"/>
                </a:lnTo>
                <a:lnTo>
                  <a:pt x="308" y="182"/>
                </a:lnTo>
                <a:lnTo>
                  <a:pt x="314" y="170"/>
                </a:lnTo>
                <a:lnTo>
                  <a:pt x="322" y="160"/>
                </a:lnTo>
                <a:lnTo>
                  <a:pt x="332" y="152"/>
                </a:lnTo>
                <a:lnTo>
                  <a:pt x="342" y="146"/>
                </a:lnTo>
                <a:lnTo>
                  <a:pt x="354" y="142"/>
                </a:lnTo>
                <a:lnTo>
                  <a:pt x="368" y="142"/>
                </a:lnTo>
                <a:close/>
                <a:moveTo>
                  <a:pt x="426" y="498"/>
                </a:moveTo>
                <a:lnTo>
                  <a:pt x="370" y="498"/>
                </a:lnTo>
                <a:lnTo>
                  <a:pt x="370" y="572"/>
                </a:lnTo>
                <a:lnTo>
                  <a:pt x="370" y="576"/>
                </a:lnTo>
                <a:lnTo>
                  <a:pt x="366" y="580"/>
                </a:lnTo>
                <a:lnTo>
                  <a:pt x="362" y="584"/>
                </a:lnTo>
                <a:lnTo>
                  <a:pt x="358" y="584"/>
                </a:lnTo>
                <a:lnTo>
                  <a:pt x="354" y="584"/>
                </a:lnTo>
                <a:lnTo>
                  <a:pt x="350" y="580"/>
                </a:lnTo>
                <a:lnTo>
                  <a:pt x="346" y="576"/>
                </a:lnTo>
                <a:lnTo>
                  <a:pt x="346" y="572"/>
                </a:lnTo>
                <a:lnTo>
                  <a:pt x="346" y="498"/>
                </a:lnTo>
                <a:lnTo>
                  <a:pt x="288" y="498"/>
                </a:lnTo>
                <a:lnTo>
                  <a:pt x="284" y="498"/>
                </a:lnTo>
                <a:lnTo>
                  <a:pt x="280" y="496"/>
                </a:lnTo>
                <a:lnTo>
                  <a:pt x="278" y="494"/>
                </a:lnTo>
                <a:lnTo>
                  <a:pt x="276" y="490"/>
                </a:lnTo>
                <a:lnTo>
                  <a:pt x="242" y="374"/>
                </a:lnTo>
                <a:lnTo>
                  <a:pt x="242" y="368"/>
                </a:lnTo>
                <a:lnTo>
                  <a:pt x="242" y="364"/>
                </a:lnTo>
                <a:lnTo>
                  <a:pt x="246" y="360"/>
                </a:lnTo>
                <a:lnTo>
                  <a:pt x="250" y="358"/>
                </a:lnTo>
                <a:lnTo>
                  <a:pt x="256" y="358"/>
                </a:lnTo>
                <a:lnTo>
                  <a:pt x="260" y="358"/>
                </a:lnTo>
                <a:lnTo>
                  <a:pt x="264" y="362"/>
                </a:lnTo>
                <a:lnTo>
                  <a:pt x="266" y="366"/>
                </a:lnTo>
                <a:lnTo>
                  <a:pt x="298" y="474"/>
                </a:lnTo>
                <a:lnTo>
                  <a:pt x="426" y="474"/>
                </a:lnTo>
                <a:lnTo>
                  <a:pt x="432" y="476"/>
                </a:lnTo>
                <a:lnTo>
                  <a:pt x="436" y="478"/>
                </a:lnTo>
                <a:lnTo>
                  <a:pt x="438" y="482"/>
                </a:lnTo>
                <a:lnTo>
                  <a:pt x="438" y="486"/>
                </a:lnTo>
                <a:lnTo>
                  <a:pt x="438" y="492"/>
                </a:lnTo>
                <a:lnTo>
                  <a:pt x="436" y="496"/>
                </a:lnTo>
                <a:lnTo>
                  <a:pt x="432" y="498"/>
                </a:lnTo>
                <a:lnTo>
                  <a:pt x="426" y="498"/>
                </a:lnTo>
                <a:close/>
                <a:moveTo>
                  <a:pt x="472" y="584"/>
                </a:moveTo>
                <a:lnTo>
                  <a:pt x="472" y="584"/>
                </a:lnTo>
                <a:lnTo>
                  <a:pt x="466" y="584"/>
                </a:lnTo>
                <a:lnTo>
                  <a:pt x="462" y="580"/>
                </a:lnTo>
                <a:lnTo>
                  <a:pt x="460" y="576"/>
                </a:lnTo>
                <a:lnTo>
                  <a:pt x="458" y="572"/>
                </a:lnTo>
                <a:lnTo>
                  <a:pt x="458" y="456"/>
                </a:lnTo>
                <a:lnTo>
                  <a:pt x="326" y="456"/>
                </a:lnTo>
                <a:lnTo>
                  <a:pt x="320" y="454"/>
                </a:lnTo>
                <a:lnTo>
                  <a:pt x="316" y="452"/>
                </a:lnTo>
                <a:lnTo>
                  <a:pt x="314" y="448"/>
                </a:lnTo>
                <a:lnTo>
                  <a:pt x="312" y="442"/>
                </a:lnTo>
                <a:lnTo>
                  <a:pt x="312" y="312"/>
                </a:lnTo>
                <a:lnTo>
                  <a:pt x="314" y="306"/>
                </a:lnTo>
                <a:lnTo>
                  <a:pt x="316" y="302"/>
                </a:lnTo>
                <a:lnTo>
                  <a:pt x="320" y="300"/>
                </a:lnTo>
                <a:lnTo>
                  <a:pt x="326" y="298"/>
                </a:lnTo>
                <a:lnTo>
                  <a:pt x="410" y="298"/>
                </a:lnTo>
                <a:lnTo>
                  <a:pt x="414" y="300"/>
                </a:lnTo>
                <a:lnTo>
                  <a:pt x="420" y="302"/>
                </a:lnTo>
                <a:lnTo>
                  <a:pt x="422" y="306"/>
                </a:lnTo>
                <a:lnTo>
                  <a:pt x="422" y="312"/>
                </a:lnTo>
                <a:lnTo>
                  <a:pt x="422" y="430"/>
                </a:lnTo>
                <a:lnTo>
                  <a:pt x="472" y="430"/>
                </a:lnTo>
                <a:lnTo>
                  <a:pt x="476" y="432"/>
                </a:lnTo>
                <a:lnTo>
                  <a:pt x="480" y="434"/>
                </a:lnTo>
                <a:lnTo>
                  <a:pt x="482" y="438"/>
                </a:lnTo>
                <a:lnTo>
                  <a:pt x="484" y="442"/>
                </a:lnTo>
                <a:lnTo>
                  <a:pt x="484" y="572"/>
                </a:lnTo>
                <a:lnTo>
                  <a:pt x="482" y="576"/>
                </a:lnTo>
                <a:lnTo>
                  <a:pt x="480" y="580"/>
                </a:lnTo>
                <a:lnTo>
                  <a:pt x="476" y="584"/>
                </a:lnTo>
                <a:lnTo>
                  <a:pt x="472"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Freeform 469"/>
          <p:cNvSpPr>
            <a:spLocks noEditPoints="1"/>
          </p:cNvSpPr>
          <p:nvPr userDrawn="1"/>
        </p:nvSpPr>
        <p:spPr bwMode="auto">
          <a:xfrm>
            <a:off x="3222903" y="2530624"/>
            <a:ext cx="1080000" cy="1080000"/>
          </a:xfrm>
          <a:custGeom>
            <a:avLst/>
            <a:gdLst>
              <a:gd name="T0" fmla="*/ 160 w 724"/>
              <a:gd name="T1" fmla="*/ 62 h 726"/>
              <a:gd name="T2" fmla="*/ 6 w 724"/>
              <a:gd name="T3" fmla="*/ 290 h 726"/>
              <a:gd name="T4" fmla="*/ 44 w 724"/>
              <a:gd name="T5" fmla="*/ 536 h 726"/>
              <a:gd name="T6" fmla="*/ 254 w 724"/>
              <a:gd name="T7" fmla="*/ 710 h 726"/>
              <a:gd name="T8" fmla="*/ 504 w 724"/>
              <a:gd name="T9" fmla="*/ 698 h 726"/>
              <a:gd name="T10" fmla="*/ 696 w 724"/>
              <a:gd name="T11" fmla="*/ 504 h 726"/>
              <a:gd name="T12" fmla="*/ 708 w 724"/>
              <a:gd name="T13" fmla="*/ 254 h 726"/>
              <a:gd name="T14" fmla="*/ 536 w 724"/>
              <a:gd name="T15" fmla="*/ 44 h 726"/>
              <a:gd name="T16" fmla="*/ 548 w 724"/>
              <a:gd name="T17" fmla="*/ 386 h 726"/>
              <a:gd name="T18" fmla="*/ 526 w 724"/>
              <a:gd name="T19" fmla="*/ 500 h 726"/>
              <a:gd name="T20" fmla="*/ 394 w 724"/>
              <a:gd name="T21" fmla="*/ 574 h 726"/>
              <a:gd name="T22" fmla="*/ 294 w 724"/>
              <a:gd name="T23" fmla="*/ 564 h 726"/>
              <a:gd name="T24" fmla="*/ 176 w 724"/>
              <a:gd name="T25" fmla="*/ 466 h 726"/>
              <a:gd name="T26" fmla="*/ 150 w 724"/>
              <a:gd name="T27" fmla="*/ 354 h 726"/>
              <a:gd name="T28" fmla="*/ 198 w 724"/>
              <a:gd name="T29" fmla="*/ 226 h 726"/>
              <a:gd name="T30" fmla="*/ 334 w 724"/>
              <a:gd name="T31" fmla="*/ 152 h 726"/>
              <a:gd name="T32" fmla="*/ 406 w 724"/>
              <a:gd name="T33" fmla="*/ 180 h 726"/>
              <a:gd name="T34" fmla="*/ 518 w 724"/>
              <a:gd name="T35" fmla="*/ 256 h 726"/>
              <a:gd name="T36" fmla="*/ 602 w 724"/>
              <a:gd name="T37" fmla="*/ 372 h 726"/>
              <a:gd name="T38" fmla="*/ 284 w 724"/>
              <a:gd name="T39" fmla="*/ 506 h 726"/>
              <a:gd name="T40" fmla="*/ 206 w 724"/>
              <a:gd name="T41" fmla="*/ 412 h 726"/>
              <a:gd name="T42" fmla="*/ 212 w 724"/>
              <a:gd name="T43" fmla="*/ 300 h 726"/>
              <a:gd name="T44" fmla="*/ 298 w 724"/>
              <a:gd name="T45" fmla="*/ 212 h 726"/>
              <a:gd name="T46" fmla="*/ 362 w 724"/>
              <a:gd name="T47" fmla="*/ 174 h 726"/>
              <a:gd name="T48" fmla="*/ 334 w 724"/>
              <a:gd name="T49" fmla="*/ 176 h 726"/>
              <a:gd name="T50" fmla="*/ 316 w 724"/>
              <a:gd name="T51" fmla="*/ 180 h 726"/>
              <a:gd name="T52" fmla="*/ 298 w 724"/>
              <a:gd name="T53" fmla="*/ 186 h 726"/>
              <a:gd name="T54" fmla="*/ 280 w 724"/>
              <a:gd name="T55" fmla="*/ 194 h 726"/>
              <a:gd name="T56" fmla="*/ 264 w 724"/>
              <a:gd name="T57" fmla="*/ 202 h 726"/>
              <a:gd name="T58" fmla="*/ 250 w 724"/>
              <a:gd name="T59" fmla="*/ 212 h 726"/>
              <a:gd name="T60" fmla="*/ 236 w 724"/>
              <a:gd name="T61" fmla="*/ 224 h 726"/>
              <a:gd name="T62" fmla="*/ 222 w 724"/>
              <a:gd name="T63" fmla="*/ 236 h 726"/>
              <a:gd name="T64" fmla="*/ 212 w 724"/>
              <a:gd name="T65" fmla="*/ 250 h 726"/>
              <a:gd name="T66" fmla="*/ 202 w 724"/>
              <a:gd name="T67" fmla="*/ 266 h 726"/>
              <a:gd name="T68" fmla="*/ 192 w 724"/>
              <a:gd name="T69" fmla="*/ 282 h 726"/>
              <a:gd name="T70" fmla="*/ 186 w 724"/>
              <a:gd name="T71" fmla="*/ 298 h 726"/>
              <a:gd name="T72" fmla="*/ 180 w 724"/>
              <a:gd name="T73" fmla="*/ 316 h 726"/>
              <a:gd name="T74" fmla="*/ 176 w 724"/>
              <a:gd name="T75" fmla="*/ 334 h 726"/>
              <a:gd name="T76" fmla="*/ 178 w 724"/>
              <a:gd name="T77" fmla="*/ 400 h 726"/>
              <a:gd name="T78" fmla="*/ 256 w 724"/>
              <a:gd name="T79" fmla="*/ 520 h 726"/>
              <a:gd name="T80" fmla="*/ 384 w 724"/>
              <a:gd name="T81" fmla="*/ 550 h 726"/>
              <a:gd name="T82" fmla="*/ 488 w 724"/>
              <a:gd name="T83" fmla="*/ 468 h 726"/>
              <a:gd name="T84" fmla="*/ 380 w 724"/>
              <a:gd name="T85" fmla="*/ 526 h 726"/>
              <a:gd name="T86" fmla="*/ 240 w 724"/>
              <a:gd name="T87" fmla="*/ 430 h 726"/>
              <a:gd name="T88" fmla="*/ 320 w 724"/>
              <a:gd name="T89" fmla="*/ 496 h 726"/>
              <a:gd name="T90" fmla="*/ 422 w 724"/>
              <a:gd name="T91" fmla="*/ 488 h 726"/>
              <a:gd name="T92" fmla="*/ 510 w 724"/>
              <a:gd name="T93" fmla="*/ 432 h 726"/>
              <a:gd name="T94" fmla="*/ 522 w 724"/>
              <a:gd name="T95" fmla="*/ 330 h 726"/>
              <a:gd name="T96" fmla="*/ 454 w 724"/>
              <a:gd name="T97" fmla="*/ 228 h 726"/>
              <a:gd name="T98" fmla="*/ 362 w 724"/>
              <a:gd name="T99" fmla="*/ 224 h 726"/>
              <a:gd name="T100" fmla="*/ 274 w 724"/>
              <a:gd name="T101" fmla="*/ 256 h 726"/>
              <a:gd name="T102" fmla="*/ 224 w 724"/>
              <a:gd name="T103" fmla="*/ 348 h 726"/>
              <a:gd name="T104" fmla="*/ 404 w 724"/>
              <a:gd name="T105" fmla="*/ 292 h 726"/>
              <a:gd name="T106" fmla="*/ 398 w 724"/>
              <a:gd name="T107" fmla="*/ 356 h 726"/>
              <a:gd name="T108" fmla="*/ 408 w 724"/>
              <a:gd name="T109" fmla="*/ 378 h 726"/>
              <a:gd name="T110" fmla="*/ 392 w 724"/>
              <a:gd name="T111" fmla="*/ 450 h 726"/>
              <a:gd name="T112" fmla="*/ 320 w 724"/>
              <a:gd name="T113" fmla="*/ 446 h 726"/>
              <a:gd name="T114" fmla="*/ 346 w 724"/>
              <a:gd name="T115" fmla="*/ 422 h 726"/>
              <a:gd name="T116" fmla="*/ 372 w 724"/>
              <a:gd name="T117" fmla="*/ 424 h 726"/>
              <a:gd name="T118" fmla="*/ 366 w 724"/>
              <a:gd name="T119" fmla="*/ 378 h 726"/>
              <a:gd name="T120" fmla="*/ 372 w 724"/>
              <a:gd name="T121" fmla="*/ 340 h 726"/>
              <a:gd name="T122" fmla="*/ 362 w 724"/>
              <a:gd name="T123" fmla="*/ 300 h 726"/>
              <a:gd name="T124" fmla="*/ 314 w 724"/>
              <a:gd name="T125" fmla="*/ 298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50" y="372"/>
                </a:moveTo>
                <a:lnTo>
                  <a:pt x="550" y="372"/>
                </a:lnTo>
                <a:lnTo>
                  <a:pt x="548" y="386"/>
                </a:lnTo>
                <a:lnTo>
                  <a:pt x="546" y="402"/>
                </a:lnTo>
                <a:lnTo>
                  <a:pt x="542" y="418"/>
                </a:lnTo>
                <a:lnTo>
                  <a:pt x="538" y="432"/>
                </a:lnTo>
                <a:lnTo>
                  <a:pt x="532" y="446"/>
                </a:lnTo>
                <a:lnTo>
                  <a:pt x="524" y="460"/>
                </a:lnTo>
                <a:lnTo>
                  <a:pt x="516" y="472"/>
                </a:lnTo>
                <a:lnTo>
                  <a:pt x="506" y="484"/>
                </a:lnTo>
                <a:lnTo>
                  <a:pt x="526" y="500"/>
                </a:lnTo>
                <a:lnTo>
                  <a:pt x="510" y="516"/>
                </a:lnTo>
                <a:lnTo>
                  <a:pt x="494" y="530"/>
                </a:lnTo>
                <a:lnTo>
                  <a:pt x="476" y="542"/>
                </a:lnTo>
                <a:lnTo>
                  <a:pt x="458" y="554"/>
                </a:lnTo>
                <a:lnTo>
                  <a:pt x="436" y="562"/>
                </a:lnTo>
                <a:lnTo>
                  <a:pt x="416" y="570"/>
                </a:lnTo>
                <a:lnTo>
                  <a:pt x="394" y="574"/>
                </a:lnTo>
                <a:lnTo>
                  <a:pt x="370" y="576"/>
                </a:lnTo>
                <a:lnTo>
                  <a:pt x="370" y="604"/>
                </a:lnTo>
                <a:lnTo>
                  <a:pt x="354" y="604"/>
                </a:lnTo>
                <a:lnTo>
                  <a:pt x="354" y="576"/>
                </a:lnTo>
                <a:lnTo>
                  <a:pt x="334" y="574"/>
                </a:lnTo>
                <a:lnTo>
                  <a:pt x="314" y="570"/>
                </a:lnTo>
                <a:lnTo>
                  <a:pt x="294" y="564"/>
                </a:lnTo>
                <a:lnTo>
                  <a:pt x="276" y="558"/>
                </a:lnTo>
                <a:lnTo>
                  <a:pt x="258" y="548"/>
                </a:lnTo>
                <a:lnTo>
                  <a:pt x="242" y="538"/>
                </a:lnTo>
                <a:lnTo>
                  <a:pt x="226" y="526"/>
                </a:lnTo>
                <a:lnTo>
                  <a:pt x="212" y="514"/>
                </a:lnTo>
                <a:lnTo>
                  <a:pt x="198" y="498"/>
                </a:lnTo>
                <a:lnTo>
                  <a:pt x="186" y="484"/>
                </a:lnTo>
                <a:lnTo>
                  <a:pt x="176" y="466"/>
                </a:lnTo>
                <a:lnTo>
                  <a:pt x="168" y="450"/>
                </a:lnTo>
                <a:lnTo>
                  <a:pt x="160" y="430"/>
                </a:lnTo>
                <a:lnTo>
                  <a:pt x="154" y="412"/>
                </a:lnTo>
                <a:lnTo>
                  <a:pt x="152" y="392"/>
                </a:lnTo>
                <a:lnTo>
                  <a:pt x="150" y="372"/>
                </a:lnTo>
                <a:lnTo>
                  <a:pt x="122" y="372"/>
                </a:lnTo>
                <a:lnTo>
                  <a:pt x="122" y="354"/>
                </a:lnTo>
                <a:lnTo>
                  <a:pt x="150" y="354"/>
                </a:lnTo>
                <a:lnTo>
                  <a:pt x="152" y="334"/>
                </a:lnTo>
                <a:lnTo>
                  <a:pt x="154" y="314"/>
                </a:lnTo>
                <a:lnTo>
                  <a:pt x="160" y="294"/>
                </a:lnTo>
                <a:lnTo>
                  <a:pt x="168" y="276"/>
                </a:lnTo>
                <a:lnTo>
                  <a:pt x="176" y="258"/>
                </a:lnTo>
                <a:lnTo>
                  <a:pt x="186" y="242"/>
                </a:lnTo>
                <a:lnTo>
                  <a:pt x="198" y="226"/>
                </a:lnTo>
                <a:lnTo>
                  <a:pt x="212" y="212"/>
                </a:lnTo>
                <a:lnTo>
                  <a:pt x="226" y="200"/>
                </a:lnTo>
                <a:lnTo>
                  <a:pt x="242" y="188"/>
                </a:lnTo>
                <a:lnTo>
                  <a:pt x="258" y="176"/>
                </a:lnTo>
                <a:lnTo>
                  <a:pt x="276" y="168"/>
                </a:lnTo>
                <a:lnTo>
                  <a:pt x="294" y="160"/>
                </a:lnTo>
                <a:lnTo>
                  <a:pt x="314" y="156"/>
                </a:lnTo>
                <a:lnTo>
                  <a:pt x="334" y="152"/>
                </a:lnTo>
                <a:lnTo>
                  <a:pt x="354" y="150"/>
                </a:lnTo>
                <a:lnTo>
                  <a:pt x="354" y="122"/>
                </a:lnTo>
                <a:lnTo>
                  <a:pt x="370" y="122"/>
                </a:lnTo>
                <a:lnTo>
                  <a:pt x="370" y="174"/>
                </a:lnTo>
                <a:lnTo>
                  <a:pt x="388" y="176"/>
                </a:lnTo>
                <a:lnTo>
                  <a:pt x="406" y="180"/>
                </a:lnTo>
                <a:lnTo>
                  <a:pt x="422" y="184"/>
                </a:lnTo>
                <a:lnTo>
                  <a:pt x="438" y="190"/>
                </a:lnTo>
                <a:lnTo>
                  <a:pt x="454" y="198"/>
                </a:lnTo>
                <a:lnTo>
                  <a:pt x="468" y="208"/>
                </a:lnTo>
                <a:lnTo>
                  <a:pt x="482" y="218"/>
                </a:lnTo>
                <a:lnTo>
                  <a:pt x="496" y="230"/>
                </a:lnTo>
                <a:lnTo>
                  <a:pt x="506" y="242"/>
                </a:lnTo>
                <a:lnTo>
                  <a:pt x="518" y="256"/>
                </a:lnTo>
                <a:lnTo>
                  <a:pt x="526" y="270"/>
                </a:lnTo>
                <a:lnTo>
                  <a:pt x="534" y="286"/>
                </a:lnTo>
                <a:lnTo>
                  <a:pt x="540" y="302"/>
                </a:lnTo>
                <a:lnTo>
                  <a:pt x="546" y="320"/>
                </a:lnTo>
                <a:lnTo>
                  <a:pt x="548" y="336"/>
                </a:lnTo>
                <a:lnTo>
                  <a:pt x="550" y="354"/>
                </a:lnTo>
                <a:lnTo>
                  <a:pt x="602" y="354"/>
                </a:lnTo>
                <a:lnTo>
                  <a:pt x="602" y="372"/>
                </a:lnTo>
                <a:lnTo>
                  <a:pt x="550" y="372"/>
                </a:lnTo>
                <a:close/>
                <a:moveTo>
                  <a:pt x="362" y="526"/>
                </a:moveTo>
                <a:lnTo>
                  <a:pt x="362" y="526"/>
                </a:lnTo>
                <a:lnTo>
                  <a:pt x="346" y="526"/>
                </a:lnTo>
                <a:lnTo>
                  <a:pt x="330" y="524"/>
                </a:lnTo>
                <a:lnTo>
                  <a:pt x="314" y="520"/>
                </a:lnTo>
                <a:lnTo>
                  <a:pt x="298" y="514"/>
                </a:lnTo>
                <a:lnTo>
                  <a:pt x="284" y="506"/>
                </a:lnTo>
                <a:lnTo>
                  <a:pt x="270" y="498"/>
                </a:lnTo>
                <a:lnTo>
                  <a:pt x="258" y="490"/>
                </a:lnTo>
                <a:lnTo>
                  <a:pt x="246" y="478"/>
                </a:lnTo>
                <a:lnTo>
                  <a:pt x="236" y="466"/>
                </a:lnTo>
                <a:lnTo>
                  <a:pt x="226" y="454"/>
                </a:lnTo>
                <a:lnTo>
                  <a:pt x="218" y="440"/>
                </a:lnTo>
                <a:lnTo>
                  <a:pt x="212" y="426"/>
                </a:lnTo>
                <a:lnTo>
                  <a:pt x="206" y="412"/>
                </a:lnTo>
                <a:lnTo>
                  <a:pt x="202" y="396"/>
                </a:lnTo>
                <a:lnTo>
                  <a:pt x="200" y="380"/>
                </a:lnTo>
                <a:lnTo>
                  <a:pt x="198" y="362"/>
                </a:lnTo>
                <a:lnTo>
                  <a:pt x="200" y="346"/>
                </a:lnTo>
                <a:lnTo>
                  <a:pt x="202" y="330"/>
                </a:lnTo>
                <a:lnTo>
                  <a:pt x="206" y="314"/>
                </a:lnTo>
                <a:lnTo>
                  <a:pt x="212" y="300"/>
                </a:lnTo>
                <a:lnTo>
                  <a:pt x="218" y="284"/>
                </a:lnTo>
                <a:lnTo>
                  <a:pt x="226" y="272"/>
                </a:lnTo>
                <a:lnTo>
                  <a:pt x="236" y="258"/>
                </a:lnTo>
                <a:lnTo>
                  <a:pt x="246" y="248"/>
                </a:lnTo>
                <a:lnTo>
                  <a:pt x="258" y="236"/>
                </a:lnTo>
                <a:lnTo>
                  <a:pt x="270" y="228"/>
                </a:lnTo>
                <a:lnTo>
                  <a:pt x="284" y="218"/>
                </a:lnTo>
                <a:lnTo>
                  <a:pt x="298" y="212"/>
                </a:lnTo>
                <a:lnTo>
                  <a:pt x="314" y="206"/>
                </a:lnTo>
                <a:lnTo>
                  <a:pt x="330" y="202"/>
                </a:lnTo>
                <a:lnTo>
                  <a:pt x="346" y="200"/>
                </a:lnTo>
                <a:lnTo>
                  <a:pt x="362" y="200"/>
                </a:lnTo>
                <a:lnTo>
                  <a:pt x="362" y="174"/>
                </a:lnTo>
                <a:lnTo>
                  <a:pt x="342" y="176"/>
                </a:lnTo>
                <a:lnTo>
                  <a:pt x="334" y="176"/>
                </a:lnTo>
                <a:lnTo>
                  <a:pt x="332" y="176"/>
                </a:lnTo>
                <a:lnTo>
                  <a:pt x="324" y="178"/>
                </a:lnTo>
                <a:lnTo>
                  <a:pt x="316" y="180"/>
                </a:lnTo>
                <a:lnTo>
                  <a:pt x="314" y="180"/>
                </a:lnTo>
                <a:lnTo>
                  <a:pt x="306" y="182"/>
                </a:lnTo>
                <a:lnTo>
                  <a:pt x="304" y="184"/>
                </a:lnTo>
                <a:lnTo>
                  <a:pt x="298" y="186"/>
                </a:lnTo>
                <a:lnTo>
                  <a:pt x="296" y="186"/>
                </a:lnTo>
                <a:lnTo>
                  <a:pt x="288" y="190"/>
                </a:lnTo>
                <a:lnTo>
                  <a:pt x="286" y="190"/>
                </a:lnTo>
                <a:lnTo>
                  <a:pt x="280" y="194"/>
                </a:lnTo>
                <a:lnTo>
                  <a:pt x="278" y="194"/>
                </a:lnTo>
                <a:lnTo>
                  <a:pt x="272" y="198"/>
                </a:lnTo>
                <a:lnTo>
                  <a:pt x="270" y="198"/>
                </a:lnTo>
                <a:lnTo>
                  <a:pt x="264" y="202"/>
                </a:lnTo>
                <a:lnTo>
                  <a:pt x="262" y="204"/>
                </a:lnTo>
                <a:lnTo>
                  <a:pt x="256" y="206"/>
                </a:lnTo>
                <a:lnTo>
                  <a:pt x="254" y="208"/>
                </a:lnTo>
                <a:lnTo>
                  <a:pt x="250" y="212"/>
                </a:lnTo>
                <a:lnTo>
                  <a:pt x="246" y="214"/>
                </a:lnTo>
                <a:lnTo>
                  <a:pt x="242" y="218"/>
                </a:lnTo>
                <a:lnTo>
                  <a:pt x="240" y="220"/>
                </a:lnTo>
                <a:lnTo>
                  <a:pt x="236" y="224"/>
                </a:lnTo>
                <a:lnTo>
                  <a:pt x="232" y="226"/>
                </a:lnTo>
                <a:lnTo>
                  <a:pt x="228" y="230"/>
                </a:lnTo>
                <a:lnTo>
                  <a:pt x="226" y="234"/>
                </a:lnTo>
                <a:lnTo>
                  <a:pt x="222" y="236"/>
                </a:lnTo>
                <a:lnTo>
                  <a:pt x="220" y="240"/>
                </a:lnTo>
                <a:lnTo>
                  <a:pt x="216" y="244"/>
                </a:lnTo>
                <a:lnTo>
                  <a:pt x="214" y="248"/>
                </a:lnTo>
                <a:lnTo>
                  <a:pt x="212" y="250"/>
                </a:lnTo>
                <a:lnTo>
                  <a:pt x="208" y="254"/>
                </a:lnTo>
                <a:lnTo>
                  <a:pt x="206" y="258"/>
                </a:lnTo>
                <a:lnTo>
                  <a:pt x="202" y="262"/>
                </a:lnTo>
                <a:lnTo>
                  <a:pt x="202" y="266"/>
                </a:lnTo>
                <a:lnTo>
                  <a:pt x="198" y="272"/>
                </a:lnTo>
                <a:lnTo>
                  <a:pt x="196" y="274"/>
                </a:lnTo>
                <a:lnTo>
                  <a:pt x="194" y="280"/>
                </a:lnTo>
                <a:lnTo>
                  <a:pt x="192" y="282"/>
                </a:lnTo>
                <a:lnTo>
                  <a:pt x="190" y="288"/>
                </a:lnTo>
                <a:lnTo>
                  <a:pt x="188" y="290"/>
                </a:lnTo>
                <a:lnTo>
                  <a:pt x="186" y="296"/>
                </a:lnTo>
                <a:lnTo>
                  <a:pt x="186" y="298"/>
                </a:lnTo>
                <a:lnTo>
                  <a:pt x="184" y="304"/>
                </a:lnTo>
                <a:lnTo>
                  <a:pt x="182" y="306"/>
                </a:lnTo>
                <a:lnTo>
                  <a:pt x="180" y="312"/>
                </a:lnTo>
                <a:lnTo>
                  <a:pt x="180" y="316"/>
                </a:lnTo>
                <a:lnTo>
                  <a:pt x="178" y="322"/>
                </a:lnTo>
                <a:lnTo>
                  <a:pt x="178" y="324"/>
                </a:lnTo>
                <a:lnTo>
                  <a:pt x="176" y="330"/>
                </a:lnTo>
                <a:lnTo>
                  <a:pt x="176" y="334"/>
                </a:lnTo>
                <a:lnTo>
                  <a:pt x="176" y="338"/>
                </a:lnTo>
                <a:lnTo>
                  <a:pt x="174" y="344"/>
                </a:lnTo>
                <a:lnTo>
                  <a:pt x="174" y="362"/>
                </a:lnTo>
                <a:lnTo>
                  <a:pt x="174" y="382"/>
                </a:lnTo>
                <a:lnTo>
                  <a:pt x="178" y="400"/>
                </a:lnTo>
                <a:lnTo>
                  <a:pt x="182" y="418"/>
                </a:lnTo>
                <a:lnTo>
                  <a:pt x="188" y="436"/>
                </a:lnTo>
                <a:lnTo>
                  <a:pt x="196" y="452"/>
                </a:lnTo>
                <a:lnTo>
                  <a:pt x="206" y="468"/>
                </a:lnTo>
                <a:lnTo>
                  <a:pt x="216" y="482"/>
                </a:lnTo>
                <a:lnTo>
                  <a:pt x="228" y="496"/>
                </a:lnTo>
                <a:lnTo>
                  <a:pt x="242" y="508"/>
                </a:lnTo>
                <a:lnTo>
                  <a:pt x="256" y="520"/>
                </a:lnTo>
                <a:lnTo>
                  <a:pt x="272" y="528"/>
                </a:lnTo>
                <a:lnTo>
                  <a:pt x="288" y="536"/>
                </a:lnTo>
                <a:lnTo>
                  <a:pt x="306" y="542"/>
                </a:lnTo>
                <a:lnTo>
                  <a:pt x="324" y="548"/>
                </a:lnTo>
                <a:lnTo>
                  <a:pt x="342" y="550"/>
                </a:lnTo>
                <a:lnTo>
                  <a:pt x="362" y="552"/>
                </a:lnTo>
                <a:lnTo>
                  <a:pt x="384" y="550"/>
                </a:lnTo>
                <a:lnTo>
                  <a:pt x="404" y="546"/>
                </a:lnTo>
                <a:lnTo>
                  <a:pt x="424" y="540"/>
                </a:lnTo>
                <a:lnTo>
                  <a:pt x="444" y="532"/>
                </a:lnTo>
                <a:lnTo>
                  <a:pt x="460" y="524"/>
                </a:lnTo>
                <a:lnTo>
                  <a:pt x="478" y="512"/>
                </a:lnTo>
                <a:lnTo>
                  <a:pt x="492" y="498"/>
                </a:lnTo>
                <a:lnTo>
                  <a:pt x="506" y="484"/>
                </a:lnTo>
                <a:lnTo>
                  <a:pt x="488" y="468"/>
                </a:lnTo>
                <a:lnTo>
                  <a:pt x="476" y="480"/>
                </a:lnTo>
                <a:lnTo>
                  <a:pt x="462" y="492"/>
                </a:lnTo>
                <a:lnTo>
                  <a:pt x="448" y="502"/>
                </a:lnTo>
                <a:lnTo>
                  <a:pt x="432" y="510"/>
                </a:lnTo>
                <a:lnTo>
                  <a:pt x="416" y="518"/>
                </a:lnTo>
                <a:lnTo>
                  <a:pt x="398" y="522"/>
                </a:lnTo>
                <a:lnTo>
                  <a:pt x="380" y="526"/>
                </a:lnTo>
                <a:lnTo>
                  <a:pt x="362" y="526"/>
                </a:lnTo>
                <a:close/>
                <a:moveTo>
                  <a:pt x="222" y="362"/>
                </a:moveTo>
                <a:lnTo>
                  <a:pt x="222" y="362"/>
                </a:lnTo>
                <a:lnTo>
                  <a:pt x="224" y="378"/>
                </a:lnTo>
                <a:lnTo>
                  <a:pt x="226" y="390"/>
                </a:lnTo>
                <a:lnTo>
                  <a:pt x="230" y="404"/>
                </a:lnTo>
                <a:lnTo>
                  <a:pt x="234" y="416"/>
                </a:lnTo>
                <a:lnTo>
                  <a:pt x="240" y="430"/>
                </a:lnTo>
                <a:lnTo>
                  <a:pt x="246" y="440"/>
                </a:lnTo>
                <a:lnTo>
                  <a:pt x="254" y="452"/>
                </a:lnTo>
                <a:lnTo>
                  <a:pt x="264" y="462"/>
                </a:lnTo>
                <a:lnTo>
                  <a:pt x="274" y="470"/>
                </a:lnTo>
                <a:lnTo>
                  <a:pt x="284" y="478"/>
                </a:lnTo>
                <a:lnTo>
                  <a:pt x="296" y="486"/>
                </a:lnTo>
                <a:lnTo>
                  <a:pt x="308" y="492"/>
                </a:lnTo>
                <a:lnTo>
                  <a:pt x="320" y="496"/>
                </a:lnTo>
                <a:lnTo>
                  <a:pt x="334" y="500"/>
                </a:lnTo>
                <a:lnTo>
                  <a:pt x="348" y="502"/>
                </a:lnTo>
                <a:lnTo>
                  <a:pt x="362" y="502"/>
                </a:lnTo>
                <a:lnTo>
                  <a:pt x="378" y="502"/>
                </a:lnTo>
                <a:lnTo>
                  <a:pt x="394" y="498"/>
                </a:lnTo>
                <a:lnTo>
                  <a:pt x="408" y="494"/>
                </a:lnTo>
                <a:lnTo>
                  <a:pt x="422" y="488"/>
                </a:lnTo>
                <a:lnTo>
                  <a:pt x="436" y="482"/>
                </a:lnTo>
                <a:lnTo>
                  <a:pt x="448" y="472"/>
                </a:lnTo>
                <a:lnTo>
                  <a:pt x="458" y="462"/>
                </a:lnTo>
                <a:lnTo>
                  <a:pt x="468" y="452"/>
                </a:lnTo>
                <a:lnTo>
                  <a:pt x="488" y="468"/>
                </a:lnTo>
                <a:lnTo>
                  <a:pt x="504" y="444"/>
                </a:lnTo>
                <a:lnTo>
                  <a:pt x="510" y="432"/>
                </a:lnTo>
                <a:lnTo>
                  <a:pt x="516" y="420"/>
                </a:lnTo>
                <a:lnTo>
                  <a:pt x="520" y="406"/>
                </a:lnTo>
                <a:lnTo>
                  <a:pt x="524" y="392"/>
                </a:lnTo>
                <a:lnTo>
                  <a:pt x="526" y="378"/>
                </a:lnTo>
                <a:lnTo>
                  <a:pt x="526" y="362"/>
                </a:lnTo>
                <a:lnTo>
                  <a:pt x="526" y="346"/>
                </a:lnTo>
                <a:lnTo>
                  <a:pt x="522" y="330"/>
                </a:lnTo>
                <a:lnTo>
                  <a:pt x="518" y="314"/>
                </a:lnTo>
                <a:lnTo>
                  <a:pt x="514" y="300"/>
                </a:lnTo>
                <a:lnTo>
                  <a:pt x="506" y="284"/>
                </a:lnTo>
                <a:lnTo>
                  <a:pt x="498" y="272"/>
                </a:lnTo>
                <a:lnTo>
                  <a:pt x="488" y="258"/>
                </a:lnTo>
                <a:lnTo>
                  <a:pt x="478" y="248"/>
                </a:lnTo>
                <a:lnTo>
                  <a:pt x="466" y="236"/>
                </a:lnTo>
                <a:lnTo>
                  <a:pt x="454" y="228"/>
                </a:lnTo>
                <a:lnTo>
                  <a:pt x="440" y="218"/>
                </a:lnTo>
                <a:lnTo>
                  <a:pt x="426" y="212"/>
                </a:lnTo>
                <a:lnTo>
                  <a:pt x="410" y="206"/>
                </a:lnTo>
                <a:lnTo>
                  <a:pt x="396" y="202"/>
                </a:lnTo>
                <a:lnTo>
                  <a:pt x="378" y="200"/>
                </a:lnTo>
                <a:lnTo>
                  <a:pt x="362" y="200"/>
                </a:lnTo>
                <a:lnTo>
                  <a:pt x="362" y="224"/>
                </a:lnTo>
                <a:lnTo>
                  <a:pt x="348" y="224"/>
                </a:lnTo>
                <a:lnTo>
                  <a:pt x="334" y="226"/>
                </a:lnTo>
                <a:lnTo>
                  <a:pt x="320" y="230"/>
                </a:lnTo>
                <a:lnTo>
                  <a:pt x="308" y="234"/>
                </a:lnTo>
                <a:lnTo>
                  <a:pt x="296" y="240"/>
                </a:lnTo>
                <a:lnTo>
                  <a:pt x="284" y="248"/>
                </a:lnTo>
                <a:lnTo>
                  <a:pt x="274" y="256"/>
                </a:lnTo>
                <a:lnTo>
                  <a:pt x="264" y="264"/>
                </a:lnTo>
                <a:lnTo>
                  <a:pt x="254" y="274"/>
                </a:lnTo>
                <a:lnTo>
                  <a:pt x="246" y="286"/>
                </a:lnTo>
                <a:lnTo>
                  <a:pt x="240" y="296"/>
                </a:lnTo>
                <a:lnTo>
                  <a:pt x="234" y="308"/>
                </a:lnTo>
                <a:lnTo>
                  <a:pt x="230" y="322"/>
                </a:lnTo>
                <a:lnTo>
                  <a:pt x="226" y="334"/>
                </a:lnTo>
                <a:lnTo>
                  <a:pt x="224" y="348"/>
                </a:lnTo>
                <a:lnTo>
                  <a:pt x="222" y="362"/>
                </a:lnTo>
                <a:close/>
                <a:moveTo>
                  <a:pt x="362" y="274"/>
                </a:moveTo>
                <a:lnTo>
                  <a:pt x="362" y="274"/>
                </a:lnTo>
                <a:lnTo>
                  <a:pt x="374" y="276"/>
                </a:lnTo>
                <a:lnTo>
                  <a:pt x="384" y="278"/>
                </a:lnTo>
                <a:lnTo>
                  <a:pt x="392" y="280"/>
                </a:lnTo>
                <a:lnTo>
                  <a:pt x="398" y="286"/>
                </a:lnTo>
                <a:lnTo>
                  <a:pt x="404" y="292"/>
                </a:lnTo>
                <a:lnTo>
                  <a:pt x="408" y="300"/>
                </a:lnTo>
                <a:lnTo>
                  <a:pt x="410" y="310"/>
                </a:lnTo>
                <a:lnTo>
                  <a:pt x="410" y="322"/>
                </a:lnTo>
                <a:lnTo>
                  <a:pt x="410" y="334"/>
                </a:lnTo>
                <a:lnTo>
                  <a:pt x="406" y="346"/>
                </a:lnTo>
                <a:lnTo>
                  <a:pt x="402" y="352"/>
                </a:lnTo>
                <a:lnTo>
                  <a:pt x="398" y="356"/>
                </a:lnTo>
                <a:lnTo>
                  <a:pt x="394" y="360"/>
                </a:lnTo>
                <a:lnTo>
                  <a:pt x="386" y="362"/>
                </a:lnTo>
                <a:lnTo>
                  <a:pt x="394" y="364"/>
                </a:lnTo>
                <a:lnTo>
                  <a:pt x="400" y="368"/>
                </a:lnTo>
                <a:lnTo>
                  <a:pt x="406" y="372"/>
                </a:lnTo>
                <a:lnTo>
                  <a:pt x="408" y="378"/>
                </a:lnTo>
                <a:lnTo>
                  <a:pt x="412" y="390"/>
                </a:lnTo>
                <a:lnTo>
                  <a:pt x="414" y="404"/>
                </a:lnTo>
                <a:lnTo>
                  <a:pt x="412" y="418"/>
                </a:lnTo>
                <a:lnTo>
                  <a:pt x="410" y="428"/>
                </a:lnTo>
                <a:lnTo>
                  <a:pt x="406" y="436"/>
                </a:lnTo>
                <a:lnTo>
                  <a:pt x="400" y="444"/>
                </a:lnTo>
                <a:lnTo>
                  <a:pt x="392" y="450"/>
                </a:lnTo>
                <a:lnTo>
                  <a:pt x="382" y="454"/>
                </a:lnTo>
                <a:lnTo>
                  <a:pt x="370" y="456"/>
                </a:lnTo>
                <a:lnTo>
                  <a:pt x="358" y="456"/>
                </a:lnTo>
                <a:lnTo>
                  <a:pt x="346" y="456"/>
                </a:lnTo>
                <a:lnTo>
                  <a:pt x="336" y="454"/>
                </a:lnTo>
                <a:lnTo>
                  <a:pt x="328" y="450"/>
                </a:lnTo>
                <a:lnTo>
                  <a:pt x="320" y="446"/>
                </a:lnTo>
                <a:lnTo>
                  <a:pt x="316" y="438"/>
                </a:lnTo>
                <a:lnTo>
                  <a:pt x="312" y="430"/>
                </a:lnTo>
                <a:lnTo>
                  <a:pt x="310" y="418"/>
                </a:lnTo>
                <a:lnTo>
                  <a:pt x="310" y="406"/>
                </a:lnTo>
                <a:lnTo>
                  <a:pt x="346" y="406"/>
                </a:lnTo>
                <a:lnTo>
                  <a:pt x="346" y="414"/>
                </a:lnTo>
                <a:lnTo>
                  <a:pt x="346" y="422"/>
                </a:lnTo>
                <a:lnTo>
                  <a:pt x="348" y="426"/>
                </a:lnTo>
                <a:lnTo>
                  <a:pt x="352" y="428"/>
                </a:lnTo>
                <a:lnTo>
                  <a:pt x="356" y="430"/>
                </a:lnTo>
                <a:lnTo>
                  <a:pt x="360" y="430"/>
                </a:lnTo>
                <a:lnTo>
                  <a:pt x="366" y="430"/>
                </a:lnTo>
                <a:lnTo>
                  <a:pt x="370" y="428"/>
                </a:lnTo>
                <a:lnTo>
                  <a:pt x="372" y="424"/>
                </a:lnTo>
                <a:lnTo>
                  <a:pt x="376" y="422"/>
                </a:lnTo>
                <a:lnTo>
                  <a:pt x="378" y="412"/>
                </a:lnTo>
                <a:lnTo>
                  <a:pt x="378" y="402"/>
                </a:lnTo>
                <a:lnTo>
                  <a:pt x="376" y="388"/>
                </a:lnTo>
                <a:lnTo>
                  <a:pt x="374" y="384"/>
                </a:lnTo>
                <a:lnTo>
                  <a:pt x="370" y="380"/>
                </a:lnTo>
                <a:lnTo>
                  <a:pt x="366" y="378"/>
                </a:lnTo>
                <a:lnTo>
                  <a:pt x="360" y="376"/>
                </a:lnTo>
                <a:lnTo>
                  <a:pt x="344" y="376"/>
                </a:lnTo>
                <a:lnTo>
                  <a:pt x="344" y="348"/>
                </a:lnTo>
                <a:lnTo>
                  <a:pt x="360" y="348"/>
                </a:lnTo>
                <a:lnTo>
                  <a:pt x="364" y="346"/>
                </a:lnTo>
                <a:lnTo>
                  <a:pt x="368" y="344"/>
                </a:lnTo>
                <a:lnTo>
                  <a:pt x="372" y="340"/>
                </a:lnTo>
                <a:lnTo>
                  <a:pt x="374" y="336"/>
                </a:lnTo>
                <a:lnTo>
                  <a:pt x="374" y="322"/>
                </a:lnTo>
                <a:lnTo>
                  <a:pt x="374" y="314"/>
                </a:lnTo>
                <a:lnTo>
                  <a:pt x="372" y="308"/>
                </a:lnTo>
                <a:lnTo>
                  <a:pt x="368" y="302"/>
                </a:lnTo>
                <a:lnTo>
                  <a:pt x="362" y="300"/>
                </a:lnTo>
                <a:lnTo>
                  <a:pt x="354" y="302"/>
                </a:lnTo>
                <a:lnTo>
                  <a:pt x="350" y="306"/>
                </a:lnTo>
                <a:lnTo>
                  <a:pt x="348" y="314"/>
                </a:lnTo>
                <a:lnTo>
                  <a:pt x="348" y="322"/>
                </a:lnTo>
                <a:lnTo>
                  <a:pt x="312" y="322"/>
                </a:lnTo>
                <a:lnTo>
                  <a:pt x="312" y="308"/>
                </a:lnTo>
                <a:lnTo>
                  <a:pt x="314" y="298"/>
                </a:lnTo>
                <a:lnTo>
                  <a:pt x="318" y="290"/>
                </a:lnTo>
                <a:lnTo>
                  <a:pt x="324" y="284"/>
                </a:lnTo>
                <a:lnTo>
                  <a:pt x="330" y="280"/>
                </a:lnTo>
                <a:lnTo>
                  <a:pt x="340" y="276"/>
                </a:lnTo>
                <a:lnTo>
                  <a:pt x="350" y="276"/>
                </a:lnTo>
                <a:lnTo>
                  <a:pt x="362" y="2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6" name="Freeform 70"/>
          <p:cNvSpPr>
            <a:spLocks/>
          </p:cNvSpPr>
          <p:nvPr userDrawn="1"/>
        </p:nvSpPr>
        <p:spPr bwMode="auto">
          <a:xfrm>
            <a:off x="7654812" y="2530624"/>
            <a:ext cx="1080000" cy="1080000"/>
          </a:xfrm>
          <a:custGeom>
            <a:avLst/>
            <a:gdLst>
              <a:gd name="T0" fmla="*/ 593724 w 1087437"/>
              <a:gd name="T1" fmla="*/ 483394 h 1087438"/>
              <a:gd name="T2" fmla="*/ 558316 w 1087437"/>
              <a:gd name="T3" fmla="*/ 537369 h 1087438"/>
              <a:gd name="T4" fmla="*/ 503237 w 1087437"/>
              <a:gd name="T5" fmla="*/ 501651 h 1087438"/>
              <a:gd name="T6" fmla="*/ 538645 w 1087437"/>
              <a:gd name="T7" fmla="*/ 447676 h 1087438"/>
              <a:gd name="T8" fmla="*/ 489886 w 1087437"/>
              <a:gd name="T9" fmla="*/ 423069 h 1087438"/>
              <a:gd name="T10" fmla="*/ 457997 w 1087437"/>
              <a:gd name="T11" fmla="*/ 483394 h 1087438"/>
              <a:gd name="T12" fmla="*/ 634979 w 1087437"/>
              <a:gd name="T13" fmla="*/ 522288 h 1087438"/>
              <a:gd name="T14" fmla="*/ 628601 w 1087437"/>
              <a:gd name="T15" fmla="*/ 448469 h 1087438"/>
              <a:gd name="T16" fmla="*/ 575188 w 1087437"/>
              <a:gd name="T17" fmla="*/ 405607 h 1087438"/>
              <a:gd name="T18" fmla="*/ 747712 w 1087437"/>
              <a:gd name="T19" fmla="*/ 380206 h 1087438"/>
              <a:gd name="T20" fmla="*/ 796130 w 1087437"/>
              <a:gd name="T21" fmla="*/ 485775 h 1087438"/>
              <a:gd name="T22" fmla="*/ 781049 w 1087437"/>
              <a:gd name="T23" fmla="*/ 628651 h 1087438"/>
              <a:gd name="T24" fmla="*/ 281781 w 1087437"/>
              <a:gd name="T25" fmla="*/ 720726 h 1087438"/>
              <a:gd name="T26" fmla="*/ 307181 w 1087437"/>
              <a:gd name="T27" fmla="*/ 573088 h 1087438"/>
              <a:gd name="T28" fmla="*/ 291306 w 1087437"/>
              <a:gd name="T29" fmla="*/ 442913 h 1087438"/>
              <a:gd name="T30" fmla="*/ 855662 w 1087437"/>
              <a:gd name="T31" fmla="*/ 307975 h 1087438"/>
              <a:gd name="T32" fmla="*/ 904874 w 1087437"/>
              <a:gd name="T33" fmla="*/ 357188 h 1087438"/>
              <a:gd name="T34" fmla="*/ 807341 w 1087437"/>
              <a:gd name="T35" fmla="*/ 359141 h 1087438"/>
              <a:gd name="T36" fmla="*/ 873696 w 1087437"/>
              <a:gd name="T37" fmla="*/ 414303 h 1087438"/>
              <a:gd name="T38" fmla="*/ 864103 w 1087437"/>
              <a:gd name="T39" fmla="*/ 364737 h 1087438"/>
              <a:gd name="T40" fmla="*/ 314615 w 1087437"/>
              <a:gd name="T41" fmla="*/ 307975 h 1087438"/>
              <a:gd name="T42" fmla="*/ 288363 w 1087437"/>
              <a:gd name="T43" fmla="*/ 386026 h 1087438"/>
              <a:gd name="T44" fmla="*/ 222337 w 1087437"/>
              <a:gd name="T45" fmla="*/ 433811 h 1087438"/>
              <a:gd name="T46" fmla="*/ 204836 w 1087437"/>
              <a:gd name="T47" fmla="*/ 590709 h 1087438"/>
              <a:gd name="T48" fmla="*/ 223133 w 1087437"/>
              <a:gd name="T49" fmla="*/ 553276 h 1087438"/>
              <a:gd name="T50" fmla="*/ 182562 w 1087437"/>
              <a:gd name="T51" fmla="*/ 684688 h 1087438"/>
              <a:gd name="T52" fmla="*/ 246998 w 1087437"/>
              <a:gd name="T53" fmla="*/ 642477 h 1087438"/>
              <a:gd name="T54" fmla="*/ 266090 w 1087437"/>
              <a:gd name="T55" fmla="*/ 610619 h 1087438"/>
              <a:gd name="T56" fmla="*/ 214382 w 1087437"/>
              <a:gd name="T57" fmla="*/ 759552 h 1087438"/>
              <a:gd name="T58" fmla="*/ 830097 w 1087437"/>
              <a:gd name="T59" fmla="*/ 667166 h 1087438"/>
              <a:gd name="T60" fmla="*/ 826915 w 1087437"/>
              <a:gd name="T61" fmla="*/ 585930 h 1087438"/>
              <a:gd name="T62" fmla="*/ 882600 w 1087437"/>
              <a:gd name="T63" fmla="*/ 725306 h 1087438"/>
              <a:gd name="T64" fmla="*/ 873054 w 1087437"/>
              <a:gd name="T65" fmla="*/ 605044 h 1087438"/>
              <a:gd name="T66" fmla="*/ 873054 w 1087437"/>
              <a:gd name="T67" fmla="*/ 555666 h 1087438"/>
              <a:gd name="T68" fmla="*/ 904874 w 1087437"/>
              <a:gd name="T69" fmla="*/ 440183 h 1087438"/>
              <a:gd name="T70" fmla="*/ 830097 w 1087437"/>
              <a:gd name="T71" fmla="*/ 415494 h 1087438"/>
              <a:gd name="T72" fmla="*/ 780776 w 1087437"/>
              <a:gd name="T73" fmla="*/ 348593 h 1087438"/>
              <a:gd name="T74" fmla="*/ 252915 w 1087437"/>
              <a:gd name="T75" fmla="*/ 307975 h 1087438"/>
              <a:gd name="T76" fmla="*/ 204947 w 1087437"/>
              <a:gd name="T77" fmla="*/ 375130 h 1087438"/>
              <a:gd name="T78" fmla="*/ 232928 w 1087437"/>
              <a:gd name="T79" fmla="*/ 405509 h 1087438"/>
              <a:gd name="T80" fmla="*/ 288890 w 1087437"/>
              <a:gd name="T81" fmla="*/ 339154 h 1087438"/>
              <a:gd name="T82" fmla="*/ 202406 w 1087437"/>
              <a:gd name="T83" fmla="*/ 353219 h 1087438"/>
              <a:gd name="T84" fmla="*/ 515144 w 1087437"/>
              <a:gd name="T85" fmla="*/ 0 h 1087438"/>
              <a:gd name="T86" fmla="*/ 731043 w 1087437"/>
              <a:gd name="T87" fmla="*/ 33338 h 1087438"/>
              <a:gd name="T88" fmla="*/ 908843 w 1087437"/>
              <a:gd name="T89" fmla="*/ 141288 h 1087438"/>
              <a:gd name="T90" fmla="*/ 1034256 w 1087437"/>
              <a:gd name="T91" fmla="*/ 307182 h 1087438"/>
              <a:gd name="T92" fmla="*/ 1087437 w 1087437"/>
              <a:gd name="T93" fmla="*/ 515144 h 1087438"/>
              <a:gd name="T94" fmla="*/ 1054099 w 1087437"/>
              <a:gd name="T95" fmla="*/ 731044 h 1087438"/>
              <a:gd name="T96" fmla="*/ 946150 w 1087437"/>
              <a:gd name="T97" fmla="*/ 908844 h 1087438"/>
              <a:gd name="T98" fmla="*/ 780256 w 1087437"/>
              <a:gd name="T99" fmla="*/ 1033463 h 1087438"/>
              <a:gd name="T100" fmla="*/ 572294 w 1087437"/>
              <a:gd name="T101" fmla="*/ 1085851 h 1087438"/>
              <a:gd name="T102" fmla="*/ 356394 w 1087437"/>
              <a:gd name="T103" fmla="*/ 1054101 h 1087438"/>
              <a:gd name="T104" fmla="*/ 178594 w 1087437"/>
              <a:gd name="T105" fmla="*/ 946151 h 1087438"/>
              <a:gd name="T106" fmla="*/ 53975 w 1087437"/>
              <a:gd name="T107" fmla="*/ 780257 h 1087438"/>
              <a:gd name="T108" fmla="*/ 1588 w 1087437"/>
              <a:gd name="T109" fmla="*/ 572294 h 1087438"/>
              <a:gd name="T110" fmla="*/ 33338 w 1087437"/>
              <a:gd name="T111" fmla="*/ 356394 h 1087438"/>
              <a:gd name="T112" fmla="*/ 141288 w 1087437"/>
              <a:gd name="T113" fmla="*/ 178594 h 1087438"/>
              <a:gd name="T114" fmla="*/ 307181 w 1087437"/>
              <a:gd name="T115" fmla="*/ 53181 h 1087438"/>
              <a:gd name="T116" fmla="*/ 515144 w 1087437"/>
              <a:gd name="T117"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7437" h="1087438">
                <a:moveTo>
                  <a:pt x="548087" y="446088"/>
                </a:moveTo>
                <a:lnTo>
                  <a:pt x="558316" y="447676"/>
                </a:lnTo>
                <a:lnTo>
                  <a:pt x="566185" y="450057"/>
                </a:lnTo>
                <a:lnTo>
                  <a:pt x="574053" y="454819"/>
                </a:lnTo>
                <a:lnTo>
                  <a:pt x="579561" y="459582"/>
                </a:lnTo>
                <a:lnTo>
                  <a:pt x="585856" y="466726"/>
                </a:lnTo>
                <a:lnTo>
                  <a:pt x="589790" y="474663"/>
                </a:lnTo>
                <a:lnTo>
                  <a:pt x="593724" y="483394"/>
                </a:lnTo>
                <a:lnTo>
                  <a:pt x="593724" y="492919"/>
                </a:lnTo>
                <a:lnTo>
                  <a:pt x="593724" y="501651"/>
                </a:lnTo>
                <a:lnTo>
                  <a:pt x="589790" y="510382"/>
                </a:lnTo>
                <a:lnTo>
                  <a:pt x="585856" y="517526"/>
                </a:lnTo>
                <a:lnTo>
                  <a:pt x="579561" y="524669"/>
                </a:lnTo>
                <a:lnTo>
                  <a:pt x="574053" y="531019"/>
                </a:lnTo>
                <a:lnTo>
                  <a:pt x="566185" y="534988"/>
                </a:lnTo>
                <a:lnTo>
                  <a:pt x="558316" y="537369"/>
                </a:lnTo>
                <a:lnTo>
                  <a:pt x="548087" y="538163"/>
                </a:lnTo>
                <a:lnTo>
                  <a:pt x="538645" y="537369"/>
                </a:lnTo>
                <a:lnTo>
                  <a:pt x="529990" y="534988"/>
                </a:lnTo>
                <a:lnTo>
                  <a:pt x="522908" y="531019"/>
                </a:lnTo>
                <a:lnTo>
                  <a:pt x="516614" y="524669"/>
                </a:lnTo>
                <a:lnTo>
                  <a:pt x="510319" y="517526"/>
                </a:lnTo>
                <a:lnTo>
                  <a:pt x="507171" y="510382"/>
                </a:lnTo>
                <a:lnTo>
                  <a:pt x="503237" y="501651"/>
                </a:lnTo>
                <a:lnTo>
                  <a:pt x="503237" y="492919"/>
                </a:lnTo>
                <a:lnTo>
                  <a:pt x="503237" y="483394"/>
                </a:lnTo>
                <a:lnTo>
                  <a:pt x="507171" y="474663"/>
                </a:lnTo>
                <a:lnTo>
                  <a:pt x="510319" y="466726"/>
                </a:lnTo>
                <a:lnTo>
                  <a:pt x="516614" y="459582"/>
                </a:lnTo>
                <a:lnTo>
                  <a:pt x="522908" y="454819"/>
                </a:lnTo>
                <a:lnTo>
                  <a:pt x="529990" y="450057"/>
                </a:lnTo>
                <a:lnTo>
                  <a:pt x="538645" y="447676"/>
                </a:lnTo>
                <a:lnTo>
                  <a:pt x="548087" y="446088"/>
                </a:lnTo>
                <a:close/>
                <a:moveTo>
                  <a:pt x="538516" y="401638"/>
                </a:moveTo>
                <a:lnTo>
                  <a:pt x="529747" y="403226"/>
                </a:lnTo>
                <a:lnTo>
                  <a:pt x="520977" y="405607"/>
                </a:lnTo>
                <a:lnTo>
                  <a:pt x="512208" y="409576"/>
                </a:lnTo>
                <a:lnTo>
                  <a:pt x="505033" y="412751"/>
                </a:lnTo>
                <a:lnTo>
                  <a:pt x="497858" y="416719"/>
                </a:lnTo>
                <a:lnTo>
                  <a:pt x="489886" y="423069"/>
                </a:lnTo>
                <a:lnTo>
                  <a:pt x="484306" y="427832"/>
                </a:lnTo>
                <a:lnTo>
                  <a:pt x="477928" y="434976"/>
                </a:lnTo>
                <a:lnTo>
                  <a:pt x="473145" y="441326"/>
                </a:lnTo>
                <a:lnTo>
                  <a:pt x="467564" y="448469"/>
                </a:lnTo>
                <a:lnTo>
                  <a:pt x="464375" y="457201"/>
                </a:lnTo>
                <a:lnTo>
                  <a:pt x="460389" y="465932"/>
                </a:lnTo>
                <a:lnTo>
                  <a:pt x="459592" y="474663"/>
                </a:lnTo>
                <a:lnTo>
                  <a:pt x="457997" y="483394"/>
                </a:lnTo>
                <a:lnTo>
                  <a:pt x="457200" y="492919"/>
                </a:lnTo>
                <a:lnTo>
                  <a:pt x="457997" y="502444"/>
                </a:lnTo>
                <a:lnTo>
                  <a:pt x="459592" y="512763"/>
                </a:lnTo>
                <a:lnTo>
                  <a:pt x="461984" y="522288"/>
                </a:lnTo>
                <a:lnTo>
                  <a:pt x="465172" y="531019"/>
                </a:lnTo>
                <a:lnTo>
                  <a:pt x="548083" y="696913"/>
                </a:lnTo>
                <a:lnTo>
                  <a:pt x="630993" y="531019"/>
                </a:lnTo>
                <a:lnTo>
                  <a:pt x="634979" y="522288"/>
                </a:lnTo>
                <a:lnTo>
                  <a:pt x="637371" y="512763"/>
                </a:lnTo>
                <a:lnTo>
                  <a:pt x="638168" y="502444"/>
                </a:lnTo>
                <a:lnTo>
                  <a:pt x="639762" y="492919"/>
                </a:lnTo>
                <a:lnTo>
                  <a:pt x="638168" y="483394"/>
                </a:lnTo>
                <a:lnTo>
                  <a:pt x="637371" y="474663"/>
                </a:lnTo>
                <a:lnTo>
                  <a:pt x="635776" y="465932"/>
                </a:lnTo>
                <a:lnTo>
                  <a:pt x="632587" y="457201"/>
                </a:lnTo>
                <a:lnTo>
                  <a:pt x="628601" y="448469"/>
                </a:lnTo>
                <a:lnTo>
                  <a:pt x="623818" y="441326"/>
                </a:lnTo>
                <a:lnTo>
                  <a:pt x="619035" y="434976"/>
                </a:lnTo>
                <a:lnTo>
                  <a:pt x="612657" y="427832"/>
                </a:lnTo>
                <a:lnTo>
                  <a:pt x="606279" y="423069"/>
                </a:lnTo>
                <a:lnTo>
                  <a:pt x="599104" y="416719"/>
                </a:lnTo>
                <a:lnTo>
                  <a:pt x="591132" y="412751"/>
                </a:lnTo>
                <a:lnTo>
                  <a:pt x="583957" y="409576"/>
                </a:lnTo>
                <a:lnTo>
                  <a:pt x="575188" y="405607"/>
                </a:lnTo>
                <a:lnTo>
                  <a:pt x="566419" y="403226"/>
                </a:lnTo>
                <a:lnTo>
                  <a:pt x="558446" y="401638"/>
                </a:lnTo>
                <a:lnTo>
                  <a:pt x="548083" y="401638"/>
                </a:lnTo>
                <a:lnTo>
                  <a:pt x="538516" y="401638"/>
                </a:lnTo>
                <a:close/>
                <a:moveTo>
                  <a:pt x="349250" y="349250"/>
                </a:moveTo>
                <a:lnTo>
                  <a:pt x="738187" y="349250"/>
                </a:lnTo>
                <a:lnTo>
                  <a:pt x="742155" y="365125"/>
                </a:lnTo>
                <a:lnTo>
                  <a:pt x="747712" y="380206"/>
                </a:lnTo>
                <a:lnTo>
                  <a:pt x="755649" y="393700"/>
                </a:lnTo>
                <a:lnTo>
                  <a:pt x="763587" y="407194"/>
                </a:lnTo>
                <a:lnTo>
                  <a:pt x="773905" y="420688"/>
                </a:lnTo>
                <a:lnTo>
                  <a:pt x="785018" y="431800"/>
                </a:lnTo>
                <a:lnTo>
                  <a:pt x="796924" y="442913"/>
                </a:lnTo>
                <a:lnTo>
                  <a:pt x="809624" y="451644"/>
                </a:lnTo>
                <a:lnTo>
                  <a:pt x="801687" y="468313"/>
                </a:lnTo>
                <a:lnTo>
                  <a:pt x="796130" y="485775"/>
                </a:lnTo>
                <a:lnTo>
                  <a:pt x="791368" y="503238"/>
                </a:lnTo>
                <a:lnTo>
                  <a:pt x="785812" y="520700"/>
                </a:lnTo>
                <a:lnTo>
                  <a:pt x="783430" y="537369"/>
                </a:lnTo>
                <a:lnTo>
                  <a:pt x="781049" y="554832"/>
                </a:lnTo>
                <a:lnTo>
                  <a:pt x="780255" y="573088"/>
                </a:lnTo>
                <a:lnTo>
                  <a:pt x="778668" y="590550"/>
                </a:lnTo>
                <a:lnTo>
                  <a:pt x="780255" y="608807"/>
                </a:lnTo>
                <a:lnTo>
                  <a:pt x="781049" y="628651"/>
                </a:lnTo>
                <a:lnTo>
                  <a:pt x="783430" y="646907"/>
                </a:lnTo>
                <a:lnTo>
                  <a:pt x="787399" y="665163"/>
                </a:lnTo>
                <a:lnTo>
                  <a:pt x="792162" y="684213"/>
                </a:lnTo>
                <a:lnTo>
                  <a:pt x="798512" y="702469"/>
                </a:lnTo>
                <a:lnTo>
                  <a:pt x="805655" y="720726"/>
                </a:lnTo>
                <a:lnTo>
                  <a:pt x="812799" y="738188"/>
                </a:lnTo>
                <a:lnTo>
                  <a:pt x="274637" y="738188"/>
                </a:lnTo>
                <a:lnTo>
                  <a:pt x="281781" y="720726"/>
                </a:lnTo>
                <a:lnTo>
                  <a:pt x="288925" y="702469"/>
                </a:lnTo>
                <a:lnTo>
                  <a:pt x="295275" y="684213"/>
                </a:lnTo>
                <a:lnTo>
                  <a:pt x="300037" y="665163"/>
                </a:lnTo>
                <a:lnTo>
                  <a:pt x="304006" y="646907"/>
                </a:lnTo>
                <a:lnTo>
                  <a:pt x="306387" y="628651"/>
                </a:lnTo>
                <a:lnTo>
                  <a:pt x="307181" y="608807"/>
                </a:lnTo>
                <a:lnTo>
                  <a:pt x="308768" y="590550"/>
                </a:lnTo>
                <a:lnTo>
                  <a:pt x="307181" y="573088"/>
                </a:lnTo>
                <a:lnTo>
                  <a:pt x="306387" y="554832"/>
                </a:lnTo>
                <a:lnTo>
                  <a:pt x="304006" y="537369"/>
                </a:lnTo>
                <a:lnTo>
                  <a:pt x="301625" y="520700"/>
                </a:lnTo>
                <a:lnTo>
                  <a:pt x="296068" y="503238"/>
                </a:lnTo>
                <a:lnTo>
                  <a:pt x="291306" y="485775"/>
                </a:lnTo>
                <a:lnTo>
                  <a:pt x="285750" y="468313"/>
                </a:lnTo>
                <a:lnTo>
                  <a:pt x="277812" y="451644"/>
                </a:lnTo>
                <a:lnTo>
                  <a:pt x="291306" y="442913"/>
                </a:lnTo>
                <a:lnTo>
                  <a:pt x="302418" y="431800"/>
                </a:lnTo>
                <a:lnTo>
                  <a:pt x="313531" y="420688"/>
                </a:lnTo>
                <a:lnTo>
                  <a:pt x="323850" y="407194"/>
                </a:lnTo>
                <a:lnTo>
                  <a:pt x="331787" y="393700"/>
                </a:lnTo>
                <a:lnTo>
                  <a:pt x="339725" y="380206"/>
                </a:lnTo>
                <a:lnTo>
                  <a:pt x="345281" y="365125"/>
                </a:lnTo>
                <a:lnTo>
                  <a:pt x="349250" y="349250"/>
                </a:lnTo>
                <a:close/>
                <a:moveTo>
                  <a:pt x="855662" y="307975"/>
                </a:moveTo>
                <a:lnTo>
                  <a:pt x="857249" y="317500"/>
                </a:lnTo>
                <a:lnTo>
                  <a:pt x="859631" y="327819"/>
                </a:lnTo>
                <a:lnTo>
                  <a:pt x="864393" y="334963"/>
                </a:lnTo>
                <a:lnTo>
                  <a:pt x="870743" y="342107"/>
                </a:lnTo>
                <a:lnTo>
                  <a:pt x="877887" y="348457"/>
                </a:lnTo>
                <a:lnTo>
                  <a:pt x="885030" y="353219"/>
                </a:lnTo>
                <a:lnTo>
                  <a:pt x="895349" y="355601"/>
                </a:lnTo>
                <a:lnTo>
                  <a:pt x="904874" y="357188"/>
                </a:lnTo>
                <a:lnTo>
                  <a:pt x="904874" y="307975"/>
                </a:lnTo>
                <a:lnTo>
                  <a:pt x="855662" y="307975"/>
                </a:lnTo>
                <a:close/>
                <a:moveTo>
                  <a:pt x="793750" y="307975"/>
                </a:moveTo>
                <a:lnTo>
                  <a:pt x="794549" y="319168"/>
                </a:lnTo>
                <a:lnTo>
                  <a:pt x="796148" y="328761"/>
                </a:lnTo>
                <a:lnTo>
                  <a:pt x="798547" y="339154"/>
                </a:lnTo>
                <a:lnTo>
                  <a:pt x="801745" y="348748"/>
                </a:lnTo>
                <a:lnTo>
                  <a:pt x="807341" y="359141"/>
                </a:lnTo>
                <a:lnTo>
                  <a:pt x="812138" y="368734"/>
                </a:lnTo>
                <a:lnTo>
                  <a:pt x="819333" y="378328"/>
                </a:lnTo>
                <a:lnTo>
                  <a:pt x="826528" y="386322"/>
                </a:lnTo>
                <a:lnTo>
                  <a:pt x="834522" y="393517"/>
                </a:lnTo>
                <a:lnTo>
                  <a:pt x="844116" y="400713"/>
                </a:lnTo>
                <a:lnTo>
                  <a:pt x="854509" y="405509"/>
                </a:lnTo>
                <a:lnTo>
                  <a:pt x="864103" y="411106"/>
                </a:lnTo>
                <a:lnTo>
                  <a:pt x="873696" y="414303"/>
                </a:lnTo>
                <a:lnTo>
                  <a:pt x="884089" y="416702"/>
                </a:lnTo>
                <a:lnTo>
                  <a:pt x="893683" y="418301"/>
                </a:lnTo>
                <a:lnTo>
                  <a:pt x="904875" y="419100"/>
                </a:lnTo>
                <a:lnTo>
                  <a:pt x="904875" y="378328"/>
                </a:lnTo>
                <a:lnTo>
                  <a:pt x="893683" y="377528"/>
                </a:lnTo>
                <a:lnTo>
                  <a:pt x="882490" y="375130"/>
                </a:lnTo>
                <a:lnTo>
                  <a:pt x="872897" y="371133"/>
                </a:lnTo>
                <a:lnTo>
                  <a:pt x="864103" y="364737"/>
                </a:lnTo>
                <a:lnTo>
                  <a:pt x="855308" y="357542"/>
                </a:lnTo>
                <a:lnTo>
                  <a:pt x="848113" y="348748"/>
                </a:lnTo>
                <a:lnTo>
                  <a:pt x="843317" y="339954"/>
                </a:lnTo>
                <a:lnTo>
                  <a:pt x="837720" y="330360"/>
                </a:lnTo>
                <a:lnTo>
                  <a:pt x="835322" y="319168"/>
                </a:lnTo>
                <a:lnTo>
                  <a:pt x="834522" y="307975"/>
                </a:lnTo>
                <a:lnTo>
                  <a:pt x="793750" y="307975"/>
                </a:lnTo>
                <a:close/>
                <a:moveTo>
                  <a:pt x="314615" y="307975"/>
                </a:moveTo>
                <a:lnTo>
                  <a:pt x="313024" y="319125"/>
                </a:lnTo>
                <a:lnTo>
                  <a:pt x="312228" y="328682"/>
                </a:lnTo>
                <a:lnTo>
                  <a:pt x="310637" y="339036"/>
                </a:lnTo>
                <a:lnTo>
                  <a:pt x="306660" y="348593"/>
                </a:lnTo>
                <a:lnTo>
                  <a:pt x="303478" y="358947"/>
                </a:lnTo>
                <a:lnTo>
                  <a:pt x="299500" y="368504"/>
                </a:lnTo>
                <a:lnTo>
                  <a:pt x="293136" y="377265"/>
                </a:lnTo>
                <a:lnTo>
                  <a:pt x="288363" y="386026"/>
                </a:lnTo>
                <a:lnTo>
                  <a:pt x="281204" y="393990"/>
                </a:lnTo>
                <a:lnTo>
                  <a:pt x="274840" y="401954"/>
                </a:lnTo>
                <a:lnTo>
                  <a:pt x="266090" y="409122"/>
                </a:lnTo>
                <a:lnTo>
                  <a:pt x="258930" y="415494"/>
                </a:lnTo>
                <a:lnTo>
                  <a:pt x="245407" y="422661"/>
                </a:lnTo>
                <a:lnTo>
                  <a:pt x="234270" y="429033"/>
                </a:lnTo>
                <a:lnTo>
                  <a:pt x="223133" y="433015"/>
                </a:lnTo>
                <a:lnTo>
                  <a:pt x="222337" y="433811"/>
                </a:lnTo>
                <a:lnTo>
                  <a:pt x="219155" y="433811"/>
                </a:lnTo>
                <a:lnTo>
                  <a:pt x="207223" y="437794"/>
                </a:lnTo>
                <a:lnTo>
                  <a:pt x="194495" y="438590"/>
                </a:lnTo>
                <a:lnTo>
                  <a:pt x="182562" y="440183"/>
                </a:lnTo>
                <a:lnTo>
                  <a:pt x="182562" y="640087"/>
                </a:lnTo>
                <a:lnTo>
                  <a:pt x="191313" y="624159"/>
                </a:lnTo>
                <a:lnTo>
                  <a:pt x="198472" y="608230"/>
                </a:lnTo>
                <a:lnTo>
                  <a:pt x="204836" y="590709"/>
                </a:lnTo>
                <a:lnTo>
                  <a:pt x="209609" y="573187"/>
                </a:lnTo>
                <a:lnTo>
                  <a:pt x="214382" y="555666"/>
                </a:lnTo>
                <a:lnTo>
                  <a:pt x="218360" y="538941"/>
                </a:lnTo>
                <a:lnTo>
                  <a:pt x="220746" y="521419"/>
                </a:lnTo>
                <a:lnTo>
                  <a:pt x="222337" y="503101"/>
                </a:lnTo>
                <a:lnTo>
                  <a:pt x="223133" y="514251"/>
                </a:lnTo>
                <a:lnTo>
                  <a:pt x="224724" y="534162"/>
                </a:lnTo>
                <a:lnTo>
                  <a:pt x="223133" y="553276"/>
                </a:lnTo>
                <a:lnTo>
                  <a:pt x="222337" y="570798"/>
                </a:lnTo>
                <a:lnTo>
                  <a:pt x="219155" y="588319"/>
                </a:lnTo>
                <a:lnTo>
                  <a:pt x="215973" y="605044"/>
                </a:lnTo>
                <a:lnTo>
                  <a:pt x="211200" y="621770"/>
                </a:lnTo>
                <a:lnTo>
                  <a:pt x="204836" y="637698"/>
                </a:lnTo>
                <a:lnTo>
                  <a:pt x="198472" y="653627"/>
                </a:lnTo>
                <a:lnTo>
                  <a:pt x="191313" y="669555"/>
                </a:lnTo>
                <a:lnTo>
                  <a:pt x="182562" y="684688"/>
                </a:lnTo>
                <a:lnTo>
                  <a:pt x="182562" y="753181"/>
                </a:lnTo>
                <a:lnTo>
                  <a:pt x="193699" y="739642"/>
                </a:lnTo>
                <a:lnTo>
                  <a:pt x="204836" y="725306"/>
                </a:lnTo>
                <a:lnTo>
                  <a:pt x="214382" y="710174"/>
                </a:lnTo>
                <a:lnTo>
                  <a:pt x="223133" y="695838"/>
                </a:lnTo>
                <a:lnTo>
                  <a:pt x="231883" y="678316"/>
                </a:lnTo>
                <a:lnTo>
                  <a:pt x="240634" y="659998"/>
                </a:lnTo>
                <a:lnTo>
                  <a:pt x="246998" y="642477"/>
                </a:lnTo>
                <a:lnTo>
                  <a:pt x="252566" y="624159"/>
                </a:lnTo>
                <a:lnTo>
                  <a:pt x="256544" y="605044"/>
                </a:lnTo>
                <a:lnTo>
                  <a:pt x="260521" y="585930"/>
                </a:lnTo>
                <a:lnTo>
                  <a:pt x="262908" y="566816"/>
                </a:lnTo>
                <a:lnTo>
                  <a:pt x="263703" y="547701"/>
                </a:lnTo>
                <a:lnTo>
                  <a:pt x="266090" y="570001"/>
                </a:lnTo>
                <a:lnTo>
                  <a:pt x="267681" y="590709"/>
                </a:lnTo>
                <a:lnTo>
                  <a:pt x="266090" y="610619"/>
                </a:lnTo>
                <a:lnTo>
                  <a:pt x="265294" y="628937"/>
                </a:lnTo>
                <a:lnTo>
                  <a:pt x="261317" y="648848"/>
                </a:lnTo>
                <a:lnTo>
                  <a:pt x="257339" y="667166"/>
                </a:lnTo>
                <a:lnTo>
                  <a:pt x="251771" y="685484"/>
                </a:lnTo>
                <a:lnTo>
                  <a:pt x="245407" y="703802"/>
                </a:lnTo>
                <a:lnTo>
                  <a:pt x="236656" y="721324"/>
                </a:lnTo>
                <a:lnTo>
                  <a:pt x="227906" y="738845"/>
                </a:lnTo>
                <a:lnTo>
                  <a:pt x="214382" y="759552"/>
                </a:lnTo>
                <a:lnTo>
                  <a:pt x="200063" y="779463"/>
                </a:lnTo>
                <a:lnTo>
                  <a:pt x="887373" y="779463"/>
                </a:lnTo>
                <a:lnTo>
                  <a:pt x="873054" y="759552"/>
                </a:lnTo>
                <a:lnTo>
                  <a:pt x="859531" y="738845"/>
                </a:lnTo>
                <a:lnTo>
                  <a:pt x="850780" y="721324"/>
                </a:lnTo>
                <a:lnTo>
                  <a:pt x="842030" y="703802"/>
                </a:lnTo>
                <a:lnTo>
                  <a:pt x="835666" y="685484"/>
                </a:lnTo>
                <a:lnTo>
                  <a:pt x="830097" y="667166"/>
                </a:lnTo>
                <a:lnTo>
                  <a:pt x="826120" y="648848"/>
                </a:lnTo>
                <a:lnTo>
                  <a:pt x="822142" y="628937"/>
                </a:lnTo>
                <a:lnTo>
                  <a:pt x="821347" y="610619"/>
                </a:lnTo>
                <a:lnTo>
                  <a:pt x="819756" y="590709"/>
                </a:lnTo>
                <a:lnTo>
                  <a:pt x="821347" y="570001"/>
                </a:lnTo>
                <a:lnTo>
                  <a:pt x="823733" y="547701"/>
                </a:lnTo>
                <a:lnTo>
                  <a:pt x="824529" y="566816"/>
                </a:lnTo>
                <a:lnTo>
                  <a:pt x="826915" y="585930"/>
                </a:lnTo>
                <a:lnTo>
                  <a:pt x="830893" y="605044"/>
                </a:lnTo>
                <a:lnTo>
                  <a:pt x="835666" y="624159"/>
                </a:lnTo>
                <a:lnTo>
                  <a:pt x="840439" y="642477"/>
                </a:lnTo>
                <a:lnTo>
                  <a:pt x="848394" y="659998"/>
                </a:lnTo>
                <a:lnTo>
                  <a:pt x="855553" y="678316"/>
                </a:lnTo>
                <a:lnTo>
                  <a:pt x="864304" y="695838"/>
                </a:lnTo>
                <a:lnTo>
                  <a:pt x="873054" y="710174"/>
                </a:lnTo>
                <a:lnTo>
                  <a:pt x="882600" y="725306"/>
                </a:lnTo>
                <a:lnTo>
                  <a:pt x="893737" y="739642"/>
                </a:lnTo>
                <a:lnTo>
                  <a:pt x="904874" y="753181"/>
                </a:lnTo>
                <a:lnTo>
                  <a:pt x="904874" y="684688"/>
                </a:lnTo>
                <a:lnTo>
                  <a:pt x="896123" y="669555"/>
                </a:lnTo>
                <a:lnTo>
                  <a:pt x="888964" y="653627"/>
                </a:lnTo>
                <a:lnTo>
                  <a:pt x="882600" y="637698"/>
                </a:lnTo>
                <a:lnTo>
                  <a:pt x="876236" y="621770"/>
                </a:lnTo>
                <a:lnTo>
                  <a:pt x="873054" y="605044"/>
                </a:lnTo>
                <a:lnTo>
                  <a:pt x="869077" y="588319"/>
                </a:lnTo>
                <a:lnTo>
                  <a:pt x="865099" y="570798"/>
                </a:lnTo>
                <a:lnTo>
                  <a:pt x="864304" y="553276"/>
                </a:lnTo>
                <a:lnTo>
                  <a:pt x="864304" y="514251"/>
                </a:lnTo>
                <a:lnTo>
                  <a:pt x="865099" y="503101"/>
                </a:lnTo>
                <a:lnTo>
                  <a:pt x="866690" y="521419"/>
                </a:lnTo>
                <a:lnTo>
                  <a:pt x="869077" y="538941"/>
                </a:lnTo>
                <a:lnTo>
                  <a:pt x="873054" y="555666"/>
                </a:lnTo>
                <a:lnTo>
                  <a:pt x="877827" y="573187"/>
                </a:lnTo>
                <a:lnTo>
                  <a:pt x="882600" y="590709"/>
                </a:lnTo>
                <a:lnTo>
                  <a:pt x="888964" y="608230"/>
                </a:lnTo>
                <a:lnTo>
                  <a:pt x="896123" y="624159"/>
                </a:lnTo>
                <a:lnTo>
                  <a:pt x="904874" y="640087"/>
                </a:lnTo>
                <a:lnTo>
                  <a:pt x="904874" y="480801"/>
                </a:lnTo>
                <a:lnTo>
                  <a:pt x="904874" y="479208"/>
                </a:lnTo>
                <a:lnTo>
                  <a:pt x="904874" y="440183"/>
                </a:lnTo>
                <a:lnTo>
                  <a:pt x="892942" y="438590"/>
                </a:lnTo>
                <a:lnTo>
                  <a:pt x="880214" y="437794"/>
                </a:lnTo>
                <a:lnTo>
                  <a:pt x="868281" y="433811"/>
                </a:lnTo>
                <a:lnTo>
                  <a:pt x="865099" y="433811"/>
                </a:lnTo>
                <a:lnTo>
                  <a:pt x="864304" y="433015"/>
                </a:lnTo>
                <a:lnTo>
                  <a:pt x="853167" y="429033"/>
                </a:lnTo>
                <a:lnTo>
                  <a:pt x="842030" y="422661"/>
                </a:lnTo>
                <a:lnTo>
                  <a:pt x="830097" y="415494"/>
                </a:lnTo>
                <a:lnTo>
                  <a:pt x="821347" y="409122"/>
                </a:lnTo>
                <a:lnTo>
                  <a:pt x="813392" y="401954"/>
                </a:lnTo>
                <a:lnTo>
                  <a:pt x="806232" y="393990"/>
                </a:lnTo>
                <a:lnTo>
                  <a:pt x="799073" y="386026"/>
                </a:lnTo>
                <a:lnTo>
                  <a:pt x="794300" y="377265"/>
                </a:lnTo>
                <a:lnTo>
                  <a:pt x="787936" y="368504"/>
                </a:lnTo>
                <a:lnTo>
                  <a:pt x="783958" y="358947"/>
                </a:lnTo>
                <a:lnTo>
                  <a:pt x="780776" y="348593"/>
                </a:lnTo>
                <a:lnTo>
                  <a:pt x="777594" y="339036"/>
                </a:lnTo>
                <a:lnTo>
                  <a:pt x="775208" y="328682"/>
                </a:lnTo>
                <a:lnTo>
                  <a:pt x="774412" y="319125"/>
                </a:lnTo>
                <a:lnTo>
                  <a:pt x="774412" y="307975"/>
                </a:lnTo>
                <a:lnTo>
                  <a:pt x="733842" y="307975"/>
                </a:lnTo>
                <a:lnTo>
                  <a:pt x="353594" y="307975"/>
                </a:lnTo>
                <a:lnTo>
                  <a:pt x="314615" y="307975"/>
                </a:lnTo>
                <a:close/>
                <a:moveTo>
                  <a:pt x="252915" y="307975"/>
                </a:moveTo>
                <a:lnTo>
                  <a:pt x="252115" y="319168"/>
                </a:lnTo>
                <a:lnTo>
                  <a:pt x="249717" y="330360"/>
                </a:lnTo>
                <a:lnTo>
                  <a:pt x="245720" y="339954"/>
                </a:lnTo>
                <a:lnTo>
                  <a:pt x="239324" y="348748"/>
                </a:lnTo>
                <a:lnTo>
                  <a:pt x="232129" y="357542"/>
                </a:lnTo>
                <a:lnTo>
                  <a:pt x="223335" y="364737"/>
                </a:lnTo>
                <a:lnTo>
                  <a:pt x="214541" y="371133"/>
                </a:lnTo>
                <a:lnTo>
                  <a:pt x="204947" y="375130"/>
                </a:lnTo>
                <a:lnTo>
                  <a:pt x="193755" y="377528"/>
                </a:lnTo>
                <a:lnTo>
                  <a:pt x="182562" y="378328"/>
                </a:lnTo>
                <a:lnTo>
                  <a:pt x="182562" y="419100"/>
                </a:lnTo>
                <a:lnTo>
                  <a:pt x="193755" y="418301"/>
                </a:lnTo>
                <a:lnTo>
                  <a:pt x="203348" y="416702"/>
                </a:lnTo>
                <a:lnTo>
                  <a:pt x="213741" y="414303"/>
                </a:lnTo>
                <a:lnTo>
                  <a:pt x="223335" y="411106"/>
                </a:lnTo>
                <a:lnTo>
                  <a:pt x="232928" y="405509"/>
                </a:lnTo>
                <a:lnTo>
                  <a:pt x="243321" y="400713"/>
                </a:lnTo>
                <a:lnTo>
                  <a:pt x="252915" y="393517"/>
                </a:lnTo>
                <a:lnTo>
                  <a:pt x="260909" y="386322"/>
                </a:lnTo>
                <a:lnTo>
                  <a:pt x="268105" y="378328"/>
                </a:lnTo>
                <a:lnTo>
                  <a:pt x="275300" y="368734"/>
                </a:lnTo>
                <a:lnTo>
                  <a:pt x="281695" y="359141"/>
                </a:lnTo>
                <a:lnTo>
                  <a:pt x="285693" y="348748"/>
                </a:lnTo>
                <a:lnTo>
                  <a:pt x="288890" y="339154"/>
                </a:lnTo>
                <a:lnTo>
                  <a:pt x="291289" y="328761"/>
                </a:lnTo>
                <a:lnTo>
                  <a:pt x="292888" y="319168"/>
                </a:lnTo>
                <a:lnTo>
                  <a:pt x="293687" y="307975"/>
                </a:lnTo>
                <a:lnTo>
                  <a:pt x="252915" y="307975"/>
                </a:lnTo>
                <a:close/>
                <a:moveTo>
                  <a:pt x="182562" y="307975"/>
                </a:moveTo>
                <a:lnTo>
                  <a:pt x="182562" y="357188"/>
                </a:lnTo>
                <a:lnTo>
                  <a:pt x="192087" y="355601"/>
                </a:lnTo>
                <a:lnTo>
                  <a:pt x="202406" y="353219"/>
                </a:lnTo>
                <a:lnTo>
                  <a:pt x="209549" y="348457"/>
                </a:lnTo>
                <a:lnTo>
                  <a:pt x="216693" y="342107"/>
                </a:lnTo>
                <a:lnTo>
                  <a:pt x="223043" y="334963"/>
                </a:lnTo>
                <a:lnTo>
                  <a:pt x="227806" y="327819"/>
                </a:lnTo>
                <a:lnTo>
                  <a:pt x="230187" y="317500"/>
                </a:lnTo>
                <a:lnTo>
                  <a:pt x="231774" y="307975"/>
                </a:lnTo>
                <a:lnTo>
                  <a:pt x="182562" y="307975"/>
                </a:lnTo>
                <a:close/>
                <a:moveTo>
                  <a:pt x="515144" y="0"/>
                </a:moveTo>
                <a:lnTo>
                  <a:pt x="543719" y="0"/>
                </a:lnTo>
                <a:lnTo>
                  <a:pt x="572294" y="0"/>
                </a:lnTo>
                <a:lnTo>
                  <a:pt x="599281" y="2381"/>
                </a:lnTo>
                <a:lnTo>
                  <a:pt x="626269" y="6350"/>
                </a:lnTo>
                <a:lnTo>
                  <a:pt x="653256" y="11113"/>
                </a:lnTo>
                <a:lnTo>
                  <a:pt x="680244" y="17463"/>
                </a:lnTo>
                <a:lnTo>
                  <a:pt x="706437" y="24606"/>
                </a:lnTo>
                <a:lnTo>
                  <a:pt x="731043" y="33338"/>
                </a:lnTo>
                <a:lnTo>
                  <a:pt x="755650" y="42863"/>
                </a:lnTo>
                <a:lnTo>
                  <a:pt x="780256" y="53181"/>
                </a:lnTo>
                <a:lnTo>
                  <a:pt x="803275" y="65088"/>
                </a:lnTo>
                <a:lnTo>
                  <a:pt x="825500" y="78581"/>
                </a:lnTo>
                <a:lnTo>
                  <a:pt x="847725" y="92075"/>
                </a:lnTo>
                <a:lnTo>
                  <a:pt x="869950"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49" y="284163"/>
                </a:lnTo>
                <a:lnTo>
                  <a:pt x="1034256" y="307182"/>
                </a:lnTo>
                <a:lnTo>
                  <a:pt x="1044575" y="331788"/>
                </a:lnTo>
                <a:lnTo>
                  <a:pt x="1054099" y="356394"/>
                </a:lnTo>
                <a:lnTo>
                  <a:pt x="1062831" y="381000"/>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2831" y="704850"/>
                </a:lnTo>
                <a:lnTo>
                  <a:pt x="1054099" y="731044"/>
                </a:lnTo>
                <a:lnTo>
                  <a:pt x="1044575" y="755651"/>
                </a:lnTo>
                <a:lnTo>
                  <a:pt x="1034256" y="780257"/>
                </a:lnTo>
                <a:lnTo>
                  <a:pt x="1022349" y="803276"/>
                </a:lnTo>
                <a:lnTo>
                  <a:pt x="1008856" y="825501"/>
                </a:lnTo>
                <a:lnTo>
                  <a:pt x="995362" y="847726"/>
                </a:lnTo>
                <a:lnTo>
                  <a:pt x="979487" y="868363"/>
                </a:lnTo>
                <a:lnTo>
                  <a:pt x="962818" y="889001"/>
                </a:lnTo>
                <a:lnTo>
                  <a:pt x="946150" y="908844"/>
                </a:lnTo>
                <a:lnTo>
                  <a:pt x="928687" y="928688"/>
                </a:lnTo>
                <a:lnTo>
                  <a:pt x="908843" y="946151"/>
                </a:lnTo>
                <a:lnTo>
                  <a:pt x="889000" y="962819"/>
                </a:lnTo>
                <a:lnTo>
                  <a:pt x="869950" y="979488"/>
                </a:lnTo>
                <a:lnTo>
                  <a:pt x="847725" y="995363"/>
                </a:lnTo>
                <a:lnTo>
                  <a:pt x="825500" y="1008857"/>
                </a:lnTo>
                <a:lnTo>
                  <a:pt x="803275" y="1022351"/>
                </a:lnTo>
                <a:lnTo>
                  <a:pt x="780256" y="1033463"/>
                </a:lnTo>
                <a:lnTo>
                  <a:pt x="755650" y="1044576"/>
                </a:lnTo>
                <a:lnTo>
                  <a:pt x="731043" y="1054101"/>
                </a:lnTo>
                <a:lnTo>
                  <a:pt x="706437" y="1062832"/>
                </a:lnTo>
                <a:lnTo>
                  <a:pt x="680244" y="1069976"/>
                </a:lnTo>
                <a:lnTo>
                  <a:pt x="653256" y="1076326"/>
                </a:lnTo>
                <a:lnTo>
                  <a:pt x="626269" y="1081088"/>
                </a:lnTo>
                <a:lnTo>
                  <a:pt x="599281" y="1085057"/>
                </a:lnTo>
                <a:lnTo>
                  <a:pt x="572294" y="1085851"/>
                </a:lnTo>
                <a:lnTo>
                  <a:pt x="543719" y="1087438"/>
                </a:lnTo>
                <a:lnTo>
                  <a:pt x="515144" y="1085851"/>
                </a:lnTo>
                <a:lnTo>
                  <a:pt x="488156" y="1085057"/>
                </a:lnTo>
                <a:lnTo>
                  <a:pt x="461169" y="1081088"/>
                </a:lnTo>
                <a:lnTo>
                  <a:pt x="434181" y="1076326"/>
                </a:lnTo>
                <a:lnTo>
                  <a:pt x="408781" y="1069976"/>
                </a:lnTo>
                <a:lnTo>
                  <a:pt x="382588" y="1062832"/>
                </a:lnTo>
                <a:lnTo>
                  <a:pt x="356394" y="1054101"/>
                </a:lnTo>
                <a:lnTo>
                  <a:pt x="331788" y="1044576"/>
                </a:lnTo>
                <a:lnTo>
                  <a:pt x="307181" y="1033463"/>
                </a:lnTo>
                <a:lnTo>
                  <a:pt x="284163" y="1022351"/>
                </a:lnTo>
                <a:lnTo>
                  <a:pt x="261938" y="1008857"/>
                </a:lnTo>
                <a:lnTo>
                  <a:pt x="239713" y="995363"/>
                </a:lnTo>
                <a:lnTo>
                  <a:pt x="219075" y="979488"/>
                </a:lnTo>
                <a:lnTo>
                  <a:pt x="198438" y="962819"/>
                </a:lnTo>
                <a:lnTo>
                  <a:pt x="178594" y="946151"/>
                </a:lnTo>
                <a:lnTo>
                  <a:pt x="158750" y="928688"/>
                </a:lnTo>
                <a:lnTo>
                  <a:pt x="141288" y="908844"/>
                </a:lnTo>
                <a:lnTo>
                  <a:pt x="124619" y="889001"/>
                </a:lnTo>
                <a:lnTo>
                  <a:pt x="107950" y="868363"/>
                </a:lnTo>
                <a:lnTo>
                  <a:pt x="93663" y="847726"/>
                </a:lnTo>
                <a:lnTo>
                  <a:pt x="78581" y="825501"/>
                </a:lnTo>
                <a:lnTo>
                  <a:pt x="65088" y="803276"/>
                </a:lnTo>
                <a:lnTo>
                  <a:pt x="53975" y="780257"/>
                </a:lnTo>
                <a:lnTo>
                  <a:pt x="42863" y="755651"/>
                </a:lnTo>
                <a:lnTo>
                  <a:pt x="33338" y="731044"/>
                </a:lnTo>
                <a:lnTo>
                  <a:pt x="24606" y="704850"/>
                </a:lnTo>
                <a:lnTo>
                  <a:pt x="17463" y="678657"/>
                </a:lnTo>
                <a:lnTo>
                  <a:pt x="11113" y="653257"/>
                </a:lnTo>
                <a:lnTo>
                  <a:pt x="6350" y="626269"/>
                </a:lnTo>
                <a:lnTo>
                  <a:pt x="2381" y="599282"/>
                </a:lnTo>
                <a:lnTo>
                  <a:pt x="1588" y="572294"/>
                </a:lnTo>
                <a:lnTo>
                  <a:pt x="0" y="543719"/>
                </a:lnTo>
                <a:lnTo>
                  <a:pt x="1588" y="515144"/>
                </a:lnTo>
                <a:lnTo>
                  <a:pt x="2381" y="488157"/>
                </a:lnTo>
                <a:lnTo>
                  <a:pt x="6350" y="461169"/>
                </a:lnTo>
                <a:lnTo>
                  <a:pt x="11113" y="434182"/>
                </a:lnTo>
                <a:lnTo>
                  <a:pt x="17463" y="407194"/>
                </a:lnTo>
                <a:lnTo>
                  <a:pt x="24606" y="381000"/>
                </a:lnTo>
                <a:lnTo>
                  <a:pt x="33338" y="356394"/>
                </a:lnTo>
                <a:lnTo>
                  <a:pt x="42863" y="331788"/>
                </a:lnTo>
                <a:lnTo>
                  <a:pt x="53975" y="307182"/>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8" y="42863"/>
                </a:lnTo>
                <a:lnTo>
                  <a:pt x="356394" y="33338"/>
                </a:lnTo>
                <a:lnTo>
                  <a:pt x="382588"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7" name="Freeform 93"/>
          <p:cNvSpPr>
            <a:spLocks/>
          </p:cNvSpPr>
          <p:nvPr userDrawn="1"/>
        </p:nvSpPr>
        <p:spPr bwMode="auto">
          <a:xfrm>
            <a:off x="9132115" y="2530624"/>
            <a:ext cx="1080000" cy="1080000"/>
          </a:xfrm>
          <a:custGeom>
            <a:avLst/>
            <a:gdLst>
              <a:gd name="T0" fmla="*/ 500555 w 1087200"/>
              <a:gd name="T1" fmla="*/ 526382 h 1087200"/>
              <a:gd name="T2" fmla="*/ 519003 w 1087200"/>
              <a:gd name="T3" fmla="*/ 548519 h 1087200"/>
              <a:gd name="T4" fmla="*/ 573117 w 1087200"/>
              <a:gd name="T5" fmla="*/ 506704 h 1087200"/>
              <a:gd name="T6" fmla="*/ 447671 w 1087200"/>
              <a:gd name="T7" fmla="*/ 525152 h 1087200"/>
              <a:gd name="T8" fmla="*/ 637070 w 1087200"/>
              <a:gd name="T9" fmla="*/ 477187 h 1087200"/>
              <a:gd name="T10" fmla="*/ 575577 w 1087200"/>
              <a:gd name="T11" fmla="*/ 528841 h 1087200"/>
              <a:gd name="T12" fmla="*/ 600174 w 1087200"/>
              <a:gd name="T13" fmla="*/ 539910 h 1087200"/>
              <a:gd name="T14" fmla="*/ 670276 w 1087200"/>
              <a:gd name="T15" fmla="*/ 458739 h 1087200"/>
              <a:gd name="T16" fmla="*/ 639529 w 1087200"/>
              <a:gd name="T17" fmla="*/ 514083 h 1087200"/>
              <a:gd name="T18" fmla="*/ 683805 w 1087200"/>
              <a:gd name="T19" fmla="*/ 489486 h 1087200"/>
              <a:gd name="T20" fmla="*/ 676425 w 1087200"/>
              <a:gd name="T21" fmla="*/ 461199 h 1087200"/>
              <a:gd name="T22" fmla="*/ 396017 w 1087200"/>
              <a:gd name="T23" fmla="*/ 472267 h 1087200"/>
              <a:gd name="T24" fmla="*/ 453821 w 1087200"/>
              <a:gd name="T25" fmla="*/ 483336 h 1087200"/>
              <a:gd name="T26" fmla="*/ 708402 w 1087200"/>
              <a:gd name="T27" fmla="*/ 425533 h 1087200"/>
              <a:gd name="T28" fmla="*/ 673965 w 1087200"/>
              <a:gd name="T29" fmla="*/ 713321 h 1087200"/>
              <a:gd name="T30" fmla="*/ 801872 w 1087200"/>
              <a:gd name="T31" fmla="*/ 720700 h 1087200"/>
              <a:gd name="T32" fmla="*/ 763746 w 1087200"/>
              <a:gd name="T33" fmla="*/ 685034 h 1087200"/>
              <a:gd name="T34" fmla="*/ 316076 w 1087200"/>
              <a:gd name="T35" fmla="*/ 425533 h 1087200"/>
              <a:gd name="T36" fmla="*/ 282869 w 1087200"/>
              <a:gd name="T37" fmla="*/ 713321 h 1087200"/>
              <a:gd name="T38" fmla="*/ 410775 w 1087200"/>
              <a:gd name="T39" fmla="*/ 720700 h 1087200"/>
              <a:gd name="T40" fmla="*/ 372650 w 1087200"/>
              <a:gd name="T41" fmla="*/ 685034 h 1087200"/>
              <a:gd name="T42" fmla="*/ 736689 w 1087200"/>
              <a:gd name="T43" fmla="*/ 305006 h 1087200"/>
              <a:gd name="T44" fmla="*/ 683805 w 1087200"/>
              <a:gd name="T45" fmla="*/ 339442 h 1087200"/>
              <a:gd name="T46" fmla="*/ 696103 w 1087200"/>
              <a:gd name="T47" fmla="*/ 403395 h 1087200"/>
              <a:gd name="T48" fmla="*/ 758826 w 1087200"/>
              <a:gd name="T49" fmla="*/ 415694 h 1087200"/>
              <a:gd name="T50" fmla="*/ 793262 w 1087200"/>
              <a:gd name="T51" fmla="*/ 362810 h 1087200"/>
              <a:gd name="T52" fmla="*/ 758826 w 1087200"/>
              <a:gd name="T53" fmla="*/ 309926 h 1087200"/>
              <a:gd name="T54" fmla="*/ 312386 w 1087200"/>
              <a:gd name="T55" fmla="*/ 314845 h 1087200"/>
              <a:gd name="T56" fmla="*/ 287789 w 1087200"/>
              <a:gd name="T57" fmla="*/ 373878 h 1087200"/>
              <a:gd name="T58" fmla="*/ 333294 w 1087200"/>
              <a:gd name="T59" fmla="*/ 418153 h 1087200"/>
              <a:gd name="T60" fmla="*/ 392327 w 1087200"/>
              <a:gd name="T61" fmla="*/ 394786 h 1087200"/>
              <a:gd name="T62" fmla="*/ 392327 w 1087200"/>
              <a:gd name="T63" fmla="*/ 330833 h 1087200"/>
              <a:gd name="T64" fmla="*/ 515313 w 1087200"/>
              <a:gd name="T65" fmla="*/ 0 h 1087200"/>
              <a:gd name="T66" fmla="*/ 680115 w 1087200"/>
              <a:gd name="T67" fmla="*/ 17218 h 1087200"/>
              <a:gd name="T68" fmla="*/ 825239 w 1087200"/>
              <a:gd name="T69" fmla="*/ 78711 h 1087200"/>
              <a:gd name="T70" fmla="*/ 945766 w 1087200"/>
              <a:gd name="T71" fmla="*/ 178330 h 1087200"/>
              <a:gd name="T72" fmla="*/ 1034316 w 1087200"/>
              <a:gd name="T73" fmla="*/ 307466 h 1087200"/>
              <a:gd name="T74" fmla="*/ 1081051 w 1087200"/>
              <a:gd name="T75" fmla="*/ 461199 h 1087200"/>
              <a:gd name="T76" fmla="*/ 1081051 w 1087200"/>
              <a:gd name="T77" fmla="*/ 626001 h 1087200"/>
              <a:gd name="T78" fmla="*/ 1034316 w 1087200"/>
              <a:gd name="T79" fmla="*/ 779734 h 1087200"/>
              <a:gd name="T80" fmla="*/ 945766 w 1087200"/>
              <a:gd name="T81" fmla="*/ 908870 h 1087200"/>
              <a:gd name="T82" fmla="*/ 825239 w 1087200"/>
              <a:gd name="T83" fmla="*/ 1008489 h 1087200"/>
              <a:gd name="T84" fmla="*/ 680115 w 1087200"/>
              <a:gd name="T85" fmla="*/ 1069982 h 1087200"/>
              <a:gd name="T86" fmla="*/ 515313 w 1087200"/>
              <a:gd name="T87" fmla="*/ 1085970 h 1087200"/>
              <a:gd name="T88" fmla="*/ 356661 w 1087200"/>
              <a:gd name="T89" fmla="*/ 1053994 h 1087200"/>
              <a:gd name="T90" fmla="*/ 218916 w 1087200"/>
              <a:gd name="T91" fmla="*/ 978972 h 1087200"/>
              <a:gd name="T92" fmla="*/ 108228 w 1087200"/>
              <a:gd name="T93" fmla="*/ 868284 h 1087200"/>
              <a:gd name="T94" fmla="*/ 33206 w 1087200"/>
              <a:gd name="T95" fmla="*/ 730540 h 1087200"/>
              <a:gd name="T96" fmla="*/ 1230 w 1087200"/>
              <a:gd name="T97" fmla="*/ 571887 h 1087200"/>
              <a:gd name="T98" fmla="*/ 17218 w 1087200"/>
              <a:gd name="T99" fmla="*/ 407085 h 1087200"/>
              <a:gd name="T100" fmla="*/ 78711 w 1087200"/>
              <a:gd name="T101" fmla="*/ 261961 h 1087200"/>
              <a:gd name="T102" fmla="*/ 178330 w 1087200"/>
              <a:gd name="T103" fmla="*/ 141435 h 1087200"/>
              <a:gd name="T104" fmla="*/ 308696 w 1087200"/>
              <a:gd name="T105" fmla="*/ 54114 h 1087200"/>
              <a:gd name="T106" fmla="*/ 461199 w 1087200"/>
              <a:gd name="T107"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7200" h="1087200">
                <a:moveTo>
                  <a:pt x="573117" y="506704"/>
                </a:moveTo>
                <a:lnTo>
                  <a:pt x="553439" y="510394"/>
                </a:lnTo>
                <a:lnTo>
                  <a:pt x="543600" y="510394"/>
                </a:lnTo>
                <a:lnTo>
                  <a:pt x="532531" y="510394"/>
                </a:lnTo>
                <a:lnTo>
                  <a:pt x="517773" y="519003"/>
                </a:lnTo>
                <a:lnTo>
                  <a:pt x="500555" y="526382"/>
                </a:lnTo>
                <a:lnTo>
                  <a:pt x="484567" y="531301"/>
                </a:lnTo>
                <a:lnTo>
                  <a:pt x="469808" y="536221"/>
                </a:lnTo>
                <a:lnTo>
                  <a:pt x="482107" y="541140"/>
                </a:lnTo>
                <a:lnTo>
                  <a:pt x="494406" y="544830"/>
                </a:lnTo>
                <a:lnTo>
                  <a:pt x="506704" y="547289"/>
                </a:lnTo>
                <a:lnTo>
                  <a:pt x="519003" y="548519"/>
                </a:lnTo>
                <a:lnTo>
                  <a:pt x="520233" y="547289"/>
                </a:lnTo>
                <a:lnTo>
                  <a:pt x="525152" y="544830"/>
                </a:lnTo>
                <a:lnTo>
                  <a:pt x="539911" y="536221"/>
                </a:lnTo>
                <a:lnTo>
                  <a:pt x="557129" y="523922"/>
                </a:lnTo>
                <a:lnTo>
                  <a:pt x="565738" y="515313"/>
                </a:lnTo>
                <a:lnTo>
                  <a:pt x="573117" y="506704"/>
                </a:lnTo>
                <a:close/>
                <a:moveTo>
                  <a:pt x="472268" y="494405"/>
                </a:moveTo>
                <a:lnTo>
                  <a:pt x="451360" y="500555"/>
                </a:lnTo>
                <a:lnTo>
                  <a:pt x="429223" y="504244"/>
                </a:lnTo>
                <a:lnTo>
                  <a:pt x="418154" y="506704"/>
                </a:lnTo>
                <a:lnTo>
                  <a:pt x="432912" y="516543"/>
                </a:lnTo>
                <a:lnTo>
                  <a:pt x="447671" y="525152"/>
                </a:lnTo>
                <a:lnTo>
                  <a:pt x="468578" y="520233"/>
                </a:lnTo>
                <a:lnTo>
                  <a:pt x="487026" y="514083"/>
                </a:lnTo>
                <a:lnTo>
                  <a:pt x="505474" y="506704"/>
                </a:lnTo>
                <a:lnTo>
                  <a:pt x="489486" y="501784"/>
                </a:lnTo>
                <a:lnTo>
                  <a:pt x="472268" y="494405"/>
                </a:lnTo>
                <a:close/>
                <a:moveTo>
                  <a:pt x="637070" y="477187"/>
                </a:moveTo>
                <a:lnTo>
                  <a:pt x="621082" y="488256"/>
                </a:lnTo>
                <a:lnTo>
                  <a:pt x="610013" y="494405"/>
                </a:lnTo>
                <a:lnTo>
                  <a:pt x="597715" y="499325"/>
                </a:lnTo>
                <a:lnTo>
                  <a:pt x="594025" y="506704"/>
                </a:lnTo>
                <a:lnTo>
                  <a:pt x="587876" y="515313"/>
                </a:lnTo>
                <a:lnTo>
                  <a:pt x="575577" y="528841"/>
                </a:lnTo>
                <a:lnTo>
                  <a:pt x="562049" y="539910"/>
                </a:lnTo>
                <a:lnTo>
                  <a:pt x="548520" y="549749"/>
                </a:lnTo>
                <a:lnTo>
                  <a:pt x="562049" y="548519"/>
                </a:lnTo>
                <a:lnTo>
                  <a:pt x="574347" y="546060"/>
                </a:lnTo>
                <a:lnTo>
                  <a:pt x="596485" y="541140"/>
                </a:lnTo>
                <a:lnTo>
                  <a:pt x="600174" y="539910"/>
                </a:lnTo>
                <a:lnTo>
                  <a:pt x="605094" y="533761"/>
                </a:lnTo>
                <a:lnTo>
                  <a:pt x="614933" y="520232"/>
                </a:lnTo>
                <a:lnTo>
                  <a:pt x="627231" y="500555"/>
                </a:lnTo>
                <a:lnTo>
                  <a:pt x="633381" y="489486"/>
                </a:lnTo>
                <a:lnTo>
                  <a:pt x="637070" y="477187"/>
                </a:lnTo>
                <a:close/>
                <a:moveTo>
                  <a:pt x="670276" y="458739"/>
                </a:moveTo>
                <a:lnTo>
                  <a:pt x="664127" y="459969"/>
                </a:lnTo>
                <a:lnTo>
                  <a:pt x="657977" y="461199"/>
                </a:lnTo>
                <a:lnTo>
                  <a:pt x="657977" y="466118"/>
                </a:lnTo>
                <a:lnTo>
                  <a:pt x="653058" y="483336"/>
                </a:lnTo>
                <a:lnTo>
                  <a:pt x="646908" y="499324"/>
                </a:lnTo>
                <a:lnTo>
                  <a:pt x="639529" y="514083"/>
                </a:lnTo>
                <a:lnTo>
                  <a:pt x="630920" y="527611"/>
                </a:lnTo>
                <a:lnTo>
                  <a:pt x="651828" y="515313"/>
                </a:lnTo>
                <a:lnTo>
                  <a:pt x="666586" y="504244"/>
                </a:lnTo>
                <a:lnTo>
                  <a:pt x="677655" y="496865"/>
                </a:lnTo>
                <a:lnTo>
                  <a:pt x="681345" y="493175"/>
                </a:lnTo>
                <a:lnTo>
                  <a:pt x="683805" y="489486"/>
                </a:lnTo>
                <a:lnTo>
                  <a:pt x="686264" y="487026"/>
                </a:lnTo>
                <a:lnTo>
                  <a:pt x="687494" y="479647"/>
                </a:lnTo>
                <a:lnTo>
                  <a:pt x="686264" y="472268"/>
                </a:lnTo>
                <a:lnTo>
                  <a:pt x="683805" y="468578"/>
                </a:lnTo>
                <a:lnTo>
                  <a:pt x="681345" y="464888"/>
                </a:lnTo>
                <a:lnTo>
                  <a:pt x="676425" y="461199"/>
                </a:lnTo>
                <a:lnTo>
                  <a:pt x="670276" y="458739"/>
                </a:lnTo>
                <a:close/>
                <a:moveTo>
                  <a:pt x="413235" y="458739"/>
                </a:moveTo>
                <a:lnTo>
                  <a:pt x="405856" y="461199"/>
                </a:lnTo>
                <a:lnTo>
                  <a:pt x="403396" y="463659"/>
                </a:lnTo>
                <a:lnTo>
                  <a:pt x="399707" y="466118"/>
                </a:lnTo>
                <a:lnTo>
                  <a:pt x="396017" y="472267"/>
                </a:lnTo>
                <a:lnTo>
                  <a:pt x="396017" y="479647"/>
                </a:lnTo>
                <a:lnTo>
                  <a:pt x="397247" y="485796"/>
                </a:lnTo>
                <a:lnTo>
                  <a:pt x="400937" y="491945"/>
                </a:lnTo>
                <a:lnTo>
                  <a:pt x="415695" y="490715"/>
                </a:lnTo>
                <a:lnTo>
                  <a:pt x="435373" y="488256"/>
                </a:lnTo>
                <a:lnTo>
                  <a:pt x="453821" y="483336"/>
                </a:lnTo>
                <a:lnTo>
                  <a:pt x="441522" y="474727"/>
                </a:lnTo>
                <a:lnTo>
                  <a:pt x="427994" y="463659"/>
                </a:lnTo>
                <a:lnTo>
                  <a:pt x="424304" y="461199"/>
                </a:lnTo>
                <a:lnTo>
                  <a:pt x="420615" y="459969"/>
                </a:lnTo>
                <a:lnTo>
                  <a:pt x="413235" y="458739"/>
                </a:lnTo>
                <a:close/>
                <a:moveTo>
                  <a:pt x="708402" y="425533"/>
                </a:moveTo>
                <a:lnTo>
                  <a:pt x="708402" y="685034"/>
                </a:lnTo>
                <a:lnTo>
                  <a:pt x="699793" y="688724"/>
                </a:lnTo>
                <a:lnTo>
                  <a:pt x="692413" y="693643"/>
                </a:lnTo>
                <a:lnTo>
                  <a:pt x="685034" y="699792"/>
                </a:lnTo>
                <a:lnTo>
                  <a:pt x="678885" y="705942"/>
                </a:lnTo>
                <a:lnTo>
                  <a:pt x="673965" y="713321"/>
                </a:lnTo>
                <a:lnTo>
                  <a:pt x="670276" y="720700"/>
                </a:lnTo>
                <a:lnTo>
                  <a:pt x="667816" y="729309"/>
                </a:lnTo>
                <a:lnTo>
                  <a:pt x="667816" y="737918"/>
                </a:lnTo>
                <a:lnTo>
                  <a:pt x="805561" y="737918"/>
                </a:lnTo>
                <a:lnTo>
                  <a:pt x="804331" y="729309"/>
                </a:lnTo>
                <a:lnTo>
                  <a:pt x="801872" y="720700"/>
                </a:lnTo>
                <a:lnTo>
                  <a:pt x="798182" y="713321"/>
                </a:lnTo>
                <a:lnTo>
                  <a:pt x="794492" y="705942"/>
                </a:lnTo>
                <a:lnTo>
                  <a:pt x="788343" y="699792"/>
                </a:lnTo>
                <a:lnTo>
                  <a:pt x="780964" y="693643"/>
                </a:lnTo>
                <a:lnTo>
                  <a:pt x="773585" y="688724"/>
                </a:lnTo>
                <a:lnTo>
                  <a:pt x="763746" y="685034"/>
                </a:lnTo>
                <a:lnTo>
                  <a:pt x="763746" y="425533"/>
                </a:lnTo>
                <a:lnTo>
                  <a:pt x="750217" y="429223"/>
                </a:lnTo>
                <a:lnTo>
                  <a:pt x="736689" y="430453"/>
                </a:lnTo>
                <a:lnTo>
                  <a:pt x="721930" y="429223"/>
                </a:lnTo>
                <a:lnTo>
                  <a:pt x="708402" y="425533"/>
                </a:lnTo>
                <a:close/>
                <a:moveTo>
                  <a:pt x="316076" y="425533"/>
                </a:moveTo>
                <a:lnTo>
                  <a:pt x="316076" y="685034"/>
                </a:lnTo>
                <a:lnTo>
                  <a:pt x="307467" y="688724"/>
                </a:lnTo>
                <a:lnTo>
                  <a:pt x="300087" y="693643"/>
                </a:lnTo>
                <a:lnTo>
                  <a:pt x="292708" y="699792"/>
                </a:lnTo>
                <a:lnTo>
                  <a:pt x="286559" y="705942"/>
                </a:lnTo>
                <a:lnTo>
                  <a:pt x="282869" y="713321"/>
                </a:lnTo>
                <a:lnTo>
                  <a:pt x="279180" y="720700"/>
                </a:lnTo>
                <a:lnTo>
                  <a:pt x="276720" y="729309"/>
                </a:lnTo>
                <a:lnTo>
                  <a:pt x="275490" y="737918"/>
                </a:lnTo>
                <a:lnTo>
                  <a:pt x="413235" y="737918"/>
                </a:lnTo>
                <a:lnTo>
                  <a:pt x="413235" y="729309"/>
                </a:lnTo>
                <a:lnTo>
                  <a:pt x="410775" y="720700"/>
                </a:lnTo>
                <a:lnTo>
                  <a:pt x="407086" y="713321"/>
                </a:lnTo>
                <a:lnTo>
                  <a:pt x="402166" y="705942"/>
                </a:lnTo>
                <a:lnTo>
                  <a:pt x="396017" y="699792"/>
                </a:lnTo>
                <a:lnTo>
                  <a:pt x="388638" y="693643"/>
                </a:lnTo>
                <a:lnTo>
                  <a:pt x="381259" y="688724"/>
                </a:lnTo>
                <a:lnTo>
                  <a:pt x="372650" y="685034"/>
                </a:lnTo>
                <a:lnTo>
                  <a:pt x="372650" y="425533"/>
                </a:lnTo>
                <a:lnTo>
                  <a:pt x="359121" y="429223"/>
                </a:lnTo>
                <a:lnTo>
                  <a:pt x="344363" y="430453"/>
                </a:lnTo>
                <a:lnTo>
                  <a:pt x="329604" y="429223"/>
                </a:lnTo>
                <a:lnTo>
                  <a:pt x="316076" y="425533"/>
                </a:lnTo>
                <a:close/>
                <a:moveTo>
                  <a:pt x="736689" y="305006"/>
                </a:moveTo>
                <a:lnTo>
                  <a:pt x="724390" y="306236"/>
                </a:lnTo>
                <a:lnTo>
                  <a:pt x="714551" y="309926"/>
                </a:lnTo>
                <a:lnTo>
                  <a:pt x="704712" y="314845"/>
                </a:lnTo>
                <a:lnTo>
                  <a:pt x="696103" y="322224"/>
                </a:lnTo>
                <a:lnTo>
                  <a:pt x="688724" y="330833"/>
                </a:lnTo>
                <a:lnTo>
                  <a:pt x="683805" y="339442"/>
                </a:lnTo>
                <a:lnTo>
                  <a:pt x="680115" y="350511"/>
                </a:lnTo>
                <a:lnTo>
                  <a:pt x="678885" y="362810"/>
                </a:lnTo>
                <a:lnTo>
                  <a:pt x="680115" y="373878"/>
                </a:lnTo>
                <a:lnTo>
                  <a:pt x="683805" y="384947"/>
                </a:lnTo>
                <a:lnTo>
                  <a:pt x="688724" y="394786"/>
                </a:lnTo>
                <a:lnTo>
                  <a:pt x="696103" y="403395"/>
                </a:lnTo>
                <a:lnTo>
                  <a:pt x="704712" y="409544"/>
                </a:lnTo>
                <a:lnTo>
                  <a:pt x="714551" y="415694"/>
                </a:lnTo>
                <a:lnTo>
                  <a:pt x="724390" y="418153"/>
                </a:lnTo>
                <a:lnTo>
                  <a:pt x="736689" y="419383"/>
                </a:lnTo>
                <a:lnTo>
                  <a:pt x="747757" y="418153"/>
                </a:lnTo>
                <a:lnTo>
                  <a:pt x="758826" y="415694"/>
                </a:lnTo>
                <a:lnTo>
                  <a:pt x="768665" y="409544"/>
                </a:lnTo>
                <a:lnTo>
                  <a:pt x="777274" y="403395"/>
                </a:lnTo>
                <a:lnTo>
                  <a:pt x="784653" y="394786"/>
                </a:lnTo>
                <a:lnTo>
                  <a:pt x="789573" y="384947"/>
                </a:lnTo>
                <a:lnTo>
                  <a:pt x="793262" y="373878"/>
                </a:lnTo>
                <a:lnTo>
                  <a:pt x="793262" y="362810"/>
                </a:lnTo>
                <a:lnTo>
                  <a:pt x="793262" y="350511"/>
                </a:lnTo>
                <a:lnTo>
                  <a:pt x="789573" y="339442"/>
                </a:lnTo>
                <a:lnTo>
                  <a:pt x="784653" y="330833"/>
                </a:lnTo>
                <a:lnTo>
                  <a:pt x="777274" y="322224"/>
                </a:lnTo>
                <a:lnTo>
                  <a:pt x="768665" y="314845"/>
                </a:lnTo>
                <a:lnTo>
                  <a:pt x="758826" y="309926"/>
                </a:lnTo>
                <a:lnTo>
                  <a:pt x="747757" y="306236"/>
                </a:lnTo>
                <a:lnTo>
                  <a:pt x="736689" y="305006"/>
                </a:lnTo>
                <a:close/>
                <a:moveTo>
                  <a:pt x="344363" y="305006"/>
                </a:moveTo>
                <a:lnTo>
                  <a:pt x="333294" y="306236"/>
                </a:lnTo>
                <a:lnTo>
                  <a:pt x="322225" y="309926"/>
                </a:lnTo>
                <a:lnTo>
                  <a:pt x="312386" y="314845"/>
                </a:lnTo>
                <a:lnTo>
                  <a:pt x="303777" y="322224"/>
                </a:lnTo>
                <a:lnTo>
                  <a:pt x="296398" y="330833"/>
                </a:lnTo>
                <a:lnTo>
                  <a:pt x="291479" y="339442"/>
                </a:lnTo>
                <a:lnTo>
                  <a:pt x="287789" y="350511"/>
                </a:lnTo>
                <a:lnTo>
                  <a:pt x="286559" y="362810"/>
                </a:lnTo>
                <a:lnTo>
                  <a:pt x="287789" y="373878"/>
                </a:lnTo>
                <a:lnTo>
                  <a:pt x="291479" y="384947"/>
                </a:lnTo>
                <a:lnTo>
                  <a:pt x="296398" y="394786"/>
                </a:lnTo>
                <a:lnTo>
                  <a:pt x="303777" y="403395"/>
                </a:lnTo>
                <a:lnTo>
                  <a:pt x="312386" y="409544"/>
                </a:lnTo>
                <a:lnTo>
                  <a:pt x="322225" y="415694"/>
                </a:lnTo>
                <a:lnTo>
                  <a:pt x="333294" y="418153"/>
                </a:lnTo>
                <a:lnTo>
                  <a:pt x="344363" y="419383"/>
                </a:lnTo>
                <a:lnTo>
                  <a:pt x="356661" y="418153"/>
                </a:lnTo>
                <a:lnTo>
                  <a:pt x="366500" y="415694"/>
                </a:lnTo>
                <a:lnTo>
                  <a:pt x="376339" y="409544"/>
                </a:lnTo>
                <a:lnTo>
                  <a:pt x="384948" y="403395"/>
                </a:lnTo>
                <a:lnTo>
                  <a:pt x="392327" y="394786"/>
                </a:lnTo>
                <a:lnTo>
                  <a:pt x="397247" y="384947"/>
                </a:lnTo>
                <a:lnTo>
                  <a:pt x="400936" y="373878"/>
                </a:lnTo>
                <a:lnTo>
                  <a:pt x="402166" y="362810"/>
                </a:lnTo>
                <a:lnTo>
                  <a:pt x="400936" y="350511"/>
                </a:lnTo>
                <a:lnTo>
                  <a:pt x="397247" y="339442"/>
                </a:lnTo>
                <a:lnTo>
                  <a:pt x="392327" y="330833"/>
                </a:lnTo>
                <a:lnTo>
                  <a:pt x="384948" y="322224"/>
                </a:lnTo>
                <a:lnTo>
                  <a:pt x="376339" y="314845"/>
                </a:lnTo>
                <a:lnTo>
                  <a:pt x="366500" y="309926"/>
                </a:lnTo>
                <a:lnTo>
                  <a:pt x="356661" y="306236"/>
                </a:lnTo>
                <a:lnTo>
                  <a:pt x="344363" y="30500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8" name="TextBox 8"/>
          <p:cNvSpPr txBox="1">
            <a:spLocks noChangeArrowheads="1"/>
          </p:cNvSpPr>
          <p:nvPr userDrawn="1"/>
        </p:nvSpPr>
        <p:spPr bwMode="auto">
          <a:xfrm>
            <a:off x="4757759" y="2175267"/>
            <a:ext cx="953179"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39" name="TextBox 9"/>
          <p:cNvSpPr txBox="1">
            <a:spLocks noChangeArrowheads="1"/>
          </p:cNvSpPr>
          <p:nvPr userDrawn="1"/>
        </p:nvSpPr>
        <p:spPr bwMode="auto">
          <a:xfrm>
            <a:off x="6192351" y="2182374"/>
            <a:ext cx="105348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pening Weekend</a:t>
            </a:r>
          </a:p>
        </p:txBody>
      </p:sp>
      <p:sp>
        <p:nvSpPr>
          <p:cNvPr id="40" name="TextBox 10"/>
          <p:cNvSpPr txBox="1">
            <a:spLocks noChangeArrowheads="1"/>
          </p:cNvSpPr>
          <p:nvPr userDrawn="1"/>
        </p:nvSpPr>
        <p:spPr bwMode="auto">
          <a:xfrm>
            <a:off x="7684772" y="2175267"/>
            <a:ext cx="1023785"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irst Week</a:t>
            </a:r>
          </a:p>
        </p:txBody>
      </p:sp>
      <p:sp>
        <p:nvSpPr>
          <p:cNvPr id="41" name="TextBox 18"/>
          <p:cNvSpPr txBox="1">
            <a:spLocks noChangeArrowheads="1"/>
          </p:cNvSpPr>
          <p:nvPr userDrawn="1"/>
        </p:nvSpPr>
        <p:spPr bwMode="auto">
          <a:xfrm>
            <a:off x="9159040" y="2192621"/>
            <a:ext cx="1037849" cy="3231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lnSpc>
                <a:spcPts val="900"/>
              </a:lnSpc>
            </a:pPr>
            <a:r>
              <a:rPr lang="en-GB" altLang="en-US" sz="900" dirty="0">
                <a:solidFill>
                  <a:schemeClr val="bg1"/>
                </a:solidFill>
              </a:rPr>
              <a:t>Blockbuster opening weekend</a:t>
            </a:r>
          </a:p>
        </p:txBody>
      </p:sp>
      <p:sp>
        <p:nvSpPr>
          <p:cNvPr id="42" name="TextBox 19"/>
          <p:cNvSpPr txBox="1">
            <a:spLocks noChangeArrowheads="1"/>
          </p:cNvSpPr>
          <p:nvPr userDrawn="1"/>
        </p:nvSpPr>
        <p:spPr bwMode="auto">
          <a:xfrm>
            <a:off x="10627314" y="2174473"/>
            <a:ext cx="1055069"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utique cinema</a:t>
            </a:r>
          </a:p>
        </p:txBody>
      </p:sp>
      <p:sp>
        <p:nvSpPr>
          <p:cNvPr id="43" name="TextBox 30"/>
          <p:cNvSpPr txBox="1">
            <a:spLocks noChangeArrowheads="1"/>
          </p:cNvSpPr>
          <p:nvPr userDrawn="1"/>
        </p:nvSpPr>
        <p:spPr bwMode="auto">
          <a:xfrm>
            <a:off x="1629416" y="2174945"/>
            <a:ext cx="1316852"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CM Idents Sponsorship</a:t>
            </a:r>
          </a:p>
        </p:txBody>
      </p:sp>
      <p:sp>
        <p:nvSpPr>
          <p:cNvPr id="44" name="Freeform 106"/>
          <p:cNvSpPr>
            <a:spLocks/>
          </p:cNvSpPr>
          <p:nvPr userDrawn="1"/>
        </p:nvSpPr>
        <p:spPr bwMode="auto">
          <a:xfrm>
            <a:off x="268297" y="1076015"/>
            <a:ext cx="1080000" cy="1080000"/>
          </a:xfrm>
          <a:custGeom>
            <a:avLst/>
            <a:gdLst>
              <a:gd name="T0" fmla="*/ 646178 w 1087200"/>
              <a:gd name="T1" fmla="*/ 607553 h 1087200"/>
              <a:gd name="T2" fmla="*/ 716201 w 1087200"/>
              <a:gd name="T3" fmla="*/ 473498 h 1087200"/>
              <a:gd name="T4" fmla="*/ 571240 w 1087200"/>
              <a:gd name="T5" fmla="*/ 579266 h 1087200"/>
              <a:gd name="T6" fmla="*/ 399254 w 1087200"/>
              <a:gd name="T7" fmla="*/ 607553 h 1087200"/>
              <a:gd name="T8" fmla="*/ 498760 w 1087200"/>
              <a:gd name="T9" fmla="*/ 607553 h 1087200"/>
              <a:gd name="T10" fmla="*/ 348887 w 1087200"/>
              <a:gd name="T11" fmla="*/ 473498 h 1087200"/>
              <a:gd name="T12" fmla="*/ 741999 w 1087200"/>
              <a:gd name="T13" fmla="*/ 365269 h 1087200"/>
              <a:gd name="T14" fmla="*/ 808336 w 1087200"/>
              <a:gd name="T15" fmla="*/ 451360 h 1087200"/>
              <a:gd name="T16" fmla="*/ 778853 w 1087200"/>
              <a:gd name="T17" fmla="*/ 573116 h 1087200"/>
              <a:gd name="T18" fmla="*/ 798508 w 1087200"/>
              <a:gd name="T19" fmla="*/ 702252 h 1087200"/>
              <a:gd name="T20" fmla="*/ 299748 w 1087200"/>
              <a:gd name="T21" fmla="*/ 665356 h 1087200"/>
              <a:gd name="T22" fmla="*/ 304662 w 1087200"/>
              <a:gd name="T23" fmla="*/ 537450 h 1087200"/>
              <a:gd name="T24" fmla="*/ 303433 w 1087200"/>
              <a:gd name="T25" fmla="*/ 431682 h 1087200"/>
              <a:gd name="T26" fmla="*/ 855018 w 1087200"/>
              <a:gd name="T27" fmla="*/ 308696 h 1087200"/>
              <a:gd name="T28" fmla="*/ 893101 w 1087200"/>
              <a:gd name="T29" fmla="*/ 356661 h 1087200"/>
              <a:gd name="T30" fmla="*/ 797281 w 1087200"/>
              <a:gd name="T31" fmla="*/ 339443 h 1087200"/>
              <a:gd name="T32" fmla="*/ 842734 w 1087200"/>
              <a:gd name="T33" fmla="*/ 400936 h 1087200"/>
              <a:gd name="T34" fmla="*/ 902929 w 1087200"/>
              <a:gd name="T35" fmla="*/ 378799 h 1087200"/>
              <a:gd name="T36" fmla="*/ 841506 w 1087200"/>
              <a:gd name="T37" fmla="*/ 340673 h 1087200"/>
              <a:gd name="T38" fmla="*/ 313261 w 1087200"/>
              <a:gd name="T39" fmla="*/ 329604 h 1087200"/>
              <a:gd name="T40" fmla="*/ 282549 w 1087200"/>
              <a:gd name="T41" fmla="*/ 394787 h 1087200"/>
              <a:gd name="T42" fmla="*/ 222354 w 1087200"/>
              <a:gd name="T43" fmla="*/ 434142 h 1087200"/>
              <a:gd name="T44" fmla="*/ 199013 w 1087200"/>
              <a:gd name="T45" fmla="*/ 607553 h 1087200"/>
              <a:gd name="T46" fmla="*/ 223582 w 1087200"/>
              <a:gd name="T47" fmla="*/ 514083 h 1087200"/>
              <a:gd name="T48" fmla="*/ 206384 w 1087200"/>
              <a:gd name="T49" fmla="*/ 637070 h 1087200"/>
              <a:gd name="T50" fmla="*/ 214983 w 1087200"/>
              <a:gd name="T51" fmla="*/ 709632 h 1087200"/>
              <a:gd name="T52" fmla="*/ 261665 w 1087200"/>
              <a:gd name="T53" fmla="*/ 585416 h 1087200"/>
              <a:gd name="T54" fmla="*/ 262894 w 1087200"/>
              <a:gd name="T55" fmla="*/ 648139 h 1087200"/>
              <a:gd name="T56" fmla="*/ 200241 w 1087200"/>
              <a:gd name="T57" fmla="*/ 778504 h 1087200"/>
              <a:gd name="T58" fmla="*/ 829221 w 1087200"/>
              <a:gd name="T59" fmla="*/ 666587 h 1087200"/>
              <a:gd name="T60" fmla="*/ 823078 w 1087200"/>
              <a:gd name="T61" fmla="*/ 566968 h 1087200"/>
              <a:gd name="T62" fmla="*/ 862389 w 1087200"/>
              <a:gd name="T63" fmla="*/ 694873 h 1087200"/>
              <a:gd name="T64" fmla="*/ 886959 w 1087200"/>
              <a:gd name="T65" fmla="*/ 653058 h 1087200"/>
              <a:gd name="T66" fmla="*/ 862389 w 1087200"/>
              <a:gd name="T67" fmla="*/ 514083 h 1087200"/>
              <a:gd name="T68" fmla="*/ 888187 w 1087200"/>
              <a:gd name="T69" fmla="*/ 607553 h 1087200"/>
              <a:gd name="T70" fmla="*/ 878360 w 1087200"/>
              <a:gd name="T71" fmla="*/ 437832 h 1087200"/>
              <a:gd name="T72" fmla="*/ 819393 w 1087200"/>
              <a:gd name="T73" fmla="*/ 409545 h 1087200"/>
              <a:gd name="T74" fmla="*/ 778853 w 1087200"/>
              <a:gd name="T75" fmla="*/ 349282 h 1087200"/>
              <a:gd name="T76" fmla="*/ 314490 w 1087200"/>
              <a:gd name="T77" fmla="*/ 308696 h 1087200"/>
              <a:gd name="T78" fmla="*/ 223582 w 1087200"/>
              <a:gd name="T79" fmla="*/ 365270 h 1087200"/>
              <a:gd name="T80" fmla="*/ 205155 w 1087200"/>
              <a:gd name="T81" fmla="*/ 416924 h 1087200"/>
              <a:gd name="T82" fmla="*/ 269036 w 1087200"/>
              <a:gd name="T83" fmla="*/ 378799 h 1087200"/>
              <a:gd name="T84" fmla="*/ 293605 w 1087200"/>
              <a:gd name="T85" fmla="*/ 308696 h 1087200"/>
              <a:gd name="T86" fmla="*/ 218669 w 1087200"/>
              <a:gd name="T87" fmla="*/ 343133 h 1087200"/>
              <a:gd name="T88" fmla="*/ 542986 w 1087200"/>
              <a:gd name="T89" fmla="*/ 0 h 1087200"/>
              <a:gd name="T90" fmla="*/ 729714 w 1087200"/>
              <a:gd name="T91" fmla="*/ 33206 h 1087200"/>
              <a:gd name="T92" fmla="*/ 889416 w 1087200"/>
              <a:gd name="T93" fmla="*/ 124216 h 1087200"/>
              <a:gd name="T94" fmla="*/ 1008578 w 1087200"/>
              <a:gd name="T95" fmla="*/ 261961 h 1087200"/>
              <a:gd name="T96" fmla="*/ 1076144 w 1087200"/>
              <a:gd name="T97" fmla="*/ 434142 h 1087200"/>
              <a:gd name="T98" fmla="*/ 1079829 w 1087200"/>
              <a:gd name="T99" fmla="*/ 626001 h 1087200"/>
              <a:gd name="T100" fmla="*/ 1020863 w 1087200"/>
              <a:gd name="T101" fmla="*/ 803102 h 1087200"/>
              <a:gd name="T102" fmla="*/ 909071 w 1087200"/>
              <a:gd name="T103" fmla="*/ 945766 h 1087200"/>
              <a:gd name="T104" fmla="*/ 755512 w 1087200"/>
              <a:gd name="T105" fmla="*/ 1044155 h 1087200"/>
              <a:gd name="T106" fmla="*/ 571241 w 1087200"/>
              <a:gd name="T107" fmla="*/ 1085970 h 1087200"/>
              <a:gd name="T108" fmla="*/ 382056 w 1087200"/>
              <a:gd name="T109" fmla="*/ 1062603 h 1087200"/>
              <a:gd name="T110" fmla="*/ 218669 w 1087200"/>
              <a:gd name="T111" fmla="*/ 978972 h 1087200"/>
              <a:gd name="T112" fmla="*/ 93364 w 1087200"/>
              <a:gd name="T113" fmla="*/ 847377 h 1087200"/>
              <a:gd name="T114" fmla="*/ 17199 w 1087200"/>
              <a:gd name="T115" fmla="*/ 678885 h 1087200"/>
              <a:gd name="T116" fmla="*/ 3686 w 1087200"/>
              <a:gd name="T117" fmla="*/ 488256 h 1087200"/>
              <a:gd name="T118" fmla="*/ 54053 w 1087200"/>
              <a:gd name="T119" fmla="*/ 307466 h 1087200"/>
              <a:gd name="T120" fmla="*/ 159702 w 1087200"/>
              <a:gd name="T121" fmla="*/ 158653 h 1087200"/>
              <a:gd name="T122" fmla="*/ 308347 w 1087200"/>
              <a:gd name="T123" fmla="*/ 52884 h 1087200"/>
              <a:gd name="T124" fmla="*/ 487705 w 1087200"/>
              <a:gd name="T12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589668" y="496865"/>
                </a:moveTo>
                <a:lnTo>
                  <a:pt x="603181" y="557128"/>
                </a:lnTo>
                <a:lnTo>
                  <a:pt x="576155" y="557128"/>
                </a:lnTo>
                <a:lnTo>
                  <a:pt x="589668" y="496865"/>
                </a:lnTo>
                <a:close/>
                <a:moveTo>
                  <a:pt x="648635" y="473498"/>
                </a:moveTo>
                <a:lnTo>
                  <a:pt x="681804" y="539911"/>
                </a:lnTo>
                <a:lnTo>
                  <a:pt x="646178" y="607553"/>
                </a:lnTo>
                <a:lnTo>
                  <a:pt x="676890" y="607553"/>
                </a:lnTo>
                <a:lnTo>
                  <a:pt x="697774" y="562048"/>
                </a:lnTo>
                <a:lnTo>
                  <a:pt x="717429" y="607553"/>
                </a:lnTo>
                <a:lnTo>
                  <a:pt x="750598" y="607553"/>
                </a:lnTo>
                <a:lnTo>
                  <a:pt x="714972" y="539911"/>
                </a:lnTo>
                <a:lnTo>
                  <a:pt x="748141" y="473498"/>
                </a:lnTo>
                <a:lnTo>
                  <a:pt x="716201" y="473498"/>
                </a:lnTo>
                <a:lnTo>
                  <a:pt x="699002" y="516543"/>
                </a:lnTo>
                <a:lnTo>
                  <a:pt x="680575" y="473498"/>
                </a:lnTo>
                <a:lnTo>
                  <a:pt x="648635" y="473498"/>
                </a:lnTo>
                <a:close/>
                <a:moveTo>
                  <a:pt x="572469" y="473498"/>
                </a:moveTo>
                <a:lnTo>
                  <a:pt x="534386" y="607553"/>
                </a:lnTo>
                <a:lnTo>
                  <a:pt x="565098" y="607553"/>
                </a:lnTo>
                <a:lnTo>
                  <a:pt x="571240" y="579266"/>
                </a:lnTo>
                <a:lnTo>
                  <a:pt x="608095" y="579266"/>
                </a:lnTo>
                <a:lnTo>
                  <a:pt x="615466" y="607553"/>
                </a:lnTo>
                <a:lnTo>
                  <a:pt x="644949" y="607553"/>
                </a:lnTo>
                <a:lnTo>
                  <a:pt x="608095" y="473498"/>
                </a:lnTo>
                <a:lnTo>
                  <a:pt x="572469" y="473498"/>
                </a:lnTo>
                <a:close/>
                <a:moveTo>
                  <a:pt x="399254" y="473498"/>
                </a:moveTo>
                <a:lnTo>
                  <a:pt x="399254" y="607553"/>
                </a:lnTo>
                <a:lnTo>
                  <a:pt x="425052" y="607553"/>
                </a:lnTo>
                <a:lnTo>
                  <a:pt x="425052" y="500555"/>
                </a:lnTo>
                <a:lnTo>
                  <a:pt x="450850" y="607553"/>
                </a:lnTo>
                <a:lnTo>
                  <a:pt x="472962" y="607553"/>
                </a:lnTo>
                <a:lnTo>
                  <a:pt x="497532" y="500555"/>
                </a:lnTo>
                <a:lnTo>
                  <a:pt x="498760" y="500555"/>
                </a:lnTo>
                <a:lnTo>
                  <a:pt x="498760" y="607553"/>
                </a:lnTo>
                <a:lnTo>
                  <a:pt x="524558" y="607553"/>
                </a:lnTo>
                <a:lnTo>
                  <a:pt x="524558" y="473498"/>
                </a:lnTo>
                <a:lnTo>
                  <a:pt x="482790" y="473498"/>
                </a:lnTo>
                <a:lnTo>
                  <a:pt x="461906" y="568198"/>
                </a:lnTo>
                <a:lnTo>
                  <a:pt x="441022" y="473498"/>
                </a:lnTo>
                <a:lnTo>
                  <a:pt x="399254" y="473498"/>
                </a:lnTo>
                <a:close/>
                <a:moveTo>
                  <a:pt x="348887" y="473498"/>
                </a:moveTo>
                <a:lnTo>
                  <a:pt x="348887" y="607553"/>
                </a:lnTo>
                <a:lnTo>
                  <a:pt x="377142" y="607553"/>
                </a:lnTo>
                <a:lnTo>
                  <a:pt x="377142" y="473498"/>
                </a:lnTo>
                <a:lnTo>
                  <a:pt x="348887" y="473498"/>
                </a:lnTo>
                <a:close/>
                <a:moveTo>
                  <a:pt x="350116" y="349281"/>
                </a:moveTo>
                <a:lnTo>
                  <a:pt x="737085" y="349281"/>
                </a:lnTo>
                <a:lnTo>
                  <a:pt x="741999" y="365269"/>
                </a:lnTo>
                <a:lnTo>
                  <a:pt x="748141" y="380028"/>
                </a:lnTo>
                <a:lnTo>
                  <a:pt x="755512" y="393556"/>
                </a:lnTo>
                <a:lnTo>
                  <a:pt x="764111" y="407085"/>
                </a:lnTo>
                <a:lnTo>
                  <a:pt x="772710" y="420613"/>
                </a:lnTo>
                <a:lnTo>
                  <a:pt x="783767" y="431682"/>
                </a:lnTo>
                <a:lnTo>
                  <a:pt x="796051" y="442751"/>
                </a:lnTo>
                <a:lnTo>
                  <a:pt x="808336" y="451360"/>
                </a:lnTo>
                <a:lnTo>
                  <a:pt x="802194" y="468578"/>
                </a:lnTo>
                <a:lnTo>
                  <a:pt x="796051" y="485796"/>
                </a:lnTo>
                <a:lnTo>
                  <a:pt x="789909" y="503014"/>
                </a:lnTo>
                <a:lnTo>
                  <a:pt x="786224" y="520232"/>
                </a:lnTo>
                <a:lnTo>
                  <a:pt x="782538" y="537450"/>
                </a:lnTo>
                <a:lnTo>
                  <a:pt x="780081" y="554668"/>
                </a:lnTo>
                <a:lnTo>
                  <a:pt x="778853" y="573116"/>
                </a:lnTo>
                <a:lnTo>
                  <a:pt x="778853" y="590334"/>
                </a:lnTo>
                <a:lnTo>
                  <a:pt x="778853" y="608782"/>
                </a:lnTo>
                <a:lnTo>
                  <a:pt x="781310" y="628460"/>
                </a:lnTo>
                <a:lnTo>
                  <a:pt x="783767" y="646908"/>
                </a:lnTo>
                <a:lnTo>
                  <a:pt x="787452" y="665356"/>
                </a:lnTo>
                <a:lnTo>
                  <a:pt x="792366" y="683804"/>
                </a:lnTo>
                <a:lnTo>
                  <a:pt x="798508" y="702252"/>
                </a:lnTo>
                <a:lnTo>
                  <a:pt x="804651" y="720700"/>
                </a:lnTo>
                <a:lnTo>
                  <a:pt x="813250" y="737918"/>
                </a:lnTo>
                <a:lnTo>
                  <a:pt x="273950" y="737918"/>
                </a:lnTo>
                <a:lnTo>
                  <a:pt x="282549" y="720700"/>
                </a:lnTo>
                <a:lnTo>
                  <a:pt x="288692" y="702252"/>
                </a:lnTo>
                <a:lnTo>
                  <a:pt x="294834" y="683804"/>
                </a:lnTo>
                <a:lnTo>
                  <a:pt x="299748" y="665356"/>
                </a:lnTo>
                <a:lnTo>
                  <a:pt x="303433" y="646908"/>
                </a:lnTo>
                <a:lnTo>
                  <a:pt x="305890" y="628460"/>
                </a:lnTo>
                <a:lnTo>
                  <a:pt x="308347" y="608782"/>
                </a:lnTo>
                <a:lnTo>
                  <a:pt x="308347" y="590334"/>
                </a:lnTo>
                <a:lnTo>
                  <a:pt x="308347" y="573116"/>
                </a:lnTo>
                <a:lnTo>
                  <a:pt x="307119" y="554668"/>
                </a:lnTo>
                <a:lnTo>
                  <a:pt x="304662" y="537450"/>
                </a:lnTo>
                <a:lnTo>
                  <a:pt x="300977" y="520232"/>
                </a:lnTo>
                <a:lnTo>
                  <a:pt x="297291" y="503014"/>
                </a:lnTo>
                <a:lnTo>
                  <a:pt x="291149" y="485796"/>
                </a:lnTo>
                <a:lnTo>
                  <a:pt x="285006" y="468578"/>
                </a:lnTo>
                <a:lnTo>
                  <a:pt x="278864" y="451360"/>
                </a:lnTo>
                <a:lnTo>
                  <a:pt x="291149" y="442751"/>
                </a:lnTo>
                <a:lnTo>
                  <a:pt x="303433" y="431682"/>
                </a:lnTo>
                <a:lnTo>
                  <a:pt x="313261" y="420613"/>
                </a:lnTo>
                <a:lnTo>
                  <a:pt x="323089" y="407085"/>
                </a:lnTo>
                <a:lnTo>
                  <a:pt x="331688" y="393556"/>
                </a:lnTo>
                <a:lnTo>
                  <a:pt x="339059" y="380028"/>
                </a:lnTo>
                <a:lnTo>
                  <a:pt x="345202" y="365269"/>
                </a:lnTo>
                <a:lnTo>
                  <a:pt x="350116" y="349281"/>
                </a:lnTo>
                <a:close/>
                <a:moveTo>
                  <a:pt x="855018" y="308696"/>
                </a:moveTo>
                <a:lnTo>
                  <a:pt x="855018" y="318535"/>
                </a:lnTo>
                <a:lnTo>
                  <a:pt x="858704" y="328374"/>
                </a:lnTo>
                <a:lnTo>
                  <a:pt x="862389" y="335753"/>
                </a:lnTo>
                <a:lnTo>
                  <a:pt x="868531" y="343133"/>
                </a:lnTo>
                <a:lnTo>
                  <a:pt x="875902" y="349282"/>
                </a:lnTo>
                <a:lnTo>
                  <a:pt x="884502" y="354202"/>
                </a:lnTo>
                <a:lnTo>
                  <a:pt x="893101" y="356661"/>
                </a:lnTo>
                <a:lnTo>
                  <a:pt x="902929" y="357891"/>
                </a:lnTo>
                <a:lnTo>
                  <a:pt x="902929" y="308696"/>
                </a:lnTo>
                <a:lnTo>
                  <a:pt x="855018" y="308696"/>
                </a:lnTo>
                <a:close/>
                <a:moveTo>
                  <a:pt x="793595" y="308696"/>
                </a:moveTo>
                <a:lnTo>
                  <a:pt x="793595" y="319765"/>
                </a:lnTo>
                <a:lnTo>
                  <a:pt x="794824" y="329604"/>
                </a:lnTo>
                <a:lnTo>
                  <a:pt x="797281" y="339443"/>
                </a:lnTo>
                <a:lnTo>
                  <a:pt x="800966" y="349282"/>
                </a:lnTo>
                <a:lnTo>
                  <a:pt x="805880" y="359121"/>
                </a:lnTo>
                <a:lnTo>
                  <a:pt x="812022" y="368960"/>
                </a:lnTo>
                <a:lnTo>
                  <a:pt x="818165" y="378799"/>
                </a:lnTo>
                <a:lnTo>
                  <a:pt x="825535" y="386178"/>
                </a:lnTo>
                <a:lnTo>
                  <a:pt x="834135" y="393557"/>
                </a:lnTo>
                <a:lnTo>
                  <a:pt x="842734" y="400936"/>
                </a:lnTo>
                <a:lnTo>
                  <a:pt x="852562" y="405856"/>
                </a:lnTo>
                <a:lnTo>
                  <a:pt x="862390" y="410775"/>
                </a:lnTo>
                <a:lnTo>
                  <a:pt x="872217" y="414465"/>
                </a:lnTo>
                <a:lnTo>
                  <a:pt x="882045" y="416924"/>
                </a:lnTo>
                <a:lnTo>
                  <a:pt x="893101" y="418154"/>
                </a:lnTo>
                <a:lnTo>
                  <a:pt x="902929" y="419384"/>
                </a:lnTo>
                <a:lnTo>
                  <a:pt x="902929" y="378799"/>
                </a:lnTo>
                <a:lnTo>
                  <a:pt x="891873" y="377569"/>
                </a:lnTo>
                <a:lnTo>
                  <a:pt x="882045" y="375109"/>
                </a:lnTo>
                <a:lnTo>
                  <a:pt x="872217" y="371419"/>
                </a:lnTo>
                <a:lnTo>
                  <a:pt x="862390" y="365270"/>
                </a:lnTo>
                <a:lnTo>
                  <a:pt x="853790" y="357891"/>
                </a:lnTo>
                <a:lnTo>
                  <a:pt x="846419" y="349282"/>
                </a:lnTo>
                <a:lnTo>
                  <a:pt x="841506" y="340673"/>
                </a:lnTo>
                <a:lnTo>
                  <a:pt x="837820" y="330834"/>
                </a:lnTo>
                <a:lnTo>
                  <a:pt x="834135" y="319765"/>
                </a:lnTo>
                <a:lnTo>
                  <a:pt x="834135" y="308696"/>
                </a:lnTo>
                <a:lnTo>
                  <a:pt x="793595" y="308696"/>
                </a:lnTo>
                <a:close/>
                <a:moveTo>
                  <a:pt x="314490" y="308696"/>
                </a:moveTo>
                <a:lnTo>
                  <a:pt x="314490" y="319765"/>
                </a:lnTo>
                <a:lnTo>
                  <a:pt x="313261" y="329604"/>
                </a:lnTo>
                <a:lnTo>
                  <a:pt x="310804" y="339443"/>
                </a:lnTo>
                <a:lnTo>
                  <a:pt x="308347" y="349282"/>
                </a:lnTo>
                <a:lnTo>
                  <a:pt x="304662" y="359121"/>
                </a:lnTo>
                <a:lnTo>
                  <a:pt x="299748" y="368959"/>
                </a:lnTo>
                <a:lnTo>
                  <a:pt x="294834" y="377569"/>
                </a:lnTo>
                <a:lnTo>
                  <a:pt x="288692" y="386178"/>
                </a:lnTo>
                <a:lnTo>
                  <a:pt x="282549" y="394787"/>
                </a:lnTo>
                <a:lnTo>
                  <a:pt x="275178" y="402166"/>
                </a:lnTo>
                <a:lnTo>
                  <a:pt x="267807" y="409545"/>
                </a:lnTo>
                <a:lnTo>
                  <a:pt x="259208" y="415694"/>
                </a:lnTo>
                <a:lnTo>
                  <a:pt x="246923" y="423073"/>
                </a:lnTo>
                <a:lnTo>
                  <a:pt x="235867" y="429223"/>
                </a:lnTo>
                <a:lnTo>
                  <a:pt x="223582" y="432912"/>
                </a:lnTo>
                <a:lnTo>
                  <a:pt x="222354" y="434142"/>
                </a:lnTo>
                <a:lnTo>
                  <a:pt x="221125" y="434142"/>
                </a:lnTo>
                <a:lnTo>
                  <a:pt x="208841" y="437832"/>
                </a:lnTo>
                <a:lnTo>
                  <a:pt x="196556" y="439062"/>
                </a:lnTo>
                <a:lnTo>
                  <a:pt x="184271" y="440292"/>
                </a:lnTo>
                <a:lnTo>
                  <a:pt x="184271" y="639530"/>
                </a:lnTo>
                <a:lnTo>
                  <a:pt x="191642" y="623541"/>
                </a:lnTo>
                <a:lnTo>
                  <a:pt x="199013" y="607553"/>
                </a:lnTo>
                <a:lnTo>
                  <a:pt x="205155" y="590335"/>
                </a:lnTo>
                <a:lnTo>
                  <a:pt x="211298" y="573117"/>
                </a:lnTo>
                <a:lnTo>
                  <a:pt x="214983" y="555899"/>
                </a:lnTo>
                <a:lnTo>
                  <a:pt x="218668" y="538681"/>
                </a:lnTo>
                <a:lnTo>
                  <a:pt x="221125" y="521463"/>
                </a:lnTo>
                <a:lnTo>
                  <a:pt x="223582" y="503015"/>
                </a:lnTo>
                <a:lnTo>
                  <a:pt x="223582" y="514083"/>
                </a:lnTo>
                <a:lnTo>
                  <a:pt x="224811" y="533761"/>
                </a:lnTo>
                <a:lnTo>
                  <a:pt x="223582" y="553439"/>
                </a:lnTo>
                <a:lnTo>
                  <a:pt x="222354" y="570657"/>
                </a:lnTo>
                <a:lnTo>
                  <a:pt x="219897" y="587875"/>
                </a:lnTo>
                <a:lnTo>
                  <a:pt x="216211" y="605093"/>
                </a:lnTo>
                <a:lnTo>
                  <a:pt x="211298" y="621082"/>
                </a:lnTo>
                <a:lnTo>
                  <a:pt x="206384" y="637070"/>
                </a:lnTo>
                <a:lnTo>
                  <a:pt x="199013" y="653058"/>
                </a:lnTo>
                <a:lnTo>
                  <a:pt x="191642" y="669046"/>
                </a:lnTo>
                <a:lnTo>
                  <a:pt x="184271" y="683805"/>
                </a:lnTo>
                <a:lnTo>
                  <a:pt x="184271" y="752677"/>
                </a:lnTo>
                <a:lnTo>
                  <a:pt x="195327" y="739149"/>
                </a:lnTo>
                <a:lnTo>
                  <a:pt x="205155" y="724390"/>
                </a:lnTo>
                <a:lnTo>
                  <a:pt x="214983" y="709632"/>
                </a:lnTo>
                <a:lnTo>
                  <a:pt x="223582" y="694873"/>
                </a:lnTo>
                <a:lnTo>
                  <a:pt x="233410" y="677655"/>
                </a:lnTo>
                <a:lnTo>
                  <a:pt x="240781" y="660437"/>
                </a:lnTo>
                <a:lnTo>
                  <a:pt x="246923" y="641989"/>
                </a:lnTo>
                <a:lnTo>
                  <a:pt x="253066" y="623541"/>
                </a:lnTo>
                <a:lnTo>
                  <a:pt x="257980" y="605093"/>
                </a:lnTo>
                <a:lnTo>
                  <a:pt x="261665" y="585416"/>
                </a:lnTo>
                <a:lnTo>
                  <a:pt x="264122" y="566968"/>
                </a:lnTo>
                <a:lnTo>
                  <a:pt x="265350" y="547290"/>
                </a:lnTo>
                <a:lnTo>
                  <a:pt x="267807" y="569427"/>
                </a:lnTo>
                <a:lnTo>
                  <a:pt x="267807" y="590335"/>
                </a:lnTo>
                <a:lnTo>
                  <a:pt x="267807" y="610013"/>
                </a:lnTo>
                <a:lnTo>
                  <a:pt x="265350" y="628461"/>
                </a:lnTo>
                <a:lnTo>
                  <a:pt x="262894" y="648139"/>
                </a:lnTo>
                <a:lnTo>
                  <a:pt x="257980" y="666587"/>
                </a:lnTo>
                <a:lnTo>
                  <a:pt x="253066" y="685034"/>
                </a:lnTo>
                <a:lnTo>
                  <a:pt x="245695" y="703482"/>
                </a:lnTo>
                <a:lnTo>
                  <a:pt x="238324" y="720701"/>
                </a:lnTo>
                <a:lnTo>
                  <a:pt x="228496" y="737919"/>
                </a:lnTo>
                <a:lnTo>
                  <a:pt x="214983" y="758826"/>
                </a:lnTo>
                <a:lnTo>
                  <a:pt x="200241" y="778504"/>
                </a:lnTo>
                <a:lnTo>
                  <a:pt x="886959" y="778504"/>
                </a:lnTo>
                <a:lnTo>
                  <a:pt x="870989" y="758826"/>
                </a:lnTo>
                <a:lnTo>
                  <a:pt x="858704" y="737919"/>
                </a:lnTo>
                <a:lnTo>
                  <a:pt x="848876" y="720701"/>
                </a:lnTo>
                <a:lnTo>
                  <a:pt x="841505" y="703482"/>
                </a:lnTo>
                <a:lnTo>
                  <a:pt x="834135" y="685034"/>
                </a:lnTo>
                <a:lnTo>
                  <a:pt x="829221" y="666587"/>
                </a:lnTo>
                <a:lnTo>
                  <a:pt x="824307" y="648139"/>
                </a:lnTo>
                <a:lnTo>
                  <a:pt x="821850" y="628461"/>
                </a:lnTo>
                <a:lnTo>
                  <a:pt x="819393" y="610013"/>
                </a:lnTo>
                <a:lnTo>
                  <a:pt x="819393" y="590335"/>
                </a:lnTo>
                <a:lnTo>
                  <a:pt x="819393" y="569427"/>
                </a:lnTo>
                <a:lnTo>
                  <a:pt x="821850" y="547290"/>
                </a:lnTo>
                <a:lnTo>
                  <a:pt x="823078" y="566968"/>
                </a:lnTo>
                <a:lnTo>
                  <a:pt x="825535" y="585416"/>
                </a:lnTo>
                <a:lnTo>
                  <a:pt x="829221" y="605093"/>
                </a:lnTo>
                <a:lnTo>
                  <a:pt x="834135" y="623541"/>
                </a:lnTo>
                <a:lnTo>
                  <a:pt x="840277" y="641989"/>
                </a:lnTo>
                <a:lnTo>
                  <a:pt x="846419" y="659207"/>
                </a:lnTo>
                <a:lnTo>
                  <a:pt x="853790" y="677655"/>
                </a:lnTo>
                <a:lnTo>
                  <a:pt x="862389" y="694873"/>
                </a:lnTo>
                <a:lnTo>
                  <a:pt x="872217" y="709632"/>
                </a:lnTo>
                <a:lnTo>
                  <a:pt x="882045" y="724390"/>
                </a:lnTo>
                <a:lnTo>
                  <a:pt x="891873" y="739149"/>
                </a:lnTo>
                <a:lnTo>
                  <a:pt x="902929" y="752677"/>
                </a:lnTo>
                <a:lnTo>
                  <a:pt x="902929" y="683805"/>
                </a:lnTo>
                <a:lnTo>
                  <a:pt x="895558" y="669046"/>
                </a:lnTo>
                <a:lnTo>
                  <a:pt x="886959" y="653058"/>
                </a:lnTo>
                <a:lnTo>
                  <a:pt x="880817" y="637070"/>
                </a:lnTo>
                <a:lnTo>
                  <a:pt x="875903" y="621082"/>
                </a:lnTo>
                <a:lnTo>
                  <a:pt x="870989" y="605093"/>
                </a:lnTo>
                <a:lnTo>
                  <a:pt x="867303" y="587875"/>
                </a:lnTo>
                <a:lnTo>
                  <a:pt x="864846" y="570657"/>
                </a:lnTo>
                <a:lnTo>
                  <a:pt x="862389" y="553439"/>
                </a:lnTo>
                <a:lnTo>
                  <a:pt x="862389" y="514083"/>
                </a:lnTo>
                <a:lnTo>
                  <a:pt x="863618" y="503015"/>
                </a:lnTo>
                <a:lnTo>
                  <a:pt x="866075" y="521463"/>
                </a:lnTo>
                <a:lnTo>
                  <a:pt x="868532" y="538681"/>
                </a:lnTo>
                <a:lnTo>
                  <a:pt x="872217" y="555899"/>
                </a:lnTo>
                <a:lnTo>
                  <a:pt x="875903" y="573117"/>
                </a:lnTo>
                <a:lnTo>
                  <a:pt x="882045" y="590335"/>
                </a:lnTo>
                <a:lnTo>
                  <a:pt x="888187" y="607553"/>
                </a:lnTo>
                <a:lnTo>
                  <a:pt x="895558" y="623541"/>
                </a:lnTo>
                <a:lnTo>
                  <a:pt x="902929" y="639530"/>
                </a:lnTo>
                <a:lnTo>
                  <a:pt x="902929" y="480877"/>
                </a:lnTo>
                <a:lnTo>
                  <a:pt x="902929" y="479647"/>
                </a:lnTo>
                <a:lnTo>
                  <a:pt x="902929" y="440292"/>
                </a:lnTo>
                <a:lnTo>
                  <a:pt x="890644" y="439062"/>
                </a:lnTo>
                <a:lnTo>
                  <a:pt x="878360" y="437832"/>
                </a:lnTo>
                <a:lnTo>
                  <a:pt x="866075" y="434142"/>
                </a:lnTo>
                <a:lnTo>
                  <a:pt x="864846" y="434142"/>
                </a:lnTo>
                <a:lnTo>
                  <a:pt x="862389" y="432912"/>
                </a:lnTo>
                <a:lnTo>
                  <a:pt x="851333" y="429223"/>
                </a:lnTo>
                <a:lnTo>
                  <a:pt x="840277" y="423073"/>
                </a:lnTo>
                <a:lnTo>
                  <a:pt x="827992" y="415694"/>
                </a:lnTo>
                <a:lnTo>
                  <a:pt x="819393" y="409545"/>
                </a:lnTo>
                <a:lnTo>
                  <a:pt x="812022" y="402166"/>
                </a:lnTo>
                <a:lnTo>
                  <a:pt x="804651" y="394787"/>
                </a:lnTo>
                <a:lnTo>
                  <a:pt x="798509" y="386178"/>
                </a:lnTo>
                <a:lnTo>
                  <a:pt x="792366" y="377569"/>
                </a:lnTo>
                <a:lnTo>
                  <a:pt x="787452" y="368959"/>
                </a:lnTo>
                <a:lnTo>
                  <a:pt x="782539" y="359121"/>
                </a:lnTo>
                <a:lnTo>
                  <a:pt x="778853" y="349282"/>
                </a:lnTo>
                <a:lnTo>
                  <a:pt x="776396" y="339443"/>
                </a:lnTo>
                <a:lnTo>
                  <a:pt x="773939" y="329604"/>
                </a:lnTo>
                <a:lnTo>
                  <a:pt x="772711" y="319765"/>
                </a:lnTo>
                <a:lnTo>
                  <a:pt x="772711" y="308696"/>
                </a:lnTo>
                <a:lnTo>
                  <a:pt x="732171" y="308696"/>
                </a:lnTo>
                <a:lnTo>
                  <a:pt x="355029" y="308696"/>
                </a:lnTo>
                <a:lnTo>
                  <a:pt x="314490" y="308696"/>
                </a:lnTo>
                <a:close/>
                <a:moveTo>
                  <a:pt x="253066" y="308696"/>
                </a:moveTo>
                <a:lnTo>
                  <a:pt x="251837" y="319765"/>
                </a:lnTo>
                <a:lnTo>
                  <a:pt x="249380" y="330834"/>
                </a:lnTo>
                <a:lnTo>
                  <a:pt x="245695" y="340673"/>
                </a:lnTo>
                <a:lnTo>
                  <a:pt x="239552" y="349282"/>
                </a:lnTo>
                <a:lnTo>
                  <a:pt x="232182" y="357891"/>
                </a:lnTo>
                <a:lnTo>
                  <a:pt x="223582" y="365270"/>
                </a:lnTo>
                <a:lnTo>
                  <a:pt x="214983" y="371419"/>
                </a:lnTo>
                <a:lnTo>
                  <a:pt x="205155" y="375109"/>
                </a:lnTo>
                <a:lnTo>
                  <a:pt x="195327" y="377569"/>
                </a:lnTo>
                <a:lnTo>
                  <a:pt x="184271" y="378799"/>
                </a:lnTo>
                <a:lnTo>
                  <a:pt x="184271" y="419384"/>
                </a:lnTo>
                <a:lnTo>
                  <a:pt x="194099" y="418154"/>
                </a:lnTo>
                <a:lnTo>
                  <a:pt x="205155" y="416924"/>
                </a:lnTo>
                <a:lnTo>
                  <a:pt x="214983" y="414465"/>
                </a:lnTo>
                <a:lnTo>
                  <a:pt x="223582" y="410775"/>
                </a:lnTo>
                <a:lnTo>
                  <a:pt x="234638" y="405856"/>
                </a:lnTo>
                <a:lnTo>
                  <a:pt x="244466" y="400936"/>
                </a:lnTo>
                <a:lnTo>
                  <a:pt x="253066" y="393557"/>
                </a:lnTo>
                <a:lnTo>
                  <a:pt x="261665" y="386178"/>
                </a:lnTo>
                <a:lnTo>
                  <a:pt x="269036" y="378799"/>
                </a:lnTo>
                <a:lnTo>
                  <a:pt x="275178" y="368960"/>
                </a:lnTo>
                <a:lnTo>
                  <a:pt x="281320" y="359121"/>
                </a:lnTo>
                <a:lnTo>
                  <a:pt x="286234" y="349282"/>
                </a:lnTo>
                <a:lnTo>
                  <a:pt x="288691" y="339443"/>
                </a:lnTo>
                <a:lnTo>
                  <a:pt x="291148" y="329604"/>
                </a:lnTo>
                <a:lnTo>
                  <a:pt x="293605" y="319765"/>
                </a:lnTo>
                <a:lnTo>
                  <a:pt x="293605" y="308696"/>
                </a:lnTo>
                <a:lnTo>
                  <a:pt x="253066" y="308696"/>
                </a:lnTo>
                <a:close/>
                <a:moveTo>
                  <a:pt x="184271" y="308696"/>
                </a:moveTo>
                <a:lnTo>
                  <a:pt x="184271" y="357891"/>
                </a:lnTo>
                <a:lnTo>
                  <a:pt x="194099" y="356661"/>
                </a:lnTo>
                <a:lnTo>
                  <a:pt x="202698" y="354202"/>
                </a:lnTo>
                <a:lnTo>
                  <a:pt x="211298" y="349282"/>
                </a:lnTo>
                <a:lnTo>
                  <a:pt x="218669" y="343133"/>
                </a:lnTo>
                <a:lnTo>
                  <a:pt x="224811" y="335753"/>
                </a:lnTo>
                <a:lnTo>
                  <a:pt x="228497" y="328374"/>
                </a:lnTo>
                <a:lnTo>
                  <a:pt x="232182" y="318535"/>
                </a:lnTo>
                <a:lnTo>
                  <a:pt x="232182" y="308696"/>
                </a:lnTo>
                <a:lnTo>
                  <a:pt x="184271" y="308696"/>
                </a:lnTo>
                <a:close/>
                <a:moveTo>
                  <a:pt x="515959" y="0"/>
                </a:moveTo>
                <a:lnTo>
                  <a:pt x="542986" y="0"/>
                </a:lnTo>
                <a:lnTo>
                  <a:pt x="571241" y="0"/>
                </a:lnTo>
                <a:lnTo>
                  <a:pt x="599496" y="2460"/>
                </a:lnTo>
                <a:lnTo>
                  <a:pt x="626522" y="6149"/>
                </a:lnTo>
                <a:lnTo>
                  <a:pt x="653549" y="11069"/>
                </a:lnTo>
                <a:lnTo>
                  <a:pt x="679347" y="17218"/>
                </a:lnTo>
                <a:lnTo>
                  <a:pt x="705145"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5"/>
                </a:lnTo>
                <a:lnTo>
                  <a:pt x="927499" y="158653"/>
                </a:lnTo>
                <a:lnTo>
                  <a:pt x="945926" y="178330"/>
                </a:lnTo>
                <a:lnTo>
                  <a:pt x="963124" y="198008"/>
                </a:lnTo>
                <a:lnTo>
                  <a:pt x="979094" y="217686"/>
                </a:lnTo>
                <a:lnTo>
                  <a:pt x="993836" y="239824"/>
                </a:lnTo>
                <a:lnTo>
                  <a:pt x="1008578" y="261961"/>
                </a:lnTo>
                <a:lnTo>
                  <a:pt x="1020863" y="284099"/>
                </a:lnTo>
                <a:lnTo>
                  <a:pt x="1033147" y="307466"/>
                </a:lnTo>
                <a:lnTo>
                  <a:pt x="1044204" y="332063"/>
                </a:lnTo>
                <a:lnTo>
                  <a:pt x="1054031" y="356661"/>
                </a:lnTo>
                <a:lnTo>
                  <a:pt x="1062631" y="382488"/>
                </a:lnTo>
                <a:lnTo>
                  <a:pt x="1070002"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2" y="678885"/>
                </a:lnTo>
                <a:lnTo>
                  <a:pt x="1062631" y="704712"/>
                </a:lnTo>
                <a:lnTo>
                  <a:pt x="1054031" y="730540"/>
                </a:lnTo>
                <a:lnTo>
                  <a:pt x="1044204" y="755137"/>
                </a:lnTo>
                <a:lnTo>
                  <a:pt x="1033147" y="779734"/>
                </a:lnTo>
                <a:lnTo>
                  <a:pt x="1020863" y="803102"/>
                </a:lnTo>
                <a:lnTo>
                  <a:pt x="1008578" y="825239"/>
                </a:lnTo>
                <a:lnTo>
                  <a:pt x="993836" y="847377"/>
                </a:lnTo>
                <a:lnTo>
                  <a:pt x="979094" y="868284"/>
                </a:lnTo>
                <a:lnTo>
                  <a:pt x="963124" y="889192"/>
                </a:lnTo>
                <a:lnTo>
                  <a:pt x="945926" y="908870"/>
                </a:lnTo>
                <a:lnTo>
                  <a:pt x="927499"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5" y="1062603"/>
                </a:lnTo>
                <a:lnTo>
                  <a:pt x="679347" y="1069982"/>
                </a:lnTo>
                <a:lnTo>
                  <a:pt x="653549" y="1076131"/>
                </a:lnTo>
                <a:lnTo>
                  <a:pt x="626522" y="1081051"/>
                </a:lnTo>
                <a:lnTo>
                  <a:pt x="599496" y="1084740"/>
                </a:lnTo>
                <a:lnTo>
                  <a:pt x="571241" y="1085970"/>
                </a:lnTo>
                <a:lnTo>
                  <a:pt x="542986" y="1087200"/>
                </a:lnTo>
                <a:lnTo>
                  <a:pt x="515959" y="1085970"/>
                </a:lnTo>
                <a:lnTo>
                  <a:pt x="487705"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5" y="962984"/>
                </a:lnTo>
                <a:lnTo>
                  <a:pt x="178129" y="945766"/>
                </a:lnTo>
                <a:lnTo>
                  <a:pt x="159702" y="928548"/>
                </a:lnTo>
                <a:lnTo>
                  <a:pt x="141275" y="908870"/>
                </a:lnTo>
                <a:lnTo>
                  <a:pt x="124076" y="889192"/>
                </a:lnTo>
                <a:lnTo>
                  <a:pt x="108106" y="868284"/>
                </a:lnTo>
                <a:lnTo>
                  <a:pt x="93364" y="847377"/>
                </a:lnTo>
                <a:lnTo>
                  <a:pt x="78623" y="825239"/>
                </a:lnTo>
                <a:lnTo>
                  <a:pt x="66338" y="803102"/>
                </a:lnTo>
                <a:lnTo>
                  <a:pt x="54053" y="779734"/>
                </a:lnTo>
                <a:lnTo>
                  <a:pt x="42997" y="755137"/>
                </a:lnTo>
                <a:lnTo>
                  <a:pt x="33169" y="730540"/>
                </a:lnTo>
                <a:lnTo>
                  <a:pt x="24570" y="704712"/>
                </a:lnTo>
                <a:lnTo>
                  <a:pt x="17199" y="678885"/>
                </a:lnTo>
                <a:lnTo>
                  <a:pt x="11056" y="653058"/>
                </a:lnTo>
                <a:lnTo>
                  <a:pt x="7371" y="626001"/>
                </a:lnTo>
                <a:lnTo>
                  <a:pt x="3686" y="598944"/>
                </a:lnTo>
                <a:lnTo>
                  <a:pt x="1229" y="571887"/>
                </a:lnTo>
                <a:lnTo>
                  <a:pt x="0" y="543600"/>
                </a:lnTo>
                <a:lnTo>
                  <a:pt x="1229" y="515313"/>
                </a:lnTo>
                <a:lnTo>
                  <a:pt x="3686" y="488256"/>
                </a:lnTo>
                <a:lnTo>
                  <a:pt x="7371" y="461199"/>
                </a:lnTo>
                <a:lnTo>
                  <a:pt x="11056" y="434142"/>
                </a:lnTo>
                <a:lnTo>
                  <a:pt x="17199" y="407085"/>
                </a:lnTo>
                <a:lnTo>
                  <a:pt x="24570" y="382488"/>
                </a:lnTo>
                <a:lnTo>
                  <a:pt x="33169" y="356661"/>
                </a:lnTo>
                <a:lnTo>
                  <a:pt x="42997" y="332063"/>
                </a:lnTo>
                <a:lnTo>
                  <a:pt x="54053" y="307466"/>
                </a:lnTo>
                <a:lnTo>
                  <a:pt x="66338" y="284099"/>
                </a:lnTo>
                <a:lnTo>
                  <a:pt x="78623" y="261961"/>
                </a:lnTo>
                <a:lnTo>
                  <a:pt x="93364" y="239824"/>
                </a:lnTo>
                <a:lnTo>
                  <a:pt x="108106" y="217686"/>
                </a:lnTo>
                <a:lnTo>
                  <a:pt x="124076" y="198008"/>
                </a:lnTo>
                <a:lnTo>
                  <a:pt x="141275" y="178330"/>
                </a:lnTo>
                <a:lnTo>
                  <a:pt x="159702" y="158653"/>
                </a:lnTo>
                <a:lnTo>
                  <a:pt x="178129" y="141435"/>
                </a:lnTo>
                <a:lnTo>
                  <a:pt x="197785"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5" y="2460"/>
                </a:lnTo>
                <a:lnTo>
                  <a:pt x="515959"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5" name="Freeform 66"/>
          <p:cNvSpPr>
            <a:spLocks noEditPoints="1"/>
          </p:cNvSpPr>
          <p:nvPr userDrawn="1"/>
        </p:nvSpPr>
        <p:spPr bwMode="auto">
          <a:xfrm>
            <a:off x="1745600" y="1076015"/>
            <a:ext cx="1080000" cy="1080000"/>
          </a:xfrm>
          <a:custGeom>
            <a:avLst/>
            <a:gdLst>
              <a:gd name="T0" fmla="*/ 461169 w 1370"/>
              <a:gd name="T1" fmla="*/ 6350 h 1370"/>
              <a:gd name="T2" fmla="*/ 331787 w 1370"/>
              <a:gd name="T3" fmla="*/ 42863 h 1370"/>
              <a:gd name="T4" fmla="*/ 219075 w 1370"/>
              <a:gd name="T5" fmla="*/ 107950 h 1370"/>
              <a:gd name="T6" fmla="*/ 124619 w 1370"/>
              <a:gd name="T7" fmla="*/ 198438 h 1370"/>
              <a:gd name="T8" fmla="*/ 53975 w 1370"/>
              <a:gd name="T9" fmla="*/ 307181 h 1370"/>
              <a:gd name="T10" fmla="*/ 11112 w 1370"/>
              <a:gd name="T11" fmla="*/ 434181 h 1370"/>
              <a:gd name="T12" fmla="*/ 0 w 1370"/>
              <a:gd name="T13" fmla="*/ 543719 h 1370"/>
              <a:gd name="T14" fmla="*/ 17462 w 1370"/>
              <a:gd name="T15" fmla="*/ 678657 h 1370"/>
              <a:gd name="T16" fmla="*/ 65087 w 1370"/>
              <a:gd name="T17" fmla="*/ 803275 h 1370"/>
              <a:gd name="T18" fmla="*/ 141287 w 1370"/>
              <a:gd name="T19" fmla="*/ 908844 h 1370"/>
              <a:gd name="T20" fmla="*/ 239712 w 1370"/>
              <a:gd name="T21" fmla="*/ 995363 h 1370"/>
              <a:gd name="T22" fmla="*/ 356394 w 1370"/>
              <a:gd name="T23" fmla="*/ 1054100 h 1370"/>
              <a:gd name="T24" fmla="*/ 488156 w 1370"/>
              <a:gd name="T25" fmla="*/ 1085057 h 1370"/>
              <a:gd name="T26" fmla="*/ 599281 w 1370"/>
              <a:gd name="T27" fmla="*/ 1085057 h 1370"/>
              <a:gd name="T28" fmla="*/ 731043 w 1370"/>
              <a:gd name="T29" fmla="*/ 1054100 h 1370"/>
              <a:gd name="T30" fmla="*/ 847725 w 1370"/>
              <a:gd name="T31" fmla="*/ 995363 h 1370"/>
              <a:gd name="T32" fmla="*/ 946150 w 1370"/>
              <a:gd name="T33" fmla="*/ 908844 h 1370"/>
              <a:gd name="T34" fmla="*/ 1022350 w 1370"/>
              <a:gd name="T35" fmla="*/ 803275 h 1370"/>
              <a:gd name="T36" fmla="*/ 1069975 w 1370"/>
              <a:gd name="T37" fmla="*/ 678657 h 1370"/>
              <a:gd name="T38" fmla="*/ 1087437 w 1370"/>
              <a:gd name="T39" fmla="*/ 543719 h 1370"/>
              <a:gd name="T40" fmla="*/ 1076325 w 1370"/>
              <a:gd name="T41" fmla="*/ 434181 h 1370"/>
              <a:gd name="T42" fmla="*/ 1034256 w 1370"/>
              <a:gd name="T43" fmla="*/ 307181 h 1370"/>
              <a:gd name="T44" fmla="*/ 962818 w 1370"/>
              <a:gd name="T45" fmla="*/ 198438 h 1370"/>
              <a:gd name="T46" fmla="*/ 869950 w 1370"/>
              <a:gd name="T47" fmla="*/ 107950 h 1370"/>
              <a:gd name="T48" fmla="*/ 755650 w 1370"/>
              <a:gd name="T49" fmla="*/ 42863 h 1370"/>
              <a:gd name="T50" fmla="*/ 626268 w 1370"/>
              <a:gd name="T51" fmla="*/ 6350 h 1370"/>
              <a:gd name="T52" fmla="*/ 818356 w 1370"/>
              <a:gd name="T53" fmla="*/ 669132 h 1370"/>
              <a:gd name="T54" fmla="*/ 763587 w 1370"/>
              <a:gd name="T55" fmla="*/ 657225 h 1370"/>
              <a:gd name="T56" fmla="*/ 708818 w 1370"/>
              <a:gd name="T57" fmla="*/ 669132 h 1370"/>
              <a:gd name="T58" fmla="*/ 643731 w 1370"/>
              <a:gd name="T59" fmla="*/ 650875 h 1370"/>
              <a:gd name="T60" fmla="*/ 599281 w 1370"/>
              <a:gd name="T61" fmla="*/ 601663 h 1370"/>
              <a:gd name="T62" fmla="*/ 538956 w 1370"/>
              <a:gd name="T63" fmla="*/ 659607 h 1370"/>
              <a:gd name="T64" fmla="*/ 471487 w 1370"/>
              <a:gd name="T65" fmla="*/ 668338 h 1370"/>
              <a:gd name="T66" fmla="*/ 398462 w 1370"/>
              <a:gd name="T67" fmla="*/ 629444 h 1370"/>
              <a:gd name="T68" fmla="*/ 359569 w 1370"/>
              <a:gd name="T69" fmla="*/ 629444 h 1370"/>
              <a:gd name="T70" fmla="*/ 286544 w 1370"/>
              <a:gd name="T71" fmla="*/ 668338 h 1370"/>
              <a:gd name="T72" fmla="*/ 232569 w 1370"/>
              <a:gd name="T73" fmla="*/ 664369 h 1370"/>
              <a:gd name="T74" fmla="*/ 180975 w 1370"/>
              <a:gd name="T75" fmla="*/ 632619 h 1370"/>
              <a:gd name="T76" fmla="*/ 150019 w 1370"/>
              <a:gd name="T77" fmla="*/ 580232 h 1370"/>
              <a:gd name="T78" fmla="*/ 269081 w 1370"/>
              <a:gd name="T79" fmla="*/ 418306 h 1370"/>
              <a:gd name="T80" fmla="*/ 334962 w 1370"/>
              <a:gd name="T81" fmla="*/ 436563 h 1370"/>
              <a:gd name="T82" fmla="*/ 378619 w 1370"/>
              <a:gd name="T83" fmla="*/ 485775 h 1370"/>
              <a:gd name="T84" fmla="*/ 438150 w 1370"/>
              <a:gd name="T85" fmla="*/ 427831 h 1370"/>
              <a:gd name="T86" fmla="*/ 507206 w 1370"/>
              <a:gd name="T87" fmla="*/ 419100 h 1370"/>
              <a:gd name="T88" fmla="*/ 579437 w 1370"/>
              <a:gd name="T89" fmla="*/ 457994 h 1370"/>
              <a:gd name="T90" fmla="*/ 617537 w 1370"/>
              <a:gd name="T91" fmla="*/ 457994 h 1370"/>
              <a:gd name="T92" fmla="*/ 691356 w 1370"/>
              <a:gd name="T93" fmla="*/ 419100 h 1370"/>
              <a:gd name="T94" fmla="*/ 750093 w 1370"/>
              <a:gd name="T95" fmla="*/ 425450 h 1370"/>
              <a:gd name="T96" fmla="*/ 804862 w 1370"/>
              <a:gd name="T97" fmla="*/ 418306 h 1370"/>
              <a:gd name="T98" fmla="*/ 854868 w 1370"/>
              <a:gd name="T99" fmla="*/ 423069 h 1370"/>
              <a:gd name="T100" fmla="*/ 906462 w 1370"/>
              <a:gd name="T101" fmla="*/ 454819 h 1370"/>
              <a:gd name="T102" fmla="*/ 937418 w 1370"/>
              <a:gd name="T103" fmla="*/ 507206 h 1370"/>
              <a:gd name="T104" fmla="*/ 942181 w 1370"/>
              <a:gd name="T105" fmla="*/ 555625 h 1370"/>
              <a:gd name="T106" fmla="*/ 921543 w 1370"/>
              <a:gd name="T107" fmla="*/ 613569 h 1370"/>
              <a:gd name="T108" fmla="*/ 877093 w 1370"/>
              <a:gd name="T109" fmla="*/ 654050 h 1370"/>
              <a:gd name="T110" fmla="*/ 818356 w 1370"/>
              <a:gd name="T111" fmla="*/ 669132 h 137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370" h="1370">
                <a:moveTo>
                  <a:pt x="685" y="0"/>
                </a:moveTo>
                <a:lnTo>
                  <a:pt x="685" y="0"/>
                </a:lnTo>
                <a:lnTo>
                  <a:pt x="649" y="0"/>
                </a:lnTo>
                <a:lnTo>
                  <a:pt x="615" y="3"/>
                </a:lnTo>
                <a:lnTo>
                  <a:pt x="581" y="8"/>
                </a:lnTo>
                <a:lnTo>
                  <a:pt x="547" y="14"/>
                </a:lnTo>
                <a:lnTo>
                  <a:pt x="515" y="22"/>
                </a:lnTo>
                <a:lnTo>
                  <a:pt x="482" y="31"/>
                </a:lnTo>
                <a:lnTo>
                  <a:pt x="449" y="42"/>
                </a:lnTo>
                <a:lnTo>
                  <a:pt x="418" y="54"/>
                </a:lnTo>
                <a:lnTo>
                  <a:pt x="387" y="67"/>
                </a:lnTo>
                <a:lnTo>
                  <a:pt x="358" y="82"/>
                </a:lnTo>
                <a:lnTo>
                  <a:pt x="330" y="99"/>
                </a:lnTo>
                <a:lnTo>
                  <a:pt x="302" y="116"/>
                </a:lnTo>
                <a:lnTo>
                  <a:pt x="276" y="136"/>
                </a:lnTo>
                <a:lnTo>
                  <a:pt x="250" y="157"/>
                </a:lnTo>
                <a:lnTo>
                  <a:pt x="225" y="178"/>
                </a:lnTo>
                <a:lnTo>
                  <a:pt x="200" y="200"/>
                </a:lnTo>
                <a:lnTo>
                  <a:pt x="178" y="225"/>
                </a:lnTo>
                <a:lnTo>
                  <a:pt x="157" y="250"/>
                </a:lnTo>
                <a:lnTo>
                  <a:pt x="136" y="274"/>
                </a:lnTo>
                <a:lnTo>
                  <a:pt x="116" y="302"/>
                </a:lnTo>
                <a:lnTo>
                  <a:pt x="99" y="330"/>
                </a:lnTo>
                <a:lnTo>
                  <a:pt x="82" y="358"/>
                </a:lnTo>
                <a:lnTo>
                  <a:pt x="68" y="387"/>
                </a:lnTo>
                <a:lnTo>
                  <a:pt x="54" y="418"/>
                </a:lnTo>
                <a:lnTo>
                  <a:pt x="42" y="449"/>
                </a:lnTo>
                <a:lnTo>
                  <a:pt x="31" y="482"/>
                </a:lnTo>
                <a:lnTo>
                  <a:pt x="22" y="513"/>
                </a:lnTo>
                <a:lnTo>
                  <a:pt x="14" y="547"/>
                </a:lnTo>
                <a:lnTo>
                  <a:pt x="8" y="581"/>
                </a:lnTo>
                <a:lnTo>
                  <a:pt x="3" y="615"/>
                </a:lnTo>
                <a:lnTo>
                  <a:pt x="2" y="649"/>
                </a:lnTo>
                <a:lnTo>
                  <a:pt x="0" y="685"/>
                </a:lnTo>
                <a:lnTo>
                  <a:pt x="2" y="721"/>
                </a:lnTo>
                <a:lnTo>
                  <a:pt x="3" y="755"/>
                </a:lnTo>
                <a:lnTo>
                  <a:pt x="8" y="789"/>
                </a:lnTo>
                <a:lnTo>
                  <a:pt x="14" y="823"/>
                </a:lnTo>
                <a:lnTo>
                  <a:pt x="22" y="855"/>
                </a:lnTo>
                <a:lnTo>
                  <a:pt x="31" y="888"/>
                </a:lnTo>
                <a:lnTo>
                  <a:pt x="42" y="921"/>
                </a:lnTo>
                <a:lnTo>
                  <a:pt x="54" y="952"/>
                </a:lnTo>
                <a:lnTo>
                  <a:pt x="68" y="983"/>
                </a:lnTo>
                <a:lnTo>
                  <a:pt x="82" y="1012"/>
                </a:lnTo>
                <a:lnTo>
                  <a:pt x="99" y="1040"/>
                </a:lnTo>
                <a:lnTo>
                  <a:pt x="116" y="1068"/>
                </a:lnTo>
                <a:lnTo>
                  <a:pt x="136" y="1094"/>
                </a:lnTo>
                <a:lnTo>
                  <a:pt x="157" y="1120"/>
                </a:lnTo>
                <a:lnTo>
                  <a:pt x="178" y="1145"/>
                </a:lnTo>
                <a:lnTo>
                  <a:pt x="200" y="1170"/>
                </a:lnTo>
                <a:lnTo>
                  <a:pt x="225" y="1192"/>
                </a:lnTo>
                <a:lnTo>
                  <a:pt x="250" y="1213"/>
                </a:lnTo>
                <a:lnTo>
                  <a:pt x="276" y="1234"/>
                </a:lnTo>
                <a:lnTo>
                  <a:pt x="302" y="1254"/>
                </a:lnTo>
                <a:lnTo>
                  <a:pt x="330" y="1271"/>
                </a:lnTo>
                <a:lnTo>
                  <a:pt x="358" y="1288"/>
                </a:lnTo>
                <a:lnTo>
                  <a:pt x="387" y="1302"/>
                </a:lnTo>
                <a:lnTo>
                  <a:pt x="418" y="1316"/>
                </a:lnTo>
                <a:lnTo>
                  <a:pt x="449" y="1328"/>
                </a:lnTo>
                <a:lnTo>
                  <a:pt x="482" y="1339"/>
                </a:lnTo>
                <a:lnTo>
                  <a:pt x="515" y="1348"/>
                </a:lnTo>
                <a:lnTo>
                  <a:pt x="547" y="1356"/>
                </a:lnTo>
                <a:lnTo>
                  <a:pt x="581" y="1362"/>
                </a:lnTo>
                <a:lnTo>
                  <a:pt x="615" y="1367"/>
                </a:lnTo>
                <a:lnTo>
                  <a:pt x="649" y="1368"/>
                </a:lnTo>
                <a:lnTo>
                  <a:pt x="685" y="1370"/>
                </a:lnTo>
                <a:lnTo>
                  <a:pt x="721" y="1368"/>
                </a:lnTo>
                <a:lnTo>
                  <a:pt x="755" y="1367"/>
                </a:lnTo>
                <a:lnTo>
                  <a:pt x="789" y="1362"/>
                </a:lnTo>
                <a:lnTo>
                  <a:pt x="823" y="1356"/>
                </a:lnTo>
                <a:lnTo>
                  <a:pt x="857" y="1348"/>
                </a:lnTo>
                <a:lnTo>
                  <a:pt x="888" y="1339"/>
                </a:lnTo>
                <a:lnTo>
                  <a:pt x="921" y="1328"/>
                </a:lnTo>
                <a:lnTo>
                  <a:pt x="952" y="1316"/>
                </a:lnTo>
                <a:lnTo>
                  <a:pt x="983" y="1302"/>
                </a:lnTo>
                <a:lnTo>
                  <a:pt x="1012" y="1288"/>
                </a:lnTo>
                <a:lnTo>
                  <a:pt x="1040" y="1271"/>
                </a:lnTo>
                <a:lnTo>
                  <a:pt x="1068" y="1254"/>
                </a:lnTo>
                <a:lnTo>
                  <a:pt x="1096" y="1234"/>
                </a:lnTo>
                <a:lnTo>
                  <a:pt x="1120" y="1213"/>
                </a:lnTo>
                <a:lnTo>
                  <a:pt x="1145" y="1192"/>
                </a:lnTo>
                <a:lnTo>
                  <a:pt x="1170" y="1170"/>
                </a:lnTo>
                <a:lnTo>
                  <a:pt x="1192" y="1145"/>
                </a:lnTo>
                <a:lnTo>
                  <a:pt x="1213" y="1120"/>
                </a:lnTo>
                <a:lnTo>
                  <a:pt x="1234" y="1094"/>
                </a:lnTo>
                <a:lnTo>
                  <a:pt x="1254" y="1068"/>
                </a:lnTo>
                <a:lnTo>
                  <a:pt x="1271" y="1040"/>
                </a:lnTo>
                <a:lnTo>
                  <a:pt x="1288" y="1012"/>
                </a:lnTo>
                <a:lnTo>
                  <a:pt x="1303" y="983"/>
                </a:lnTo>
                <a:lnTo>
                  <a:pt x="1316" y="952"/>
                </a:lnTo>
                <a:lnTo>
                  <a:pt x="1328" y="921"/>
                </a:lnTo>
                <a:lnTo>
                  <a:pt x="1339" y="888"/>
                </a:lnTo>
                <a:lnTo>
                  <a:pt x="1348" y="855"/>
                </a:lnTo>
                <a:lnTo>
                  <a:pt x="1356" y="823"/>
                </a:lnTo>
                <a:lnTo>
                  <a:pt x="1362" y="789"/>
                </a:lnTo>
                <a:lnTo>
                  <a:pt x="1367" y="755"/>
                </a:lnTo>
                <a:lnTo>
                  <a:pt x="1370" y="721"/>
                </a:lnTo>
                <a:lnTo>
                  <a:pt x="1370" y="685"/>
                </a:lnTo>
                <a:lnTo>
                  <a:pt x="1370" y="649"/>
                </a:lnTo>
                <a:lnTo>
                  <a:pt x="1367" y="615"/>
                </a:lnTo>
                <a:lnTo>
                  <a:pt x="1362" y="581"/>
                </a:lnTo>
                <a:lnTo>
                  <a:pt x="1356" y="547"/>
                </a:lnTo>
                <a:lnTo>
                  <a:pt x="1348" y="513"/>
                </a:lnTo>
                <a:lnTo>
                  <a:pt x="1339" y="482"/>
                </a:lnTo>
                <a:lnTo>
                  <a:pt x="1328" y="449"/>
                </a:lnTo>
                <a:lnTo>
                  <a:pt x="1316" y="418"/>
                </a:lnTo>
                <a:lnTo>
                  <a:pt x="1303" y="387"/>
                </a:lnTo>
                <a:lnTo>
                  <a:pt x="1288" y="358"/>
                </a:lnTo>
                <a:lnTo>
                  <a:pt x="1271" y="330"/>
                </a:lnTo>
                <a:lnTo>
                  <a:pt x="1254" y="302"/>
                </a:lnTo>
                <a:lnTo>
                  <a:pt x="1234" y="274"/>
                </a:lnTo>
                <a:lnTo>
                  <a:pt x="1213" y="250"/>
                </a:lnTo>
                <a:lnTo>
                  <a:pt x="1192" y="225"/>
                </a:lnTo>
                <a:lnTo>
                  <a:pt x="1170" y="200"/>
                </a:lnTo>
                <a:lnTo>
                  <a:pt x="1145" y="178"/>
                </a:lnTo>
                <a:lnTo>
                  <a:pt x="1120" y="157"/>
                </a:lnTo>
                <a:lnTo>
                  <a:pt x="1096" y="136"/>
                </a:lnTo>
                <a:lnTo>
                  <a:pt x="1068" y="116"/>
                </a:lnTo>
                <a:lnTo>
                  <a:pt x="1040" y="99"/>
                </a:lnTo>
                <a:lnTo>
                  <a:pt x="1012" y="82"/>
                </a:lnTo>
                <a:lnTo>
                  <a:pt x="983" y="67"/>
                </a:lnTo>
                <a:lnTo>
                  <a:pt x="952" y="54"/>
                </a:lnTo>
                <a:lnTo>
                  <a:pt x="921" y="42"/>
                </a:lnTo>
                <a:lnTo>
                  <a:pt x="888" y="31"/>
                </a:lnTo>
                <a:lnTo>
                  <a:pt x="857" y="22"/>
                </a:lnTo>
                <a:lnTo>
                  <a:pt x="823" y="14"/>
                </a:lnTo>
                <a:lnTo>
                  <a:pt x="789" y="8"/>
                </a:lnTo>
                <a:lnTo>
                  <a:pt x="755" y="3"/>
                </a:lnTo>
                <a:lnTo>
                  <a:pt x="721" y="0"/>
                </a:lnTo>
                <a:lnTo>
                  <a:pt x="685" y="0"/>
                </a:lnTo>
                <a:close/>
                <a:moveTo>
                  <a:pt x="1031" y="843"/>
                </a:moveTo>
                <a:lnTo>
                  <a:pt x="1031" y="843"/>
                </a:lnTo>
                <a:lnTo>
                  <a:pt x="1014" y="843"/>
                </a:lnTo>
                <a:lnTo>
                  <a:pt x="995" y="840"/>
                </a:lnTo>
                <a:lnTo>
                  <a:pt x="978" y="834"/>
                </a:lnTo>
                <a:lnTo>
                  <a:pt x="962" y="828"/>
                </a:lnTo>
                <a:lnTo>
                  <a:pt x="945" y="834"/>
                </a:lnTo>
                <a:lnTo>
                  <a:pt x="928" y="840"/>
                </a:lnTo>
                <a:lnTo>
                  <a:pt x="911" y="843"/>
                </a:lnTo>
                <a:lnTo>
                  <a:pt x="893" y="843"/>
                </a:lnTo>
                <a:lnTo>
                  <a:pt x="871" y="842"/>
                </a:lnTo>
                <a:lnTo>
                  <a:pt x="849" y="837"/>
                </a:lnTo>
                <a:lnTo>
                  <a:pt x="829" y="831"/>
                </a:lnTo>
                <a:lnTo>
                  <a:pt x="811" y="820"/>
                </a:lnTo>
                <a:lnTo>
                  <a:pt x="793" y="807"/>
                </a:lnTo>
                <a:lnTo>
                  <a:pt x="778" y="793"/>
                </a:lnTo>
                <a:lnTo>
                  <a:pt x="766" y="776"/>
                </a:lnTo>
                <a:lnTo>
                  <a:pt x="755" y="758"/>
                </a:lnTo>
                <a:lnTo>
                  <a:pt x="744" y="776"/>
                </a:lnTo>
                <a:lnTo>
                  <a:pt x="730" y="793"/>
                </a:lnTo>
                <a:lnTo>
                  <a:pt x="714" y="807"/>
                </a:lnTo>
                <a:lnTo>
                  <a:pt x="697" y="820"/>
                </a:lnTo>
                <a:lnTo>
                  <a:pt x="679" y="831"/>
                </a:lnTo>
                <a:lnTo>
                  <a:pt x="659" y="837"/>
                </a:lnTo>
                <a:lnTo>
                  <a:pt x="639" y="842"/>
                </a:lnTo>
                <a:lnTo>
                  <a:pt x="615" y="843"/>
                </a:lnTo>
                <a:lnTo>
                  <a:pt x="594" y="842"/>
                </a:lnTo>
                <a:lnTo>
                  <a:pt x="572" y="837"/>
                </a:lnTo>
                <a:lnTo>
                  <a:pt x="552" y="831"/>
                </a:lnTo>
                <a:lnTo>
                  <a:pt x="533" y="820"/>
                </a:lnTo>
                <a:lnTo>
                  <a:pt x="516" y="807"/>
                </a:lnTo>
                <a:lnTo>
                  <a:pt x="502" y="793"/>
                </a:lnTo>
                <a:lnTo>
                  <a:pt x="488" y="776"/>
                </a:lnTo>
                <a:lnTo>
                  <a:pt x="477" y="758"/>
                </a:lnTo>
                <a:lnTo>
                  <a:pt x="466" y="776"/>
                </a:lnTo>
                <a:lnTo>
                  <a:pt x="453" y="793"/>
                </a:lnTo>
                <a:lnTo>
                  <a:pt x="439" y="807"/>
                </a:lnTo>
                <a:lnTo>
                  <a:pt x="422" y="820"/>
                </a:lnTo>
                <a:lnTo>
                  <a:pt x="403" y="831"/>
                </a:lnTo>
                <a:lnTo>
                  <a:pt x="383" y="837"/>
                </a:lnTo>
                <a:lnTo>
                  <a:pt x="361" y="842"/>
                </a:lnTo>
                <a:lnTo>
                  <a:pt x="339" y="843"/>
                </a:lnTo>
                <a:lnTo>
                  <a:pt x="322" y="843"/>
                </a:lnTo>
                <a:lnTo>
                  <a:pt x="307" y="840"/>
                </a:lnTo>
                <a:lnTo>
                  <a:pt x="293" y="837"/>
                </a:lnTo>
                <a:lnTo>
                  <a:pt x="279" y="831"/>
                </a:lnTo>
                <a:lnTo>
                  <a:pt x="265" y="824"/>
                </a:lnTo>
                <a:lnTo>
                  <a:pt x="251" y="817"/>
                </a:lnTo>
                <a:lnTo>
                  <a:pt x="240" y="807"/>
                </a:lnTo>
                <a:lnTo>
                  <a:pt x="228" y="797"/>
                </a:lnTo>
                <a:lnTo>
                  <a:pt x="219" y="786"/>
                </a:lnTo>
                <a:lnTo>
                  <a:pt x="209" y="773"/>
                </a:lnTo>
                <a:lnTo>
                  <a:pt x="201" y="761"/>
                </a:lnTo>
                <a:lnTo>
                  <a:pt x="195" y="747"/>
                </a:lnTo>
                <a:lnTo>
                  <a:pt x="189" y="731"/>
                </a:lnTo>
                <a:lnTo>
                  <a:pt x="186" y="718"/>
                </a:lnTo>
                <a:lnTo>
                  <a:pt x="183" y="700"/>
                </a:lnTo>
                <a:lnTo>
                  <a:pt x="183" y="685"/>
                </a:lnTo>
                <a:lnTo>
                  <a:pt x="183" y="527"/>
                </a:lnTo>
                <a:lnTo>
                  <a:pt x="339" y="527"/>
                </a:lnTo>
                <a:lnTo>
                  <a:pt x="361" y="528"/>
                </a:lnTo>
                <a:lnTo>
                  <a:pt x="383" y="533"/>
                </a:lnTo>
                <a:lnTo>
                  <a:pt x="403" y="539"/>
                </a:lnTo>
                <a:lnTo>
                  <a:pt x="422" y="550"/>
                </a:lnTo>
                <a:lnTo>
                  <a:pt x="439" y="563"/>
                </a:lnTo>
                <a:lnTo>
                  <a:pt x="453" y="577"/>
                </a:lnTo>
                <a:lnTo>
                  <a:pt x="466" y="594"/>
                </a:lnTo>
                <a:lnTo>
                  <a:pt x="477" y="612"/>
                </a:lnTo>
                <a:lnTo>
                  <a:pt x="488" y="594"/>
                </a:lnTo>
                <a:lnTo>
                  <a:pt x="502" y="577"/>
                </a:lnTo>
                <a:lnTo>
                  <a:pt x="516" y="563"/>
                </a:lnTo>
                <a:lnTo>
                  <a:pt x="533" y="550"/>
                </a:lnTo>
                <a:lnTo>
                  <a:pt x="552" y="539"/>
                </a:lnTo>
                <a:lnTo>
                  <a:pt x="572" y="533"/>
                </a:lnTo>
                <a:lnTo>
                  <a:pt x="594" y="528"/>
                </a:lnTo>
                <a:lnTo>
                  <a:pt x="615" y="527"/>
                </a:lnTo>
                <a:lnTo>
                  <a:pt x="639" y="528"/>
                </a:lnTo>
                <a:lnTo>
                  <a:pt x="659" y="533"/>
                </a:lnTo>
                <a:lnTo>
                  <a:pt x="679" y="539"/>
                </a:lnTo>
                <a:lnTo>
                  <a:pt x="697" y="550"/>
                </a:lnTo>
                <a:lnTo>
                  <a:pt x="714" y="563"/>
                </a:lnTo>
                <a:lnTo>
                  <a:pt x="730" y="577"/>
                </a:lnTo>
                <a:lnTo>
                  <a:pt x="744" y="594"/>
                </a:lnTo>
                <a:lnTo>
                  <a:pt x="755" y="612"/>
                </a:lnTo>
                <a:lnTo>
                  <a:pt x="766" y="594"/>
                </a:lnTo>
                <a:lnTo>
                  <a:pt x="778" y="577"/>
                </a:lnTo>
                <a:lnTo>
                  <a:pt x="793" y="563"/>
                </a:lnTo>
                <a:lnTo>
                  <a:pt x="811" y="550"/>
                </a:lnTo>
                <a:lnTo>
                  <a:pt x="829" y="539"/>
                </a:lnTo>
                <a:lnTo>
                  <a:pt x="849" y="533"/>
                </a:lnTo>
                <a:lnTo>
                  <a:pt x="871" y="528"/>
                </a:lnTo>
                <a:lnTo>
                  <a:pt x="893" y="527"/>
                </a:lnTo>
                <a:lnTo>
                  <a:pt x="911" y="527"/>
                </a:lnTo>
                <a:lnTo>
                  <a:pt x="928" y="530"/>
                </a:lnTo>
                <a:lnTo>
                  <a:pt x="945" y="536"/>
                </a:lnTo>
                <a:lnTo>
                  <a:pt x="962" y="542"/>
                </a:lnTo>
                <a:lnTo>
                  <a:pt x="978" y="536"/>
                </a:lnTo>
                <a:lnTo>
                  <a:pt x="995" y="530"/>
                </a:lnTo>
                <a:lnTo>
                  <a:pt x="1014" y="527"/>
                </a:lnTo>
                <a:lnTo>
                  <a:pt x="1031" y="527"/>
                </a:lnTo>
                <a:lnTo>
                  <a:pt x="1048" y="527"/>
                </a:lnTo>
                <a:lnTo>
                  <a:pt x="1063" y="530"/>
                </a:lnTo>
                <a:lnTo>
                  <a:pt x="1077" y="533"/>
                </a:lnTo>
                <a:lnTo>
                  <a:pt x="1093" y="539"/>
                </a:lnTo>
                <a:lnTo>
                  <a:pt x="1105" y="546"/>
                </a:lnTo>
                <a:lnTo>
                  <a:pt x="1119" y="553"/>
                </a:lnTo>
                <a:lnTo>
                  <a:pt x="1130" y="563"/>
                </a:lnTo>
                <a:lnTo>
                  <a:pt x="1142" y="573"/>
                </a:lnTo>
                <a:lnTo>
                  <a:pt x="1151" y="584"/>
                </a:lnTo>
                <a:lnTo>
                  <a:pt x="1161" y="597"/>
                </a:lnTo>
                <a:lnTo>
                  <a:pt x="1169" y="609"/>
                </a:lnTo>
                <a:lnTo>
                  <a:pt x="1175" y="623"/>
                </a:lnTo>
                <a:lnTo>
                  <a:pt x="1181" y="639"/>
                </a:lnTo>
                <a:lnTo>
                  <a:pt x="1184" y="652"/>
                </a:lnTo>
                <a:lnTo>
                  <a:pt x="1187" y="668"/>
                </a:lnTo>
                <a:lnTo>
                  <a:pt x="1187" y="685"/>
                </a:lnTo>
                <a:lnTo>
                  <a:pt x="1187" y="700"/>
                </a:lnTo>
                <a:lnTo>
                  <a:pt x="1184" y="718"/>
                </a:lnTo>
                <a:lnTo>
                  <a:pt x="1181" y="731"/>
                </a:lnTo>
                <a:lnTo>
                  <a:pt x="1175" y="747"/>
                </a:lnTo>
                <a:lnTo>
                  <a:pt x="1169" y="761"/>
                </a:lnTo>
                <a:lnTo>
                  <a:pt x="1161" y="773"/>
                </a:lnTo>
                <a:lnTo>
                  <a:pt x="1151" y="786"/>
                </a:lnTo>
                <a:lnTo>
                  <a:pt x="1142" y="797"/>
                </a:lnTo>
                <a:lnTo>
                  <a:pt x="1130" y="807"/>
                </a:lnTo>
                <a:lnTo>
                  <a:pt x="1119" y="817"/>
                </a:lnTo>
                <a:lnTo>
                  <a:pt x="1105" y="824"/>
                </a:lnTo>
                <a:lnTo>
                  <a:pt x="1093" y="831"/>
                </a:lnTo>
                <a:lnTo>
                  <a:pt x="1077" y="837"/>
                </a:lnTo>
                <a:lnTo>
                  <a:pt x="1063" y="840"/>
                </a:lnTo>
                <a:lnTo>
                  <a:pt x="1048" y="843"/>
                </a:lnTo>
                <a:lnTo>
                  <a:pt x="1031" y="8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6" name="Freeform 18"/>
          <p:cNvSpPr>
            <a:spLocks/>
          </p:cNvSpPr>
          <p:nvPr userDrawn="1"/>
        </p:nvSpPr>
        <p:spPr bwMode="auto">
          <a:xfrm>
            <a:off x="3222903" y="1076015"/>
            <a:ext cx="1080000" cy="1080000"/>
          </a:xfrm>
          <a:custGeom>
            <a:avLst/>
            <a:gdLst/>
            <a:ahLst/>
            <a:cxnLst/>
            <a:rect l="l" t="t" r="r" b="b"/>
            <a:pathLst>
              <a:path w="2806700" h="2806700">
                <a:moveTo>
                  <a:pt x="1314450" y="1473200"/>
                </a:moveTo>
                <a:lnTo>
                  <a:pt x="1336675" y="1473200"/>
                </a:lnTo>
                <a:lnTo>
                  <a:pt x="1349375" y="1476375"/>
                </a:lnTo>
                <a:lnTo>
                  <a:pt x="1358900" y="1479550"/>
                </a:lnTo>
                <a:lnTo>
                  <a:pt x="1365250" y="1489075"/>
                </a:lnTo>
                <a:lnTo>
                  <a:pt x="1368425" y="1504950"/>
                </a:lnTo>
                <a:lnTo>
                  <a:pt x="1365250" y="1520825"/>
                </a:lnTo>
                <a:lnTo>
                  <a:pt x="1358900" y="1530350"/>
                </a:lnTo>
                <a:lnTo>
                  <a:pt x="1346200" y="1536700"/>
                </a:lnTo>
                <a:lnTo>
                  <a:pt x="1333500" y="1536700"/>
                </a:lnTo>
                <a:lnTo>
                  <a:pt x="1314450" y="1536700"/>
                </a:lnTo>
                <a:close/>
                <a:moveTo>
                  <a:pt x="1749425" y="1438275"/>
                </a:moveTo>
                <a:lnTo>
                  <a:pt x="1749425" y="1666875"/>
                </a:lnTo>
                <a:lnTo>
                  <a:pt x="1790700" y="1666875"/>
                </a:lnTo>
                <a:lnTo>
                  <a:pt x="1790700" y="1508125"/>
                </a:lnTo>
                <a:lnTo>
                  <a:pt x="1793875" y="1508125"/>
                </a:lnTo>
                <a:lnTo>
                  <a:pt x="1847850" y="1666875"/>
                </a:lnTo>
                <a:lnTo>
                  <a:pt x="1901825" y="1666875"/>
                </a:lnTo>
                <a:lnTo>
                  <a:pt x="1901825" y="1438275"/>
                </a:lnTo>
                <a:lnTo>
                  <a:pt x="1857375" y="1438275"/>
                </a:lnTo>
                <a:lnTo>
                  <a:pt x="1857375" y="1593850"/>
                </a:lnTo>
                <a:lnTo>
                  <a:pt x="1803400" y="1438275"/>
                </a:lnTo>
                <a:close/>
                <a:moveTo>
                  <a:pt x="1597025" y="1438275"/>
                </a:moveTo>
                <a:lnTo>
                  <a:pt x="1597025" y="1666875"/>
                </a:lnTo>
                <a:lnTo>
                  <a:pt x="1727200" y="1666875"/>
                </a:lnTo>
                <a:lnTo>
                  <a:pt x="1727200" y="1628775"/>
                </a:lnTo>
                <a:lnTo>
                  <a:pt x="1641475" y="1628775"/>
                </a:lnTo>
                <a:lnTo>
                  <a:pt x="1641475" y="1568450"/>
                </a:lnTo>
                <a:lnTo>
                  <a:pt x="1717675" y="1568450"/>
                </a:lnTo>
                <a:lnTo>
                  <a:pt x="1717675" y="1530350"/>
                </a:lnTo>
                <a:lnTo>
                  <a:pt x="1641475" y="1530350"/>
                </a:lnTo>
                <a:lnTo>
                  <a:pt x="1641475" y="1476375"/>
                </a:lnTo>
                <a:lnTo>
                  <a:pt x="1724025" y="1476375"/>
                </a:lnTo>
                <a:lnTo>
                  <a:pt x="1724025" y="1438275"/>
                </a:lnTo>
                <a:close/>
                <a:moveTo>
                  <a:pt x="1444625" y="1438275"/>
                </a:moveTo>
                <a:lnTo>
                  <a:pt x="1444625" y="1666875"/>
                </a:lnTo>
                <a:lnTo>
                  <a:pt x="1574800" y="1666875"/>
                </a:lnTo>
                <a:lnTo>
                  <a:pt x="1574800" y="1628775"/>
                </a:lnTo>
                <a:lnTo>
                  <a:pt x="1489075" y="1628775"/>
                </a:lnTo>
                <a:lnTo>
                  <a:pt x="1489075" y="1568450"/>
                </a:lnTo>
                <a:lnTo>
                  <a:pt x="1565275" y="1568450"/>
                </a:lnTo>
                <a:lnTo>
                  <a:pt x="1565275" y="1530350"/>
                </a:lnTo>
                <a:lnTo>
                  <a:pt x="1489075" y="1530350"/>
                </a:lnTo>
                <a:lnTo>
                  <a:pt x="1489075" y="1476375"/>
                </a:lnTo>
                <a:lnTo>
                  <a:pt x="1571625" y="1476375"/>
                </a:lnTo>
                <a:lnTo>
                  <a:pt x="1571625" y="1438275"/>
                </a:lnTo>
                <a:close/>
                <a:moveTo>
                  <a:pt x="1266825" y="1438275"/>
                </a:moveTo>
                <a:lnTo>
                  <a:pt x="1266825" y="1666875"/>
                </a:lnTo>
                <a:lnTo>
                  <a:pt x="1314450" y="1666875"/>
                </a:lnTo>
                <a:lnTo>
                  <a:pt x="1314450" y="1568450"/>
                </a:lnTo>
                <a:lnTo>
                  <a:pt x="1336675" y="1568450"/>
                </a:lnTo>
                <a:lnTo>
                  <a:pt x="1349375" y="1571625"/>
                </a:lnTo>
                <a:lnTo>
                  <a:pt x="1358900" y="1577975"/>
                </a:lnTo>
                <a:lnTo>
                  <a:pt x="1362075" y="1587500"/>
                </a:lnTo>
                <a:lnTo>
                  <a:pt x="1365250" y="1597025"/>
                </a:lnTo>
                <a:lnTo>
                  <a:pt x="1365250" y="1641475"/>
                </a:lnTo>
                <a:lnTo>
                  <a:pt x="1368425" y="1654175"/>
                </a:lnTo>
                <a:lnTo>
                  <a:pt x="1371600" y="1666875"/>
                </a:lnTo>
                <a:lnTo>
                  <a:pt x="1422400" y="1666875"/>
                </a:lnTo>
                <a:lnTo>
                  <a:pt x="1422400" y="1663700"/>
                </a:lnTo>
                <a:lnTo>
                  <a:pt x="1416050" y="1660525"/>
                </a:lnTo>
                <a:lnTo>
                  <a:pt x="1412875" y="1651000"/>
                </a:lnTo>
                <a:lnTo>
                  <a:pt x="1412875" y="1622425"/>
                </a:lnTo>
                <a:lnTo>
                  <a:pt x="1409700" y="1606550"/>
                </a:lnTo>
                <a:lnTo>
                  <a:pt x="1409700" y="1593850"/>
                </a:lnTo>
                <a:lnTo>
                  <a:pt x="1406525" y="1577975"/>
                </a:lnTo>
                <a:lnTo>
                  <a:pt x="1400175" y="1565275"/>
                </a:lnTo>
                <a:lnTo>
                  <a:pt x="1390650" y="1558925"/>
                </a:lnTo>
                <a:lnTo>
                  <a:pt x="1374775" y="1552575"/>
                </a:lnTo>
                <a:lnTo>
                  <a:pt x="1390650" y="1546225"/>
                </a:lnTo>
                <a:lnTo>
                  <a:pt x="1403350" y="1533525"/>
                </a:lnTo>
                <a:lnTo>
                  <a:pt x="1409700" y="1517650"/>
                </a:lnTo>
                <a:lnTo>
                  <a:pt x="1412875" y="1498600"/>
                </a:lnTo>
                <a:lnTo>
                  <a:pt x="1412875" y="1482725"/>
                </a:lnTo>
                <a:lnTo>
                  <a:pt x="1409700" y="1473200"/>
                </a:lnTo>
                <a:lnTo>
                  <a:pt x="1403350" y="1460500"/>
                </a:lnTo>
                <a:lnTo>
                  <a:pt x="1397000" y="1454150"/>
                </a:lnTo>
                <a:lnTo>
                  <a:pt x="1387475" y="1447800"/>
                </a:lnTo>
                <a:lnTo>
                  <a:pt x="1377950" y="1441450"/>
                </a:lnTo>
                <a:lnTo>
                  <a:pt x="1365250" y="1441450"/>
                </a:lnTo>
                <a:lnTo>
                  <a:pt x="1352550" y="1438275"/>
                </a:lnTo>
                <a:close/>
                <a:moveTo>
                  <a:pt x="1168400" y="1435100"/>
                </a:moveTo>
                <a:lnTo>
                  <a:pt x="1146175" y="1438275"/>
                </a:lnTo>
                <a:lnTo>
                  <a:pt x="1130300" y="1444625"/>
                </a:lnTo>
                <a:lnTo>
                  <a:pt x="1114425" y="1454150"/>
                </a:lnTo>
                <a:lnTo>
                  <a:pt x="1104900" y="1466850"/>
                </a:lnTo>
                <a:lnTo>
                  <a:pt x="1098550" y="1485900"/>
                </a:lnTo>
                <a:lnTo>
                  <a:pt x="1095375" y="1504950"/>
                </a:lnTo>
                <a:lnTo>
                  <a:pt x="1092200" y="1552575"/>
                </a:lnTo>
                <a:lnTo>
                  <a:pt x="1095375" y="1600200"/>
                </a:lnTo>
                <a:lnTo>
                  <a:pt x="1098550" y="1619250"/>
                </a:lnTo>
                <a:lnTo>
                  <a:pt x="1104900" y="1638300"/>
                </a:lnTo>
                <a:lnTo>
                  <a:pt x="1114425" y="1651000"/>
                </a:lnTo>
                <a:lnTo>
                  <a:pt x="1130300" y="1660525"/>
                </a:lnTo>
                <a:lnTo>
                  <a:pt x="1146175" y="1666875"/>
                </a:lnTo>
                <a:lnTo>
                  <a:pt x="1168400" y="1670050"/>
                </a:lnTo>
                <a:lnTo>
                  <a:pt x="1190625" y="1666875"/>
                </a:lnTo>
                <a:lnTo>
                  <a:pt x="1206500" y="1663700"/>
                </a:lnTo>
                <a:lnTo>
                  <a:pt x="1219200" y="1654175"/>
                </a:lnTo>
                <a:lnTo>
                  <a:pt x="1228725" y="1641475"/>
                </a:lnTo>
                <a:lnTo>
                  <a:pt x="1235075" y="1628775"/>
                </a:lnTo>
                <a:lnTo>
                  <a:pt x="1238250" y="1612900"/>
                </a:lnTo>
                <a:lnTo>
                  <a:pt x="1241425" y="1577975"/>
                </a:lnTo>
                <a:lnTo>
                  <a:pt x="1196975" y="1577975"/>
                </a:lnTo>
                <a:lnTo>
                  <a:pt x="1193800" y="1609725"/>
                </a:lnTo>
                <a:lnTo>
                  <a:pt x="1187450" y="1625600"/>
                </a:lnTo>
                <a:lnTo>
                  <a:pt x="1184275" y="1631950"/>
                </a:lnTo>
                <a:lnTo>
                  <a:pt x="1177925" y="1635125"/>
                </a:lnTo>
                <a:lnTo>
                  <a:pt x="1168400" y="1635125"/>
                </a:lnTo>
                <a:lnTo>
                  <a:pt x="1155700" y="1635125"/>
                </a:lnTo>
                <a:lnTo>
                  <a:pt x="1149350" y="1628775"/>
                </a:lnTo>
                <a:lnTo>
                  <a:pt x="1146175" y="1622425"/>
                </a:lnTo>
                <a:lnTo>
                  <a:pt x="1139825" y="1597025"/>
                </a:lnTo>
                <a:lnTo>
                  <a:pt x="1139825" y="1555750"/>
                </a:lnTo>
                <a:lnTo>
                  <a:pt x="1139825" y="1514475"/>
                </a:lnTo>
                <a:lnTo>
                  <a:pt x="1143000" y="1489075"/>
                </a:lnTo>
                <a:lnTo>
                  <a:pt x="1149350" y="1479550"/>
                </a:lnTo>
                <a:lnTo>
                  <a:pt x="1152525" y="1473200"/>
                </a:lnTo>
                <a:lnTo>
                  <a:pt x="1158875" y="1470025"/>
                </a:lnTo>
                <a:lnTo>
                  <a:pt x="1168400" y="1466850"/>
                </a:lnTo>
                <a:lnTo>
                  <a:pt x="1181100" y="1470025"/>
                </a:lnTo>
                <a:lnTo>
                  <a:pt x="1187450" y="1479550"/>
                </a:lnTo>
                <a:lnTo>
                  <a:pt x="1193800" y="1495425"/>
                </a:lnTo>
                <a:lnTo>
                  <a:pt x="1193800" y="1514475"/>
                </a:lnTo>
                <a:lnTo>
                  <a:pt x="1241425" y="1514475"/>
                </a:lnTo>
                <a:lnTo>
                  <a:pt x="1238250" y="1489075"/>
                </a:lnTo>
                <a:lnTo>
                  <a:pt x="1235075" y="1476375"/>
                </a:lnTo>
                <a:lnTo>
                  <a:pt x="1228725" y="1463675"/>
                </a:lnTo>
                <a:lnTo>
                  <a:pt x="1219200" y="1450975"/>
                </a:lnTo>
                <a:lnTo>
                  <a:pt x="1209675" y="1441450"/>
                </a:lnTo>
                <a:lnTo>
                  <a:pt x="1190625" y="1438275"/>
                </a:lnTo>
                <a:close/>
                <a:moveTo>
                  <a:pt x="981075" y="1435100"/>
                </a:moveTo>
                <a:lnTo>
                  <a:pt x="968375" y="1438275"/>
                </a:lnTo>
                <a:lnTo>
                  <a:pt x="955675" y="1444625"/>
                </a:lnTo>
                <a:lnTo>
                  <a:pt x="946150" y="1450975"/>
                </a:lnTo>
                <a:lnTo>
                  <a:pt x="936625" y="1460500"/>
                </a:lnTo>
                <a:lnTo>
                  <a:pt x="930275" y="1473200"/>
                </a:lnTo>
                <a:lnTo>
                  <a:pt x="927100" y="1485900"/>
                </a:lnTo>
                <a:lnTo>
                  <a:pt x="927100" y="1501775"/>
                </a:lnTo>
                <a:lnTo>
                  <a:pt x="927100" y="1514475"/>
                </a:lnTo>
                <a:lnTo>
                  <a:pt x="930275" y="1527175"/>
                </a:lnTo>
                <a:lnTo>
                  <a:pt x="933450" y="1536700"/>
                </a:lnTo>
                <a:lnTo>
                  <a:pt x="939800" y="1546225"/>
                </a:lnTo>
                <a:lnTo>
                  <a:pt x="949325" y="1552575"/>
                </a:lnTo>
                <a:lnTo>
                  <a:pt x="958850" y="1558925"/>
                </a:lnTo>
                <a:lnTo>
                  <a:pt x="987425" y="1568450"/>
                </a:lnTo>
                <a:lnTo>
                  <a:pt x="1006475" y="1577975"/>
                </a:lnTo>
                <a:lnTo>
                  <a:pt x="1019175" y="1584325"/>
                </a:lnTo>
                <a:lnTo>
                  <a:pt x="1025525" y="1597025"/>
                </a:lnTo>
                <a:lnTo>
                  <a:pt x="1025525" y="1609725"/>
                </a:lnTo>
                <a:lnTo>
                  <a:pt x="1025525" y="1622425"/>
                </a:lnTo>
                <a:lnTo>
                  <a:pt x="1019175" y="1628775"/>
                </a:lnTo>
                <a:lnTo>
                  <a:pt x="1009650" y="1635125"/>
                </a:lnTo>
                <a:lnTo>
                  <a:pt x="1000125" y="1635125"/>
                </a:lnTo>
                <a:lnTo>
                  <a:pt x="984250" y="1635125"/>
                </a:lnTo>
                <a:lnTo>
                  <a:pt x="974725" y="1625600"/>
                </a:lnTo>
                <a:lnTo>
                  <a:pt x="971550" y="1616075"/>
                </a:lnTo>
                <a:lnTo>
                  <a:pt x="968375" y="1600200"/>
                </a:lnTo>
                <a:lnTo>
                  <a:pt x="968375" y="1593850"/>
                </a:lnTo>
                <a:lnTo>
                  <a:pt x="923925" y="1593850"/>
                </a:lnTo>
                <a:lnTo>
                  <a:pt x="923925" y="1603375"/>
                </a:lnTo>
                <a:lnTo>
                  <a:pt x="923925" y="1619250"/>
                </a:lnTo>
                <a:lnTo>
                  <a:pt x="927100" y="1631950"/>
                </a:lnTo>
                <a:lnTo>
                  <a:pt x="933450" y="1644650"/>
                </a:lnTo>
                <a:lnTo>
                  <a:pt x="939800" y="1651000"/>
                </a:lnTo>
                <a:lnTo>
                  <a:pt x="949325" y="1660525"/>
                </a:lnTo>
                <a:lnTo>
                  <a:pt x="962025" y="1663700"/>
                </a:lnTo>
                <a:lnTo>
                  <a:pt x="977900" y="1666875"/>
                </a:lnTo>
                <a:lnTo>
                  <a:pt x="996950" y="1670050"/>
                </a:lnTo>
                <a:lnTo>
                  <a:pt x="1012825" y="1666875"/>
                </a:lnTo>
                <a:lnTo>
                  <a:pt x="1028700" y="1663700"/>
                </a:lnTo>
                <a:lnTo>
                  <a:pt x="1041400" y="1660525"/>
                </a:lnTo>
                <a:lnTo>
                  <a:pt x="1054100" y="1654175"/>
                </a:lnTo>
                <a:lnTo>
                  <a:pt x="1063625" y="1644650"/>
                </a:lnTo>
                <a:lnTo>
                  <a:pt x="1069975" y="1631950"/>
                </a:lnTo>
                <a:lnTo>
                  <a:pt x="1073150" y="1616075"/>
                </a:lnTo>
                <a:lnTo>
                  <a:pt x="1073150" y="1600200"/>
                </a:lnTo>
                <a:lnTo>
                  <a:pt x="1073150" y="1581150"/>
                </a:lnTo>
                <a:lnTo>
                  <a:pt x="1066800" y="1565275"/>
                </a:lnTo>
                <a:lnTo>
                  <a:pt x="1054100" y="1552575"/>
                </a:lnTo>
                <a:lnTo>
                  <a:pt x="1031875" y="1539875"/>
                </a:lnTo>
                <a:lnTo>
                  <a:pt x="996950" y="1524000"/>
                </a:lnTo>
                <a:lnTo>
                  <a:pt x="984250" y="1517650"/>
                </a:lnTo>
                <a:lnTo>
                  <a:pt x="977900" y="1511300"/>
                </a:lnTo>
                <a:lnTo>
                  <a:pt x="974725" y="1504950"/>
                </a:lnTo>
                <a:lnTo>
                  <a:pt x="971550" y="1495425"/>
                </a:lnTo>
                <a:lnTo>
                  <a:pt x="974725" y="1485900"/>
                </a:lnTo>
                <a:lnTo>
                  <a:pt x="977900" y="1476375"/>
                </a:lnTo>
                <a:lnTo>
                  <a:pt x="987425" y="1470025"/>
                </a:lnTo>
                <a:lnTo>
                  <a:pt x="1000125" y="1466850"/>
                </a:lnTo>
                <a:lnTo>
                  <a:pt x="1009650" y="1470025"/>
                </a:lnTo>
                <a:lnTo>
                  <a:pt x="1019175" y="1476375"/>
                </a:lnTo>
                <a:lnTo>
                  <a:pt x="1022350" y="1489075"/>
                </a:lnTo>
                <a:lnTo>
                  <a:pt x="1022350" y="1501775"/>
                </a:lnTo>
                <a:lnTo>
                  <a:pt x="1066800" y="1501775"/>
                </a:lnTo>
                <a:lnTo>
                  <a:pt x="1066800" y="1495425"/>
                </a:lnTo>
                <a:lnTo>
                  <a:pt x="1066800" y="1479550"/>
                </a:lnTo>
                <a:lnTo>
                  <a:pt x="1060450" y="1466850"/>
                </a:lnTo>
                <a:lnTo>
                  <a:pt x="1057275" y="1457325"/>
                </a:lnTo>
                <a:lnTo>
                  <a:pt x="1047750" y="1447800"/>
                </a:lnTo>
                <a:lnTo>
                  <a:pt x="1038225" y="1441450"/>
                </a:lnTo>
                <a:lnTo>
                  <a:pt x="1025525" y="1438275"/>
                </a:lnTo>
                <a:lnTo>
                  <a:pt x="996950" y="1435100"/>
                </a:lnTo>
                <a:close/>
                <a:moveTo>
                  <a:pt x="1885950" y="1206500"/>
                </a:moveTo>
                <a:lnTo>
                  <a:pt x="1860550" y="1254125"/>
                </a:lnTo>
                <a:lnTo>
                  <a:pt x="1806575" y="1266825"/>
                </a:lnTo>
                <a:lnTo>
                  <a:pt x="1844675" y="1304925"/>
                </a:lnTo>
                <a:lnTo>
                  <a:pt x="1838325" y="1358900"/>
                </a:lnTo>
                <a:lnTo>
                  <a:pt x="1885950" y="1336675"/>
                </a:lnTo>
                <a:lnTo>
                  <a:pt x="1936750" y="1358900"/>
                </a:lnTo>
                <a:lnTo>
                  <a:pt x="1930400" y="1304925"/>
                </a:lnTo>
                <a:lnTo>
                  <a:pt x="1965325" y="1263650"/>
                </a:lnTo>
                <a:lnTo>
                  <a:pt x="1911350" y="1254125"/>
                </a:lnTo>
                <a:close/>
                <a:moveTo>
                  <a:pt x="952500" y="1206500"/>
                </a:moveTo>
                <a:lnTo>
                  <a:pt x="927100" y="1254125"/>
                </a:lnTo>
                <a:lnTo>
                  <a:pt x="873125" y="1266825"/>
                </a:lnTo>
                <a:lnTo>
                  <a:pt x="911225" y="1304925"/>
                </a:lnTo>
                <a:lnTo>
                  <a:pt x="904875" y="1358900"/>
                </a:lnTo>
                <a:lnTo>
                  <a:pt x="952500" y="1336675"/>
                </a:lnTo>
                <a:lnTo>
                  <a:pt x="1003300" y="1358900"/>
                </a:lnTo>
                <a:lnTo>
                  <a:pt x="996950" y="1304925"/>
                </a:lnTo>
                <a:lnTo>
                  <a:pt x="1031875" y="1263650"/>
                </a:lnTo>
                <a:lnTo>
                  <a:pt x="981075" y="1254125"/>
                </a:lnTo>
                <a:close/>
                <a:moveTo>
                  <a:pt x="1571625" y="1082675"/>
                </a:moveTo>
                <a:lnTo>
                  <a:pt x="1571625" y="1311275"/>
                </a:lnTo>
                <a:lnTo>
                  <a:pt x="1612900" y="1311275"/>
                </a:lnTo>
                <a:lnTo>
                  <a:pt x="1612900" y="1152525"/>
                </a:lnTo>
                <a:lnTo>
                  <a:pt x="1670050" y="1311275"/>
                </a:lnTo>
                <a:lnTo>
                  <a:pt x="1720850" y="1311275"/>
                </a:lnTo>
                <a:lnTo>
                  <a:pt x="1720850" y="1082675"/>
                </a:lnTo>
                <a:lnTo>
                  <a:pt x="1679575" y="1082675"/>
                </a:lnTo>
                <a:lnTo>
                  <a:pt x="1679575" y="1238250"/>
                </a:lnTo>
                <a:lnTo>
                  <a:pt x="1622425" y="1082675"/>
                </a:lnTo>
                <a:close/>
                <a:moveTo>
                  <a:pt x="1416050" y="1082675"/>
                </a:moveTo>
                <a:lnTo>
                  <a:pt x="1416050" y="1311275"/>
                </a:lnTo>
                <a:lnTo>
                  <a:pt x="1546225" y="1311275"/>
                </a:lnTo>
                <a:lnTo>
                  <a:pt x="1546225" y="1273175"/>
                </a:lnTo>
                <a:lnTo>
                  <a:pt x="1463675" y="1273175"/>
                </a:lnTo>
                <a:lnTo>
                  <a:pt x="1463675" y="1212850"/>
                </a:lnTo>
                <a:lnTo>
                  <a:pt x="1539875" y="1212850"/>
                </a:lnTo>
                <a:lnTo>
                  <a:pt x="1539875" y="1174750"/>
                </a:lnTo>
                <a:lnTo>
                  <a:pt x="1463675" y="1174750"/>
                </a:lnTo>
                <a:lnTo>
                  <a:pt x="1463675" y="1120775"/>
                </a:lnTo>
                <a:lnTo>
                  <a:pt x="1543050" y="1120775"/>
                </a:lnTo>
                <a:lnTo>
                  <a:pt x="1543050" y="1082675"/>
                </a:lnTo>
                <a:close/>
                <a:moveTo>
                  <a:pt x="1263650" y="1082675"/>
                </a:moveTo>
                <a:lnTo>
                  <a:pt x="1263650" y="1311275"/>
                </a:lnTo>
                <a:lnTo>
                  <a:pt x="1393825" y="1311275"/>
                </a:lnTo>
                <a:lnTo>
                  <a:pt x="1393825" y="1273175"/>
                </a:lnTo>
                <a:lnTo>
                  <a:pt x="1311275" y="1273175"/>
                </a:lnTo>
                <a:lnTo>
                  <a:pt x="1311275" y="1212850"/>
                </a:lnTo>
                <a:lnTo>
                  <a:pt x="1387475" y="1212850"/>
                </a:lnTo>
                <a:lnTo>
                  <a:pt x="1387475" y="1174750"/>
                </a:lnTo>
                <a:lnTo>
                  <a:pt x="1311275" y="1174750"/>
                </a:lnTo>
                <a:lnTo>
                  <a:pt x="1311275" y="1120775"/>
                </a:lnTo>
                <a:lnTo>
                  <a:pt x="1390650" y="1120775"/>
                </a:lnTo>
                <a:lnTo>
                  <a:pt x="1390650" y="1082675"/>
                </a:lnTo>
                <a:close/>
                <a:moveTo>
                  <a:pt x="1101725" y="1082675"/>
                </a:moveTo>
                <a:lnTo>
                  <a:pt x="1101725" y="1120775"/>
                </a:lnTo>
                <a:lnTo>
                  <a:pt x="1149350" y="1120775"/>
                </a:lnTo>
                <a:lnTo>
                  <a:pt x="1149350" y="1311275"/>
                </a:lnTo>
                <a:lnTo>
                  <a:pt x="1196975" y="1311275"/>
                </a:lnTo>
                <a:lnTo>
                  <a:pt x="1196975" y="1120775"/>
                </a:lnTo>
                <a:lnTo>
                  <a:pt x="1244600" y="1120775"/>
                </a:lnTo>
                <a:lnTo>
                  <a:pt x="1244600" y="1082675"/>
                </a:lnTo>
                <a:close/>
                <a:moveTo>
                  <a:pt x="904875" y="901700"/>
                </a:moveTo>
                <a:lnTo>
                  <a:pt x="1905000" y="901700"/>
                </a:lnTo>
                <a:lnTo>
                  <a:pt x="1914525" y="942975"/>
                </a:lnTo>
                <a:lnTo>
                  <a:pt x="1930400" y="981075"/>
                </a:lnTo>
                <a:lnTo>
                  <a:pt x="1949450" y="1016000"/>
                </a:lnTo>
                <a:lnTo>
                  <a:pt x="1971675" y="1050925"/>
                </a:lnTo>
                <a:lnTo>
                  <a:pt x="1997075" y="1085850"/>
                </a:lnTo>
                <a:lnTo>
                  <a:pt x="2025650" y="1114425"/>
                </a:lnTo>
                <a:lnTo>
                  <a:pt x="2057400" y="1143000"/>
                </a:lnTo>
                <a:lnTo>
                  <a:pt x="2089150" y="1165225"/>
                </a:lnTo>
                <a:lnTo>
                  <a:pt x="2070100" y="1209675"/>
                </a:lnTo>
                <a:lnTo>
                  <a:pt x="2054225" y="1254125"/>
                </a:lnTo>
                <a:lnTo>
                  <a:pt x="2041525" y="1298575"/>
                </a:lnTo>
                <a:lnTo>
                  <a:pt x="2032000" y="1343025"/>
                </a:lnTo>
                <a:lnTo>
                  <a:pt x="2022475" y="1387475"/>
                </a:lnTo>
                <a:lnTo>
                  <a:pt x="2016125" y="1431925"/>
                </a:lnTo>
                <a:lnTo>
                  <a:pt x="2012950" y="1479550"/>
                </a:lnTo>
                <a:lnTo>
                  <a:pt x="2012950" y="1524000"/>
                </a:lnTo>
                <a:lnTo>
                  <a:pt x="2012950" y="1571625"/>
                </a:lnTo>
                <a:lnTo>
                  <a:pt x="2016125" y="1622425"/>
                </a:lnTo>
                <a:lnTo>
                  <a:pt x="2022475" y="1670050"/>
                </a:lnTo>
                <a:lnTo>
                  <a:pt x="2035175" y="1717675"/>
                </a:lnTo>
                <a:lnTo>
                  <a:pt x="2044700" y="1765300"/>
                </a:lnTo>
                <a:lnTo>
                  <a:pt x="2060575" y="1812925"/>
                </a:lnTo>
                <a:lnTo>
                  <a:pt x="2079625" y="1860550"/>
                </a:lnTo>
                <a:lnTo>
                  <a:pt x="2098675" y="1905000"/>
                </a:lnTo>
                <a:lnTo>
                  <a:pt x="708025" y="1905000"/>
                </a:lnTo>
                <a:lnTo>
                  <a:pt x="727075" y="1860550"/>
                </a:lnTo>
                <a:lnTo>
                  <a:pt x="746125" y="1812925"/>
                </a:lnTo>
                <a:lnTo>
                  <a:pt x="762000" y="1765300"/>
                </a:lnTo>
                <a:lnTo>
                  <a:pt x="774700" y="1717675"/>
                </a:lnTo>
                <a:lnTo>
                  <a:pt x="784225" y="1670050"/>
                </a:lnTo>
                <a:lnTo>
                  <a:pt x="790575" y="1622425"/>
                </a:lnTo>
                <a:lnTo>
                  <a:pt x="793750" y="1571625"/>
                </a:lnTo>
                <a:lnTo>
                  <a:pt x="796925" y="1524000"/>
                </a:lnTo>
                <a:lnTo>
                  <a:pt x="793750" y="1479550"/>
                </a:lnTo>
                <a:lnTo>
                  <a:pt x="790575" y="1431925"/>
                </a:lnTo>
                <a:lnTo>
                  <a:pt x="784225" y="1387475"/>
                </a:lnTo>
                <a:lnTo>
                  <a:pt x="777875" y="1343025"/>
                </a:lnTo>
                <a:lnTo>
                  <a:pt x="765175" y="1298575"/>
                </a:lnTo>
                <a:lnTo>
                  <a:pt x="752475" y="1254125"/>
                </a:lnTo>
                <a:lnTo>
                  <a:pt x="736600" y="1209675"/>
                </a:lnTo>
                <a:lnTo>
                  <a:pt x="717550" y="1165225"/>
                </a:lnTo>
                <a:lnTo>
                  <a:pt x="752475" y="1143000"/>
                </a:lnTo>
                <a:lnTo>
                  <a:pt x="781050" y="1114425"/>
                </a:lnTo>
                <a:lnTo>
                  <a:pt x="809625" y="1085850"/>
                </a:lnTo>
                <a:lnTo>
                  <a:pt x="835025" y="1050925"/>
                </a:lnTo>
                <a:lnTo>
                  <a:pt x="857250" y="1016000"/>
                </a:lnTo>
                <a:lnTo>
                  <a:pt x="876300" y="981075"/>
                </a:lnTo>
                <a:lnTo>
                  <a:pt x="892175" y="942975"/>
                </a:lnTo>
                <a:close/>
                <a:moveTo>
                  <a:pt x="2212641" y="796174"/>
                </a:moveTo>
                <a:lnTo>
                  <a:pt x="2215816" y="821574"/>
                </a:lnTo>
                <a:lnTo>
                  <a:pt x="2222166" y="846974"/>
                </a:lnTo>
                <a:lnTo>
                  <a:pt x="2234866" y="866024"/>
                </a:lnTo>
                <a:lnTo>
                  <a:pt x="2250741" y="885074"/>
                </a:lnTo>
                <a:lnTo>
                  <a:pt x="2269791" y="900949"/>
                </a:lnTo>
                <a:lnTo>
                  <a:pt x="2288841" y="913649"/>
                </a:lnTo>
                <a:lnTo>
                  <a:pt x="2314241" y="919999"/>
                </a:lnTo>
                <a:lnTo>
                  <a:pt x="2339641" y="923174"/>
                </a:lnTo>
                <a:lnTo>
                  <a:pt x="2339641" y="796174"/>
                </a:lnTo>
                <a:close/>
                <a:moveTo>
                  <a:pt x="2053891" y="796174"/>
                </a:moveTo>
                <a:lnTo>
                  <a:pt x="2057066" y="824749"/>
                </a:lnTo>
                <a:lnTo>
                  <a:pt x="2060241" y="850149"/>
                </a:lnTo>
                <a:lnTo>
                  <a:pt x="2066591" y="875549"/>
                </a:lnTo>
                <a:lnTo>
                  <a:pt x="2076116" y="900949"/>
                </a:lnTo>
                <a:lnTo>
                  <a:pt x="2088816" y="926349"/>
                </a:lnTo>
                <a:lnTo>
                  <a:pt x="2101516" y="951749"/>
                </a:lnTo>
                <a:lnTo>
                  <a:pt x="2120566" y="977149"/>
                </a:lnTo>
                <a:lnTo>
                  <a:pt x="2139616" y="996199"/>
                </a:lnTo>
                <a:lnTo>
                  <a:pt x="2158666" y="1015249"/>
                </a:lnTo>
                <a:lnTo>
                  <a:pt x="2184066" y="1034299"/>
                </a:lnTo>
                <a:lnTo>
                  <a:pt x="2209466" y="1046999"/>
                </a:lnTo>
                <a:lnTo>
                  <a:pt x="2234866" y="1059699"/>
                </a:lnTo>
                <a:lnTo>
                  <a:pt x="2260266" y="1069224"/>
                </a:lnTo>
                <a:lnTo>
                  <a:pt x="2285666" y="1075574"/>
                </a:lnTo>
                <a:lnTo>
                  <a:pt x="2311066" y="1078749"/>
                </a:lnTo>
                <a:lnTo>
                  <a:pt x="2339641" y="1081924"/>
                </a:lnTo>
                <a:lnTo>
                  <a:pt x="2339641" y="977149"/>
                </a:lnTo>
                <a:lnTo>
                  <a:pt x="2311066" y="973974"/>
                </a:lnTo>
                <a:lnTo>
                  <a:pt x="2282491" y="967624"/>
                </a:lnTo>
                <a:lnTo>
                  <a:pt x="2257091" y="958099"/>
                </a:lnTo>
                <a:lnTo>
                  <a:pt x="2234866" y="942224"/>
                </a:lnTo>
                <a:lnTo>
                  <a:pt x="2212641" y="923174"/>
                </a:lnTo>
                <a:lnTo>
                  <a:pt x="2193591" y="900949"/>
                </a:lnTo>
                <a:lnTo>
                  <a:pt x="2180891" y="878724"/>
                </a:lnTo>
                <a:lnTo>
                  <a:pt x="2168191" y="853324"/>
                </a:lnTo>
                <a:lnTo>
                  <a:pt x="2161841" y="824749"/>
                </a:lnTo>
                <a:lnTo>
                  <a:pt x="2158666" y="796174"/>
                </a:lnTo>
                <a:close/>
                <a:moveTo>
                  <a:pt x="818816" y="796174"/>
                </a:moveTo>
                <a:lnTo>
                  <a:pt x="815641" y="824749"/>
                </a:lnTo>
                <a:lnTo>
                  <a:pt x="812466" y="850149"/>
                </a:lnTo>
                <a:lnTo>
                  <a:pt x="809291" y="875549"/>
                </a:lnTo>
                <a:lnTo>
                  <a:pt x="799766" y="900949"/>
                </a:lnTo>
                <a:lnTo>
                  <a:pt x="790241" y="926349"/>
                </a:lnTo>
                <a:lnTo>
                  <a:pt x="780716" y="951749"/>
                </a:lnTo>
                <a:lnTo>
                  <a:pt x="764841" y="973974"/>
                </a:lnTo>
                <a:lnTo>
                  <a:pt x="752141" y="996199"/>
                </a:lnTo>
                <a:lnTo>
                  <a:pt x="733091" y="1018424"/>
                </a:lnTo>
                <a:lnTo>
                  <a:pt x="717216" y="1037474"/>
                </a:lnTo>
                <a:lnTo>
                  <a:pt x="694991" y="1056524"/>
                </a:lnTo>
                <a:lnTo>
                  <a:pt x="675941" y="1072399"/>
                </a:lnTo>
                <a:lnTo>
                  <a:pt x="641016" y="1091449"/>
                </a:lnTo>
                <a:lnTo>
                  <a:pt x="612441" y="1107324"/>
                </a:lnTo>
                <a:lnTo>
                  <a:pt x="583866" y="1116849"/>
                </a:lnTo>
                <a:lnTo>
                  <a:pt x="580691" y="1120024"/>
                </a:lnTo>
                <a:lnTo>
                  <a:pt x="574341" y="1120024"/>
                </a:lnTo>
                <a:lnTo>
                  <a:pt x="542591" y="1129549"/>
                </a:lnTo>
                <a:lnTo>
                  <a:pt x="510841" y="1132724"/>
                </a:lnTo>
                <a:lnTo>
                  <a:pt x="479091" y="1135899"/>
                </a:lnTo>
                <a:lnTo>
                  <a:pt x="479091" y="1650249"/>
                </a:lnTo>
                <a:lnTo>
                  <a:pt x="501316" y="1608974"/>
                </a:lnTo>
                <a:lnTo>
                  <a:pt x="520366" y="1567699"/>
                </a:lnTo>
                <a:lnTo>
                  <a:pt x="536241" y="1523249"/>
                </a:lnTo>
                <a:lnTo>
                  <a:pt x="548941" y="1478799"/>
                </a:lnTo>
                <a:lnTo>
                  <a:pt x="561641" y="1434349"/>
                </a:lnTo>
                <a:lnTo>
                  <a:pt x="571166" y="1389899"/>
                </a:lnTo>
                <a:lnTo>
                  <a:pt x="577516" y="1345449"/>
                </a:lnTo>
                <a:lnTo>
                  <a:pt x="580691" y="1297824"/>
                </a:lnTo>
                <a:lnTo>
                  <a:pt x="583866" y="1326399"/>
                </a:lnTo>
                <a:lnTo>
                  <a:pt x="587041" y="1377199"/>
                </a:lnTo>
                <a:lnTo>
                  <a:pt x="583866" y="1427999"/>
                </a:lnTo>
                <a:lnTo>
                  <a:pt x="580691" y="1472449"/>
                </a:lnTo>
                <a:lnTo>
                  <a:pt x="574341" y="1516899"/>
                </a:lnTo>
                <a:lnTo>
                  <a:pt x="564816" y="1561349"/>
                </a:lnTo>
                <a:lnTo>
                  <a:pt x="552116" y="1602624"/>
                </a:lnTo>
                <a:lnTo>
                  <a:pt x="536241" y="1643899"/>
                </a:lnTo>
                <a:lnTo>
                  <a:pt x="520366" y="1685174"/>
                </a:lnTo>
                <a:lnTo>
                  <a:pt x="501316" y="1726449"/>
                </a:lnTo>
                <a:lnTo>
                  <a:pt x="479091" y="1764549"/>
                </a:lnTo>
                <a:lnTo>
                  <a:pt x="479091" y="1942349"/>
                </a:lnTo>
                <a:lnTo>
                  <a:pt x="507666" y="1907424"/>
                </a:lnTo>
                <a:lnTo>
                  <a:pt x="536241" y="1869324"/>
                </a:lnTo>
                <a:lnTo>
                  <a:pt x="561641" y="1831224"/>
                </a:lnTo>
                <a:lnTo>
                  <a:pt x="583866" y="1793124"/>
                </a:lnTo>
                <a:lnTo>
                  <a:pt x="606091" y="1748674"/>
                </a:lnTo>
                <a:lnTo>
                  <a:pt x="625141" y="1704224"/>
                </a:lnTo>
                <a:lnTo>
                  <a:pt x="644191" y="1656599"/>
                </a:lnTo>
                <a:lnTo>
                  <a:pt x="660066" y="1608974"/>
                </a:lnTo>
                <a:lnTo>
                  <a:pt x="669591" y="1561349"/>
                </a:lnTo>
                <a:lnTo>
                  <a:pt x="679116" y="1510549"/>
                </a:lnTo>
                <a:lnTo>
                  <a:pt x="685466" y="1462924"/>
                </a:lnTo>
                <a:lnTo>
                  <a:pt x="688641" y="1412124"/>
                </a:lnTo>
                <a:lnTo>
                  <a:pt x="694991" y="1469274"/>
                </a:lnTo>
                <a:lnTo>
                  <a:pt x="698166" y="1523249"/>
                </a:lnTo>
                <a:lnTo>
                  <a:pt x="694991" y="1574049"/>
                </a:lnTo>
                <a:lnTo>
                  <a:pt x="691816" y="1621674"/>
                </a:lnTo>
                <a:lnTo>
                  <a:pt x="682291" y="1672474"/>
                </a:lnTo>
                <a:lnTo>
                  <a:pt x="672766" y="1720099"/>
                </a:lnTo>
                <a:lnTo>
                  <a:pt x="656891" y="1767724"/>
                </a:lnTo>
                <a:lnTo>
                  <a:pt x="641016" y="1815349"/>
                </a:lnTo>
                <a:lnTo>
                  <a:pt x="618791" y="1859799"/>
                </a:lnTo>
                <a:lnTo>
                  <a:pt x="596566" y="1904249"/>
                </a:lnTo>
                <a:lnTo>
                  <a:pt x="561641" y="1958224"/>
                </a:lnTo>
                <a:lnTo>
                  <a:pt x="523541" y="2009024"/>
                </a:lnTo>
                <a:lnTo>
                  <a:pt x="2295191" y="2009024"/>
                </a:lnTo>
                <a:lnTo>
                  <a:pt x="2257091" y="1958224"/>
                </a:lnTo>
                <a:lnTo>
                  <a:pt x="2222166" y="1904249"/>
                </a:lnTo>
                <a:lnTo>
                  <a:pt x="2199941" y="1859799"/>
                </a:lnTo>
                <a:lnTo>
                  <a:pt x="2177716" y="1815349"/>
                </a:lnTo>
                <a:lnTo>
                  <a:pt x="2161841" y="1767724"/>
                </a:lnTo>
                <a:lnTo>
                  <a:pt x="2145966" y="1720099"/>
                </a:lnTo>
                <a:lnTo>
                  <a:pt x="2136441" y="1672474"/>
                </a:lnTo>
                <a:lnTo>
                  <a:pt x="2126916" y="1621674"/>
                </a:lnTo>
                <a:lnTo>
                  <a:pt x="2123741" y="1574049"/>
                </a:lnTo>
                <a:lnTo>
                  <a:pt x="2120566" y="1523249"/>
                </a:lnTo>
                <a:lnTo>
                  <a:pt x="2123741" y="1469274"/>
                </a:lnTo>
                <a:lnTo>
                  <a:pt x="2130091" y="1412124"/>
                </a:lnTo>
                <a:lnTo>
                  <a:pt x="2133266" y="1462924"/>
                </a:lnTo>
                <a:lnTo>
                  <a:pt x="2139616" y="1510549"/>
                </a:lnTo>
                <a:lnTo>
                  <a:pt x="2149141" y="1561349"/>
                </a:lnTo>
                <a:lnTo>
                  <a:pt x="2161841" y="1608974"/>
                </a:lnTo>
                <a:lnTo>
                  <a:pt x="2174541" y="1656599"/>
                </a:lnTo>
                <a:lnTo>
                  <a:pt x="2193591" y="1701049"/>
                </a:lnTo>
                <a:lnTo>
                  <a:pt x="2212641" y="1748674"/>
                </a:lnTo>
                <a:lnTo>
                  <a:pt x="2234866" y="1793124"/>
                </a:lnTo>
                <a:lnTo>
                  <a:pt x="2257091" y="1831224"/>
                </a:lnTo>
                <a:lnTo>
                  <a:pt x="2282491" y="1869324"/>
                </a:lnTo>
                <a:lnTo>
                  <a:pt x="2311066" y="1907424"/>
                </a:lnTo>
                <a:lnTo>
                  <a:pt x="2339641" y="1942349"/>
                </a:lnTo>
                <a:lnTo>
                  <a:pt x="2339641" y="1764549"/>
                </a:lnTo>
                <a:lnTo>
                  <a:pt x="2317416" y="1726449"/>
                </a:lnTo>
                <a:lnTo>
                  <a:pt x="2298366" y="1685174"/>
                </a:lnTo>
                <a:lnTo>
                  <a:pt x="2282491" y="1643899"/>
                </a:lnTo>
                <a:lnTo>
                  <a:pt x="2266616" y="1602624"/>
                </a:lnTo>
                <a:lnTo>
                  <a:pt x="2257091" y="1561349"/>
                </a:lnTo>
                <a:lnTo>
                  <a:pt x="2247566" y="1516899"/>
                </a:lnTo>
                <a:lnTo>
                  <a:pt x="2238041" y="1472449"/>
                </a:lnTo>
                <a:lnTo>
                  <a:pt x="2234866" y="1427999"/>
                </a:lnTo>
                <a:lnTo>
                  <a:pt x="2234866" y="1326399"/>
                </a:lnTo>
                <a:lnTo>
                  <a:pt x="2238041" y="1297824"/>
                </a:lnTo>
                <a:lnTo>
                  <a:pt x="2241216" y="1345449"/>
                </a:lnTo>
                <a:lnTo>
                  <a:pt x="2247566" y="1389899"/>
                </a:lnTo>
                <a:lnTo>
                  <a:pt x="2257091" y="1434349"/>
                </a:lnTo>
                <a:lnTo>
                  <a:pt x="2269791" y="1478799"/>
                </a:lnTo>
                <a:lnTo>
                  <a:pt x="2282491" y="1523249"/>
                </a:lnTo>
                <a:lnTo>
                  <a:pt x="2298366" y="1567699"/>
                </a:lnTo>
                <a:lnTo>
                  <a:pt x="2317416" y="1608974"/>
                </a:lnTo>
                <a:lnTo>
                  <a:pt x="2339641" y="1650249"/>
                </a:lnTo>
                <a:lnTo>
                  <a:pt x="2339641" y="1240674"/>
                </a:lnTo>
                <a:lnTo>
                  <a:pt x="2339641" y="1237499"/>
                </a:lnTo>
                <a:lnTo>
                  <a:pt x="2339641" y="1135899"/>
                </a:lnTo>
                <a:lnTo>
                  <a:pt x="2307891" y="1132724"/>
                </a:lnTo>
                <a:lnTo>
                  <a:pt x="2276141" y="1129549"/>
                </a:lnTo>
                <a:lnTo>
                  <a:pt x="2244391" y="1120024"/>
                </a:lnTo>
                <a:lnTo>
                  <a:pt x="2238041" y="1120024"/>
                </a:lnTo>
                <a:lnTo>
                  <a:pt x="2234866" y="1116849"/>
                </a:lnTo>
                <a:lnTo>
                  <a:pt x="2206291" y="1107324"/>
                </a:lnTo>
                <a:lnTo>
                  <a:pt x="2177716" y="1091449"/>
                </a:lnTo>
                <a:lnTo>
                  <a:pt x="2145966" y="1072399"/>
                </a:lnTo>
                <a:lnTo>
                  <a:pt x="2123741" y="1056524"/>
                </a:lnTo>
                <a:lnTo>
                  <a:pt x="2104691" y="1037474"/>
                </a:lnTo>
                <a:lnTo>
                  <a:pt x="2085641" y="1018424"/>
                </a:lnTo>
                <a:lnTo>
                  <a:pt x="2066591" y="996199"/>
                </a:lnTo>
                <a:lnTo>
                  <a:pt x="2053891" y="973974"/>
                </a:lnTo>
                <a:lnTo>
                  <a:pt x="2038016" y="951749"/>
                </a:lnTo>
                <a:lnTo>
                  <a:pt x="2028491" y="926349"/>
                </a:lnTo>
                <a:lnTo>
                  <a:pt x="2018966" y="900949"/>
                </a:lnTo>
                <a:lnTo>
                  <a:pt x="2012616" y="875549"/>
                </a:lnTo>
                <a:lnTo>
                  <a:pt x="2006266" y="850149"/>
                </a:lnTo>
                <a:lnTo>
                  <a:pt x="2003091" y="824749"/>
                </a:lnTo>
                <a:lnTo>
                  <a:pt x="2003091" y="796174"/>
                </a:lnTo>
                <a:lnTo>
                  <a:pt x="1898316" y="796174"/>
                </a:lnTo>
                <a:lnTo>
                  <a:pt x="920416" y="796174"/>
                </a:lnTo>
                <a:close/>
                <a:moveTo>
                  <a:pt x="660066" y="796174"/>
                </a:moveTo>
                <a:lnTo>
                  <a:pt x="656891" y="824749"/>
                </a:lnTo>
                <a:lnTo>
                  <a:pt x="650541" y="853324"/>
                </a:lnTo>
                <a:lnTo>
                  <a:pt x="641016" y="878724"/>
                </a:lnTo>
                <a:lnTo>
                  <a:pt x="625141" y="900949"/>
                </a:lnTo>
                <a:lnTo>
                  <a:pt x="606091" y="923174"/>
                </a:lnTo>
                <a:lnTo>
                  <a:pt x="583866" y="942224"/>
                </a:lnTo>
                <a:lnTo>
                  <a:pt x="561641" y="958099"/>
                </a:lnTo>
                <a:lnTo>
                  <a:pt x="536241" y="967624"/>
                </a:lnTo>
                <a:lnTo>
                  <a:pt x="507666" y="973974"/>
                </a:lnTo>
                <a:lnTo>
                  <a:pt x="479091" y="977149"/>
                </a:lnTo>
                <a:lnTo>
                  <a:pt x="479091" y="1081924"/>
                </a:lnTo>
                <a:lnTo>
                  <a:pt x="507666" y="1078749"/>
                </a:lnTo>
                <a:lnTo>
                  <a:pt x="533066" y="1075574"/>
                </a:lnTo>
                <a:lnTo>
                  <a:pt x="558466" y="1069224"/>
                </a:lnTo>
                <a:lnTo>
                  <a:pt x="583866" y="1059699"/>
                </a:lnTo>
                <a:lnTo>
                  <a:pt x="609266" y="1046999"/>
                </a:lnTo>
                <a:lnTo>
                  <a:pt x="634666" y="1034299"/>
                </a:lnTo>
                <a:lnTo>
                  <a:pt x="660066" y="1015249"/>
                </a:lnTo>
                <a:lnTo>
                  <a:pt x="679116" y="996199"/>
                </a:lnTo>
                <a:lnTo>
                  <a:pt x="698166" y="977149"/>
                </a:lnTo>
                <a:lnTo>
                  <a:pt x="717216" y="951749"/>
                </a:lnTo>
                <a:lnTo>
                  <a:pt x="733091" y="926349"/>
                </a:lnTo>
                <a:lnTo>
                  <a:pt x="742616" y="900949"/>
                </a:lnTo>
                <a:lnTo>
                  <a:pt x="752141" y="875549"/>
                </a:lnTo>
                <a:lnTo>
                  <a:pt x="758491" y="850149"/>
                </a:lnTo>
                <a:lnTo>
                  <a:pt x="761666" y="824749"/>
                </a:lnTo>
                <a:lnTo>
                  <a:pt x="764841" y="796174"/>
                </a:lnTo>
                <a:close/>
                <a:moveTo>
                  <a:pt x="479091" y="796174"/>
                </a:moveTo>
                <a:lnTo>
                  <a:pt x="479091" y="923174"/>
                </a:lnTo>
                <a:lnTo>
                  <a:pt x="504491" y="919999"/>
                </a:lnTo>
                <a:lnTo>
                  <a:pt x="529891" y="913649"/>
                </a:lnTo>
                <a:lnTo>
                  <a:pt x="548941" y="900949"/>
                </a:lnTo>
                <a:lnTo>
                  <a:pt x="567991" y="885074"/>
                </a:lnTo>
                <a:lnTo>
                  <a:pt x="583866" y="866024"/>
                </a:lnTo>
                <a:lnTo>
                  <a:pt x="596566" y="846974"/>
                </a:lnTo>
                <a:lnTo>
                  <a:pt x="602916" y="821574"/>
                </a:lnTo>
                <a:lnTo>
                  <a:pt x="606091" y="796174"/>
                </a:lnTo>
                <a:close/>
                <a:moveTo>
                  <a:pt x="1403350" y="0"/>
                </a:moveTo>
                <a:cubicBezTo>
                  <a:pt x="2178399" y="0"/>
                  <a:pt x="2806700" y="628301"/>
                  <a:pt x="2806700" y="1403350"/>
                </a:cubicBezTo>
                <a:cubicBezTo>
                  <a:pt x="2806700" y="2178399"/>
                  <a:pt x="2178399" y="2806700"/>
                  <a:pt x="1403350" y="2806700"/>
                </a:cubicBezTo>
                <a:cubicBezTo>
                  <a:pt x="628301" y="2806700"/>
                  <a:pt x="0" y="2178399"/>
                  <a:pt x="0" y="1403350"/>
                </a:cubicBezTo>
                <a:cubicBezTo>
                  <a:pt x="0" y="628301"/>
                  <a:pt x="628301" y="0"/>
                  <a:pt x="140335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229"/>
          <p:cNvSpPr>
            <a:spLocks noEditPoints="1"/>
          </p:cNvSpPr>
          <p:nvPr userDrawn="1"/>
        </p:nvSpPr>
        <p:spPr bwMode="auto">
          <a:xfrm>
            <a:off x="4700206" y="1076015"/>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2 w 726"/>
              <a:gd name="T29" fmla="*/ 132 h 726"/>
              <a:gd name="T30" fmla="*/ 536 w 726"/>
              <a:gd name="T31" fmla="*/ 44 h 726"/>
              <a:gd name="T32" fmla="*/ 400 w 726"/>
              <a:gd name="T33" fmla="*/ 2 h 726"/>
              <a:gd name="T34" fmla="*/ 526 w 726"/>
              <a:gd name="T35" fmla="*/ 510 h 726"/>
              <a:gd name="T36" fmla="*/ 514 w 726"/>
              <a:gd name="T37" fmla="*/ 518 h 726"/>
              <a:gd name="T38" fmla="*/ 202 w 726"/>
              <a:gd name="T39" fmla="*/ 514 h 726"/>
              <a:gd name="T40" fmla="*/ 200 w 726"/>
              <a:gd name="T41" fmla="*/ 306 h 726"/>
              <a:gd name="T42" fmla="*/ 200 w 726"/>
              <a:gd name="T43" fmla="*/ 220 h 726"/>
              <a:gd name="T44" fmla="*/ 202 w 726"/>
              <a:gd name="T45" fmla="*/ 210 h 726"/>
              <a:gd name="T46" fmla="*/ 208 w 726"/>
              <a:gd name="T47" fmla="*/ 208 h 726"/>
              <a:gd name="T48" fmla="*/ 522 w 726"/>
              <a:gd name="T49" fmla="*/ 210 h 726"/>
              <a:gd name="T50" fmla="*/ 524 w 726"/>
              <a:gd name="T51" fmla="*/ 212 h 726"/>
              <a:gd name="T52" fmla="*/ 526 w 726"/>
              <a:gd name="T53" fmla="*/ 506 h 726"/>
              <a:gd name="T54" fmla="*/ 294 w 726"/>
              <a:gd name="T55" fmla="*/ 274 h 726"/>
              <a:gd name="T56" fmla="*/ 304 w 726"/>
              <a:gd name="T57" fmla="*/ 260 h 726"/>
              <a:gd name="T58" fmla="*/ 294 w 726"/>
              <a:gd name="T59" fmla="*/ 246 h 726"/>
              <a:gd name="T60" fmla="*/ 278 w 726"/>
              <a:gd name="T61" fmla="*/ 250 h 726"/>
              <a:gd name="T62" fmla="*/ 274 w 726"/>
              <a:gd name="T63" fmla="*/ 266 h 726"/>
              <a:gd name="T64" fmla="*/ 438 w 726"/>
              <a:gd name="T65" fmla="*/ 276 h 726"/>
              <a:gd name="T66" fmla="*/ 448 w 726"/>
              <a:gd name="T67" fmla="*/ 270 h 726"/>
              <a:gd name="T68" fmla="*/ 452 w 726"/>
              <a:gd name="T69" fmla="*/ 254 h 726"/>
              <a:gd name="T70" fmla="*/ 438 w 726"/>
              <a:gd name="T71" fmla="*/ 244 h 726"/>
              <a:gd name="T72" fmla="*/ 422 w 726"/>
              <a:gd name="T73" fmla="*/ 260 h 726"/>
              <a:gd name="T74" fmla="*/ 426 w 726"/>
              <a:gd name="T75" fmla="*/ 270 h 726"/>
              <a:gd name="T76" fmla="*/ 502 w 726"/>
              <a:gd name="T77" fmla="*/ 494 h 726"/>
              <a:gd name="T78" fmla="*/ 360 w 726"/>
              <a:gd name="T79" fmla="*/ 440 h 726"/>
              <a:gd name="T80" fmla="*/ 410 w 726"/>
              <a:gd name="T81" fmla="*/ 364 h 726"/>
              <a:gd name="T82" fmla="*/ 404 w 726"/>
              <a:gd name="T83" fmla="*/ 352 h 726"/>
              <a:gd name="T84" fmla="*/ 390 w 726"/>
              <a:gd name="T85" fmla="*/ 358 h 726"/>
              <a:gd name="T86" fmla="*/ 362 w 726"/>
              <a:gd name="T87" fmla="*/ 370 h 726"/>
              <a:gd name="T88" fmla="*/ 370 w 726"/>
              <a:gd name="T89" fmla="*/ 342 h 726"/>
              <a:gd name="T90" fmla="*/ 398 w 726"/>
              <a:gd name="T91" fmla="*/ 332 h 726"/>
              <a:gd name="T92" fmla="*/ 426 w 726"/>
              <a:gd name="T93" fmla="*/ 340 h 726"/>
              <a:gd name="T94" fmla="*/ 436 w 726"/>
              <a:gd name="T95" fmla="*/ 366 h 726"/>
              <a:gd name="T96" fmla="*/ 424 w 726"/>
              <a:gd name="T97" fmla="*/ 398 h 726"/>
              <a:gd name="T98" fmla="*/ 438 w 726"/>
              <a:gd name="T99" fmla="*/ 444 h 726"/>
              <a:gd name="T100" fmla="*/ 288 w 726"/>
              <a:gd name="T101" fmla="*/ 354 h 726"/>
              <a:gd name="T102" fmla="*/ 338 w 726"/>
              <a:gd name="T103" fmla="*/ 334 h 726"/>
              <a:gd name="T104" fmla="*/ 310 w 726"/>
              <a:gd name="T105" fmla="*/ 36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6" y="506"/>
                </a:moveTo>
                <a:lnTo>
                  <a:pt x="526" y="506"/>
                </a:lnTo>
                <a:lnTo>
                  <a:pt x="526" y="510"/>
                </a:lnTo>
                <a:lnTo>
                  <a:pt x="524" y="514"/>
                </a:lnTo>
                <a:lnTo>
                  <a:pt x="520" y="518"/>
                </a:lnTo>
                <a:lnTo>
                  <a:pt x="514" y="518"/>
                </a:lnTo>
                <a:lnTo>
                  <a:pt x="212" y="518"/>
                </a:lnTo>
                <a:lnTo>
                  <a:pt x="206" y="518"/>
                </a:lnTo>
                <a:lnTo>
                  <a:pt x="202" y="514"/>
                </a:lnTo>
                <a:lnTo>
                  <a:pt x="200" y="510"/>
                </a:lnTo>
                <a:lnTo>
                  <a:pt x="200" y="506"/>
                </a:lnTo>
                <a:lnTo>
                  <a:pt x="200" y="306"/>
                </a:lnTo>
                <a:lnTo>
                  <a:pt x="200" y="220"/>
                </a:lnTo>
                <a:lnTo>
                  <a:pt x="200" y="216"/>
                </a:lnTo>
                <a:lnTo>
                  <a:pt x="202" y="212"/>
                </a:lnTo>
                <a:lnTo>
                  <a:pt x="202" y="210"/>
                </a:lnTo>
                <a:lnTo>
                  <a:pt x="204" y="210"/>
                </a:lnTo>
                <a:lnTo>
                  <a:pt x="208" y="208"/>
                </a:lnTo>
                <a:lnTo>
                  <a:pt x="212" y="208"/>
                </a:lnTo>
                <a:lnTo>
                  <a:pt x="514" y="208"/>
                </a:lnTo>
                <a:lnTo>
                  <a:pt x="522" y="210"/>
                </a:lnTo>
                <a:lnTo>
                  <a:pt x="524" y="210"/>
                </a:lnTo>
                <a:lnTo>
                  <a:pt x="524" y="212"/>
                </a:lnTo>
                <a:lnTo>
                  <a:pt x="526" y="216"/>
                </a:lnTo>
                <a:lnTo>
                  <a:pt x="526" y="220"/>
                </a:lnTo>
                <a:lnTo>
                  <a:pt x="526" y="506"/>
                </a:lnTo>
                <a:close/>
                <a:moveTo>
                  <a:pt x="288" y="276"/>
                </a:moveTo>
                <a:lnTo>
                  <a:pt x="288" y="276"/>
                </a:lnTo>
                <a:lnTo>
                  <a:pt x="294" y="274"/>
                </a:lnTo>
                <a:lnTo>
                  <a:pt x="300" y="270"/>
                </a:lnTo>
                <a:lnTo>
                  <a:pt x="302" y="266"/>
                </a:lnTo>
                <a:lnTo>
                  <a:pt x="304" y="260"/>
                </a:lnTo>
                <a:lnTo>
                  <a:pt x="302" y="254"/>
                </a:lnTo>
                <a:lnTo>
                  <a:pt x="300" y="250"/>
                </a:lnTo>
                <a:lnTo>
                  <a:pt x="294" y="246"/>
                </a:lnTo>
                <a:lnTo>
                  <a:pt x="288" y="244"/>
                </a:lnTo>
                <a:lnTo>
                  <a:pt x="282" y="246"/>
                </a:lnTo>
                <a:lnTo>
                  <a:pt x="278" y="250"/>
                </a:lnTo>
                <a:lnTo>
                  <a:pt x="274" y="254"/>
                </a:lnTo>
                <a:lnTo>
                  <a:pt x="272" y="260"/>
                </a:lnTo>
                <a:lnTo>
                  <a:pt x="274" y="266"/>
                </a:lnTo>
                <a:lnTo>
                  <a:pt x="278" y="270"/>
                </a:lnTo>
                <a:lnTo>
                  <a:pt x="282" y="274"/>
                </a:lnTo>
                <a:lnTo>
                  <a:pt x="288" y="276"/>
                </a:lnTo>
                <a:close/>
                <a:moveTo>
                  <a:pt x="438" y="276"/>
                </a:moveTo>
                <a:lnTo>
                  <a:pt x="438" y="276"/>
                </a:lnTo>
                <a:lnTo>
                  <a:pt x="444" y="274"/>
                </a:lnTo>
                <a:lnTo>
                  <a:pt x="448" y="270"/>
                </a:lnTo>
                <a:lnTo>
                  <a:pt x="452" y="266"/>
                </a:lnTo>
                <a:lnTo>
                  <a:pt x="454" y="260"/>
                </a:lnTo>
                <a:lnTo>
                  <a:pt x="452" y="254"/>
                </a:lnTo>
                <a:lnTo>
                  <a:pt x="448" y="250"/>
                </a:lnTo>
                <a:lnTo>
                  <a:pt x="444" y="246"/>
                </a:lnTo>
                <a:lnTo>
                  <a:pt x="438" y="244"/>
                </a:lnTo>
                <a:lnTo>
                  <a:pt x="432" y="246"/>
                </a:lnTo>
                <a:lnTo>
                  <a:pt x="426" y="250"/>
                </a:lnTo>
                <a:lnTo>
                  <a:pt x="424" y="254"/>
                </a:lnTo>
                <a:lnTo>
                  <a:pt x="422" y="260"/>
                </a:lnTo>
                <a:lnTo>
                  <a:pt x="424" y="266"/>
                </a:lnTo>
                <a:lnTo>
                  <a:pt x="426" y="270"/>
                </a:lnTo>
                <a:lnTo>
                  <a:pt x="432" y="274"/>
                </a:lnTo>
                <a:lnTo>
                  <a:pt x="438" y="276"/>
                </a:lnTo>
                <a:close/>
                <a:moveTo>
                  <a:pt x="224" y="494"/>
                </a:moveTo>
                <a:lnTo>
                  <a:pt x="502" y="494"/>
                </a:lnTo>
                <a:lnTo>
                  <a:pt x="502" y="306"/>
                </a:lnTo>
                <a:lnTo>
                  <a:pt x="224" y="306"/>
                </a:lnTo>
                <a:lnTo>
                  <a:pt x="224" y="494"/>
                </a:lnTo>
                <a:close/>
                <a:moveTo>
                  <a:pt x="360" y="440"/>
                </a:moveTo>
                <a:lnTo>
                  <a:pt x="360" y="440"/>
                </a:lnTo>
                <a:lnTo>
                  <a:pt x="400" y="388"/>
                </a:lnTo>
                <a:lnTo>
                  <a:pt x="408" y="374"/>
                </a:lnTo>
                <a:lnTo>
                  <a:pt x="410" y="364"/>
                </a:lnTo>
                <a:lnTo>
                  <a:pt x="410" y="358"/>
                </a:lnTo>
                <a:lnTo>
                  <a:pt x="408" y="354"/>
                </a:lnTo>
                <a:lnTo>
                  <a:pt x="404" y="352"/>
                </a:lnTo>
                <a:lnTo>
                  <a:pt x="400" y="350"/>
                </a:lnTo>
                <a:lnTo>
                  <a:pt x="394" y="352"/>
                </a:lnTo>
                <a:lnTo>
                  <a:pt x="390" y="358"/>
                </a:lnTo>
                <a:lnTo>
                  <a:pt x="390" y="364"/>
                </a:lnTo>
                <a:lnTo>
                  <a:pt x="388" y="370"/>
                </a:lnTo>
                <a:lnTo>
                  <a:pt x="362" y="370"/>
                </a:lnTo>
                <a:lnTo>
                  <a:pt x="362" y="360"/>
                </a:lnTo>
                <a:lnTo>
                  <a:pt x="364" y="354"/>
                </a:lnTo>
                <a:lnTo>
                  <a:pt x="366" y="346"/>
                </a:lnTo>
                <a:lnTo>
                  <a:pt x="370" y="342"/>
                </a:lnTo>
                <a:lnTo>
                  <a:pt x="376" y="338"/>
                </a:lnTo>
                <a:lnTo>
                  <a:pt x="382" y="334"/>
                </a:lnTo>
                <a:lnTo>
                  <a:pt x="390" y="332"/>
                </a:lnTo>
                <a:lnTo>
                  <a:pt x="398" y="332"/>
                </a:lnTo>
                <a:lnTo>
                  <a:pt x="414" y="334"/>
                </a:lnTo>
                <a:lnTo>
                  <a:pt x="420" y="336"/>
                </a:lnTo>
                <a:lnTo>
                  <a:pt x="426" y="340"/>
                </a:lnTo>
                <a:lnTo>
                  <a:pt x="430" y="344"/>
                </a:lnTo>
                <a:lnTo>
                  <a:pt x="434" y="350"/>
                </a:lnTo>
                <a:lnTo>
                  <a:pt x="436" y="356"/>
                </a:lnTo>
                <a:lnTo>
                  <a:pt x="436" y="366"/>
                </a:lnTo>
                <a:lnTo>
                  <a:pt x="434" y="376"/>
                </a:lnTo>
                <a:lnTo>
                  <a:pt x="430" y="388"/>
                </a:lnTo>
                <a:lnTo>
                  <a:pt x="424" y="398"/>
                </a:lnTo>
                <a:lnTo>
                  <a:pt x="418" y="410"/>
                </a:lnTo>
                <a:lnTo>
                  <a:pt x="402" y="428"/>
                </a:lnTo>
                <a:lnTo>
                  <a:pt x="388" y="444"/>
                </a:lnTo>
                <a:lnTo>
                  <a:pt x="438" y="444"/>
                </a:lnTo>
                <a:lnTo>
                  <a:pt x="438" y="464"/>
                </a:lnTo>
                <a:lnTo>
                  <a:pt x="360" y="464"/>
                </a:lnTo>
                <a:lnTo>
                  <a:pt x="360" y="440"/>
                </a:lnTo>
                <a:close/>
                <a:moveTo>
                  <a:pt x="288" y="354"/>
                </a:moveTo>
                <a:lnTo>
                  <a:pt x="288" y="354"/>
                </a:lnTo>
                <a:lnTo>
                  <a:pt x="302" y="344"/>
                </a:lnTo>
                <a:lnTo>
                  <a:pt x="314" y="334"/>
                </a:lnTo>
                <a:lnTo>
                  <a:pt x="338" y="334"/>
                </a:lnTo>
                <a:lnTo>
                  <a:pt x="338" y="464"/>
                </a:lnTo>
                <a:lnTo>
                  <a:pt x="310" y="464"/>
                </a:lnTo>
                <a:lnTo>
                  <a:pt x="310" y="364"/>
                </a:lnTo>
                <a:lnTo>
                  <a:pt x="300" y="372"/>
                </a:lnTo>
                <a:lnTo>
                  <a:pt x="288" y="378"/>
                </a:lnTo>
                <a:lnTo>
                  <a:pt x="288" y="3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8" name="Freeform 364"/>
          <p:cNvSpPr>
            <a:spLocks noEditPoints="1"/>
          </p:cNvSpPr>
          <p:nvPr userDrawn="1"/>
        </p:nvSpPr>
        <p:spPr bwMode="auto">
          <a:xfrm>
            <a:off x="6177509" y="107601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2 w 726"/>
              <a:gd name="T11" fmla="*/ 726 h 726"/>
              <a:gd name="T12" fmla="*/ 566 w 726"/>
              <a:gd name="T13" fmla="*/ 664 h 726"/>
              <a:gd name="T14" fmla="*/ 698 w 726"/>
              <a:gd name="T15" fmla="*/ 504 h 726"/>
              <a:gd name="T16" fmla="*/ 724 w 726"/>
              <a:gd name="T17" fmla="*/ 326 h 726"/>
              <a:gd name="T18" fmla="*/ 642 w 726"/>
              <a:gd name="T19" fmla="*/ 132 h 726"/>
              <a:gd name="T20" fmla="*/ 470 w 726"/>
              <a:gd name="T21" fmla="*/ 16 h 726"/>
              <a:gd name="T22" fmla="*/ 526 w 726"/>
              <a:gd name="T23" fmla="*/ 510 h 726"/>
              <a:gd name="T24" fmla="*/ 212 w 726"/>
              <a:gd name="T25" fmla="*/ 518 h 726"/>
              <a:gd name="T26" fmla="*/ 198 w 726"/>
              <a:gd name="T27" fmla="*/ 306 h 726"/>
              <a:gd name="T28" fmla="*/ 202 w 726"/>
              <a:gd name="T29" fmla="*/ 212 h 726"/>
              <a:gd name="T30" fmla="*/ 208 w 726"/>
              <a:gd name="T31" fmla="*/ 208 h 726"/>
              <a:gd name="T32" fmla="*/ 522 w 726"/>
              <a:gd name="T33" fmla="*/ 210 h 726"/>
              <a:gd name="T34" fmla="*/ 526 w 726"/>
              <a:gd name="T35" fmla="*/ 506 h 726"/>
              <a:gd name="T36" fmla="*/ 300 w 726"/>
              <a:gd name="T37" fmla="*/ 266 h 726"/>
              <a:gd name="T38" fmla="*/ 292 w 726"/>
              <a:gd name="T39" fmla="*/ 246 h 726"/>
              <a:gd name="T40" fmla="*/ 270 w 726"/>
              <a:gd name="T41" fmla="*/ 260 h 726"/>
              <a:gd name="T42" fmla="*/ 436 w 726"/>
              <a:gd name="T43" fmla="*/ 276 h 726"/>
              <a:gd name="T44" fmla="*/ 450 w 726"/>
              <a:gd name="T45" fmla="*/ 260 h 726"/>
              <a:gd name="T46" fmla="*/ 436 w 726"/>
              <a:gd name="T47" fmla="*/ 244 h 726"/>
              <a:gd name="T48" fmla="*/ 420 w 726"/>
              <a:gd name="T49" fmla="*/ 260 h 726"/>
              <a:gd name="T50" fmla="*/ 224 w 726"/>
              <a:gd name="T51" fmla="*/ 494 h 726"/>
              <a:gd name="T52" fmla="*/ 438 w 726"/>
              <a:gd name="T53" fmla="*/ 368 h 726"/>
              <a:gd name="T54" fmla="*/ 464 w 726"/>
              <a:gd name="T55" fmla="*/ 384 h 726"/>
              <a:gd name="T56" fmla="*/ 474 w 726"/>
              <a:gd name="T57" fmla="*/ 446 h 726"/>
              <a:gd name="T58" fmla="*/ 456 w 726"/>
              <a:gd name="T59" fmla="*/ 462 h 726"/>
              <a:gd name="T60" fmla="*/ 438 w 726"/>
              <a:gd name="T61" fmla="*/ 384 h 726"/>
              <a:gd name="T62" fmla="*/ 374 w 726"/>
              <a:gd name="T63" fmla="*/ 384 h 726"/>
              <a:gd name="T64" fmla="*/ 350 w 726"/>
              <a:gd name="T65" fmla="*/ 380 h 726"/>
              <a:gd name="T66" fmla="*/ 382 w 726"/>
              <a:gd name="T67" fmla="*/ 366 h 726"/>
              <a:gd name="T68" fmla="*/ 416 w 726"/>
              <a:gd name="T69" fmla="*/ 380 h 726"/>
              <a:gd name="T70" fmla="*/ 396 w 726"/>
              <a:gd name="T71" fmla="*/ 462 h 726"/>
              <a:gd name="T72" fmla="*/ 378 w 726"/>
              <a:gd name="T73" fmla="*/ 462 h 726"/>
              <a:gd name="T74" fmla="*/ 350 w 726"/>
              <a:gd name="T75" fmla="*/ 454 h 726"/>
              <a:gd name="T76" fmla="*/ 354 w 726"/>
              <a:gd name="T77" fmla="*/ 410 h 726"/>
              <a:gd name="T78" fmla="*/ 394 w 726"/>
              <a:gd name="T79" fmla="*/ 394 h 726"/>
              <a:gd name="T80" fmla="*/ 276 w 726"/>
              <a:gd name="T81" fmla="*/ 420 h 726"/>
              <a:gd name="T82" fmla="*/ 292 w 726"/>
              <a:gd name="T83" fmla="*/ 444 h 726"/>
              <a:gd name="T84" fmla="*/ 304 w 726"/>
              <a:gd name="T85" fmla="*/ 424 h 726"/>
              <a:gd name="T86" fmla="*/ 252 w 726"/>
              <a:gd name="T87" fmla="*/ 376 h 726"/>
              <a:gd name="T88" fmla="*/ 254 w 726"/>
              <a:gd name="T89" fmla="*/ 342 h 726"/>
              <a:gd name="T90" fmla="*/ 294 w 726"/>
              <a:gd name="T91" fmla="*/ 324 h 726"/>
              <a:gd name="T92" fmla="*/ 330 w 726"/>
              <a:gd name="T93" fmla="*/ 348 h 726"/>
              <a:gd name="T94" fmla="*/ 302 w 726"/>
              <a:gd name="T95" fmla="*/ 352 h 726"/>
              <a:gd name="T96" fmla="*/ 278 w 726"/>
              <a:gd name="T97" fmla="*/ 354 h 726"/>
              <a:gd name="T98" fmla="*/ 306 w 726"/>
              <a:gd name="T99" fmla="*/ 386 h 726"/>
              <a:gd name="T100" fmla="*/ 334 w 726"/>
              <a:gd name="T101" fmla="*/ 424 h 726"/>
              <a:gd name="T102" fmla="*/ 304 w 726"/>
              <a:gd name="T103" fmla="*/ 462 h 726"/>
              <a:gd name="T104" fmla="*/ 254 w 726"/>
              <a:gd name="T105" fmla="*/ 450 h 726"/>
              <a:gd name="T106" fmla="*/ 370 w 726"/>
              <a:gd name="T107" fmla="*/ 438 h 726"/>
              <a:gd name="T108" fmla="*/ 388 w 726"/>
              <a:gd name="T109" fmla="*/ 444 h 726"/>
              <a:gd name="T110" fmla="*/ 384 w 726"/>
              <a:gd name="T111" fmla="*/ 41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8" y="208"/>
                </a:lnTo>
                <a:lnTo>
                  <a:pt x="212"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428" y="368"/>
                </a:moveTo>
                <a:lnTo>
                  <a:pt x="438" y="368"/>
                </a:lnTo>
                <a:lnTo>
                  <a:pt x="438" y="352"/>
                </a:lnTo>
                <a:lnTo>
                  <a:pt x="464" y="340"/>
                </a:lnTo>
                <a:lnTo>
                  <a:pt x="464" y="368"/>
                </a:lnTo>
                <a:lnTo>
                  <a:pt x="478" y="368"/>
                </a:lnTo>
                <a:lnTo>
                  <a:pt x="478" y="384"/>
                </a:lnTo>
                <a:lnTo>
                  <a:pt x="464" y="384"/>
                </a:lnTo>
                <a:lnTo>
                  <a:pt x="464" y="434"/>
                </a:lnTo>
                <a:lnTo>
                  <a:pt x="466" y="442"/>
                </a:lnTo>
                <a:lnTo>
                  <a:pt x="468" y="444"/>
                </a:lnTo>
                <a:lnTo>
                  <a:pt x="474" y="446"/>
                </a:lnTo>
                <a:lnTo>
                  <a:pt x="478" y="444"/>
                </a:lnTo>
                <a:lnTo>
                  <a:pt x="478" y="462"/>
                </a:lnTo>
                <a:lnTo>
                  <a:pt x="464" y="462"/>
                </a:lnTo>
                <a:lnTo>
                  <a:pt x="456" y="462"/>
                </a:lnTo>
                <a:lnTo>
                  <a:pt x="450" y="460"/>
                </a:lnTo>
                <a:lnTo>
                  <a:pt x="446" y="456"/>
                </a:lnTo>
                <a:lnTo>
                  <a:pt x="442" y="454"/>
                </a:lnTo>
                <a:lnTo>
                  <a:pt x="440" y="446"/>
                </a:lnTo>
                <a:lnTo>
                  <a:pt x="438" y="442"/>
                </a:lnTo>
                <a:lnTo>
                  <a:pt x="438" y="384"/>
                </a:lnTo>
                <a:lnTo>
                  <a:pt x="428" y="384"/>
                </a:lnTo>
                <a:lnTo>
                  <a:pt x="428" y="368"/>
                </a:lnTo>
                <a:close/>
                <a:moveTo>
                  <a:pt x="382" y="380"/>
                </a:moveTo>
                <a:lnTo>
                  <a:pt x="382" y="380"/>
                </a:lnTo>
                <a:lnTo>
                  <a:pt x="378" y="382"/>
                </a:lnTo>
                <a:lnTo>
                  <a:pt x="374" y="384"/>
                </a:lnTo>
                <a:lnTo>
                  <a:pt x="374" y="390"/>
                </a:lnTo>
                <a:lnTo>
                  <a:pt x="372" y="394"/>
                </a:lnTo>
                <a:lnTo>
                  <a:pt x="348" y="394"/>
                </a:lnTo>
                <a:lnTo>
                  <a:pt x="348" y="386"/>
                </a:lnTo>
                <a:lnTo>
                  <a:pt x="350" y="380"/>
                </a:lnTo>
                <a:lnTo>
                  <a:pt x="352" y="376"/>
                </a:lnTo>
                <a:lnTo>
                  <a:pt x="356" y="372"/>
                </a:lnTo>
                <a:lnTo>
                  <a:pt x="362" y="368"/>
                </a:lnTo>
                <a:lnTo>
                  <a:pt x="368" y="366"/>
                </a:lnTo>
                <a:lnTo>
                  <a:pt x="382" y="366"/>
                </a:lnTo>
                <a:lnTo>
                  <a:pt x="392" y="366"/>
                </a:lnTo>
                <a:lnTo>
                  <a:pt x="402" y="368"/>
                </a:lnTo>
                <a:lnTo>
                  <a:pt x="408" y="370"/>
                </a:lnTo>
                <a:lnTo>
                  <a:pt x="412" y="374"/>
                </a:lnTo>
                <a:lnTo>
                  <a:pt x="416" y="380"/>
                </a:lnTo>
                <a:lnTo>
                  <a:pt x="418" y="384"/>
                </a:lnTo>
                <a:lnTo>
                  <a:pt x="418" y="396"/>
                </a:lnTo>
                <a:lnTo>
                  <a:pt x="418" y="444"/>
                </a:lnTo>
                <a:lnTo>
                  <a:pt x="420" y="462"/>
                </a:lnTo>
                <a:lnTo>
                  <a:pt x="396" y="462"/>
                </a:lnTo>
                <a:lnTo>
                  <a:pt x="394" y="448"/>
                </a:lnTo>
                <a:lnTo>
                  <a:pt x="390" y="454"/>
                </a:lnTo>
                <a:lnTo>
                  <a:pt x="384" y="460"/>
                </a:lnTo>
                <a:lnTo>
                  <a:pt x="378" y="462"/>
                </a:lnTo>
                <a:lnTo>
                  <a:pt x="370" y="462"/>
                </a:lnTo>
                <a:lnTo>
                  <a:pt x="364" y="462"/>
                </a:lnTo>
                <a:lnTo>
                  <a:pt x="358" y="460"/>
                </a:lnTo>
                <a:lnTo>
                  <a:pt x="354" y="458"/>
                </a:lnTo>
                <a:lnTo>
                  <a:pt x="350" y="454"/>
                </a:lnTo>
                <a:lnTo>
                  <a:pt x="346" y="444"/>
                </a:lnTo>
                <a:lnTo>
                  <a:pt x="346" y="434"/>
                </a:lnTo>
                <a:lnTo>
                  <a:pt x="346" y="422"/>
                </a:lnTo>
                <a:lnTo>
                  <a:pt x="350" y="414"/>
                </a:lnTo>
                <a:lnTo>
                  <a:pt x="354" y="410"/>
                </a:lnTo>
                <a:lnTo>
                  <a:pt x="360" y="406"/>
                </a:lnTo>
                <a:lnTo>
                  <a:pt x="368" y="402"/>
                </a:lnTo>
                <a:lnTo>
                  <a:pt x="376" y="402"/>
                </a:lnTo>
                <a:lnTo>
                  <a:pt x="394" y="402"/>
                </a:lnTo>
                <a:lnTo>
                  <a:pt x="394" y="394"/>
                </a:lnTo>
                <a:lnTo>
                  <a:pt x="392" y="388"/>
                </a:lnTo>
                <a:lnTo>
                  <a:pt x="392" y="384"/>
                </a:lnTo>
                <a:lnTo>
                  <a:pt x="388" y="382"/>
                </a:lnTo>
                <a:lnTo>
                  <a:pt x="382" y="380"/>
                </a:lnTo>
                <a:close/>
                <a:moveTo>
                  <a:pt x="248" y="420"/>
                </a:moveTo>
                <a:lnTo>
                  <a:pt x="276" y="420"/>
                </a:lnTo>
                <a:lnTo>
                  <a:pt x="276" y="428"/>
                </a:lnTo>
                <a:lnTo>
                  <a:pt x="278" y="436"/>
                </a:lnTo>
                <a:lnTo>
                  <a:pt x="282" y="442"/>
                </a:lnTo>
                <a:lnTo>
                  <a:pt x="292" y="444"/>
                </a:lnTo>
                <a:lnTo>
                  <a:pt x="298" y="442"/>
                </a:lnTo>
                <a:lnTo>
                  <a:pt x="302" y="440"/>
                </a:lnTo>
                <a:lnTo>
                  <a:pt x="304" y="434"/>
                </a:lnTo>
                <a:lnTo>
                  <a:pt x="306" y="428"/>
                </a:lnTo>
                <a:lnTo>
                  <a:pt x="304" y="424"/>
                </a:lnTo>
                <a:lnTo>
                  <a:pt x="302" y="420"/>
                </a:lnTo>
                <a:lnTo>
                  <a:pt x="296" y="414"/>
                </a:lnTo>
                <a:lnTo>
                  <a:pt x="278" y="402"/>
                </a:lnTo>
                <a:lnTo>
                  <a:pt x="266" y="394"/>
                </a:lnTo>
                <a:lnTo>
                  <a:pt x="258" y="386"/>
                </a:lnTo>
                <a:lnTo>
                  <a:pt x="252" y="376"/>
                </a:lnTo>
                <a:lnTo>
                  <a:pt x="250" y="370"/>
                </a:lnTo>
                <a:lnTo>
                  <a:pt x="248" y="362"/>
                </a:lnTo>
                <a:lnTo>
                  <a:pt x="250" y="354"/>
                </a:lnTo>
                <a:lnTo>
                  <a:pt x="252" y="348"/>
                </a:lnTo>
                <a:lnTo>
                  <a:pt x="254" y="342"/>
                </a:lnTo>
                <a:lnTo>
                  <a:pt x="258" y="336"/>
                </a:lnTo>
                <a:lnTo>
                  <a:pt x="264" y="332"/>
                </a:lnTo>
                <a:lnTo>
                  <a:pt x="272" y="328"/>
                </a:lnTo>
                <a:lnTo>
                  <a:pt x="282" y="326"/>
                </a:lnTo>
                <a:lnTo>
                  <a:pt x="294" y="324"/>
                </a:lnTo>
                <a:lnTo>
                  <a:pt x="302" y="326"/>
                </a:lnTo>
                <a:lnTo>
                  <a:pt x="310" y="328"/>
                </a:lnTo>
                <a:lnTo>
                  <a:pt x="318" y="330"/>
                </a:lnTo>
                <a:lnTo>
                  <a:pt x="324" y="334"/>
                </a:lnTo>
                <a:lnTo>
                  <a:pt x="328" y="340"/>
                </a:lnTo>
                <a:lnTo>
                  <a:pt x="330" y="348"/>
                </a:lnTo>
                <a:lnTo>
                  <a:pt x="332" y="356"/>
                </a:lnTo>
                <a:lnTo>
                  <a:pt x="332" y="366"/>
                </a:lnTo>
                <a:lnTo>
                  <a:pt x="304" y="366"/>
                </a:lnTo>
                <a:lnTo>
                  <a:pt x="304" y="358"/>
                </a:lnTo>
                <a:lnTo>
                  <a:pt x="302" y="352"/>
                </a:lnTo>
                <a:lnTo>
                  <a:pt x="298" y="346"/>
                </a:lnTo>
                <a:lnTo>
                  <a:pt x="292" y="344"/>
                </a:lnTo>
                <a:lnTo>
                  <a:pt x="286" y="346"/>
                </a:lnTo>
                <a:lnTo>
                  <a:pt x="282" y="348"/>
                </a:lnTo>
                <a:lnTo>
                  <a:pt x="278" y="354"/>
                </a:lnTo>
                <a:lnTo>
                  <a:pt x="278" y="360"/>
                </a:lnTo>
                <a:lnTo>
                  <a:pt x="278" y="364"/>
                </a:lnTo>
                <a:lnTo>
                  <a:pt x="280" y="368"/>
                </a:lnTo>
                <a:lnTo>
                  <a:pt x="286" y="374"/>
                </a:lnTo>
                <a:lnTo>
                  <a:pt x="306" y="386"/>
                </a:lnTo>
                <a:lnTo>
                  <a:pt x="316" y="392"/>
                </a:lnTo>
                <a:lnTo>
                  <a:pt x="324" y="400"/>
                </a:lnTo>
                <a:lnTo>
                  <a:pt x="332" y="410"/>
                </a:lnTo>
                <a:lnTo>
                  <a:pt x="334" y="418"/>
                </a:lnTo>
                <a:lnTo>
                  <a:pt x="334" y="424"/>
                </a:lnTo>
                <a:lnTo>
                  <a:pt x="332" y="436"/>
                </a:lnTo>
                <a:lnTo>
                  <a:pt x="330" y="446"/>
                </a:lnTo>
                <a:lnTo>
                  <a:pt x="324" y="452"/>
                </a:lnTo>
                <a:lnTo>
                  <a:pt x="318" y="456"/>
                </a:lnTo>
                <a:lnTo>
                  <a:pt x="312" y="460"/>
                </a:lnTo>
                <a:lnTo>
                  <a:pt x="304" y="462"/>
                </a:lnTo>
                <a:lnTo>
                  <a:pt x="286" y="464"/>
                </a:lnTo>
                <a:lnTo>
                  <a:pt x="276" y="462"/>
                </a:lnTo>
                <a:lnTo>
                  <a:pt x="266" y="460"/>
                </a:lnTo>
                <a:lnTo>
                  <a:pt x="258" y="456"/>
                </a:lnTo>
                <a:lnTo>
                  <a:pt x="254" y="450"/>
                </a:lnTo>
                <a:lnTo>
                  <a:pt x="250" y="444"/>
                </a:lnTo>
                <a:lnTo>
                  <a:pt x="248" y="436"/>
                </a:lnTo>
                <a:lnTo>
                  <a:pt x="248" y="420"/>
                </a:lnTo>
                <a:close/>
                <a:moveTo>
                  <a:pt x="370" y="432"/>
                </a:moveTo>
                <a:lnTo>
                  <a:pt x="370" y="432"/>
                </a:lnTo>
                <a:lnTo>
                  <a:pt x="370" y="438"/>
                </a:lnTo>
                <a:lnTo>
                  <a:pt x="372" y="442"/>
                </a:lnTo>
                <a:lnTo>
                  <a:pt x="376" y="446"/>
                </a:lnTo>
                <a:lnTo>
                  <a:pt x="380" y="446"/>
                </a:lnTo>
                <a:lnTo>
                  <a:pt x="386" y="446"/>
                </a:lnTo>
                <a:lnTo>
                  <a:pt x="388" y="444"/>
                </a:lnTo>
                <a:lnTo>
                  <a:pt x="392" y="440"/>
                </a:lnTo>
                <a:lnTo>
                  <a:pt x="392" y="436"/>
                </a:lnTo>
                <a:lnTo>
                  <a:pt x="394" y="424"/>
                </a:lnTo>
                <a:lnTo>
                  <a:pt x="394" y="416"/>
                </a:lnTo>
                <a:lnTo>
                  <a:pt x="384" y="416"/>
                </a:lnTo>
                <a:lnTo>
                  <a:pt x="378" y="418"/>
                </a:lnTo>
                <a:lnTo>
                  <a:pt x="374" y="420"/>
                </a:lnTo>
                <a:lnTo>
                  <a:pt x="372" y="422"/>
                </a:lnTo>
                <a:lnTo>
                  <a:pt x="370" y="4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9" name="Freeform 343"/>
          <p:cNvSpPr>
            <a:spLocks noEditPoints="1"/>
          </p:cNvSpPr>
          <p:nvPr userDrawn="1"/>
        </p:nvSpPr>
        <p:spPr bwMode="auto">
          <a:xfrm>
            <a:off x="7654812"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526 w 726"/>
              <a:gd name="T47" fmla="*/ 510 h 726"/>
              <a:gd name="T48" fmla="*/ 518 w 726"/>
              <a:gd name="T49" fmla="*/ 518 h 726"/>
              <a:gd name="T50" fmla="*/ 212 w 726"/>
              <a:gd name="T51" fmla="*/ 518 h 726"/>
              <a:gd name="T52" fmla="*/ 202 w 726"/>
              <a:gd name="T53" fmla="*/ 514 h 726"/>
              <a:gd name="T54" fmla="*/ 198 w 726"/>
              <a:gd name="T55" fmla="*/ 306 h 726"/>
              <a:gd name="T56" fmla="*/ 198 w 726"/>
              <a:gd name="T57" fmla="*/ 220 h 726"/>
              <a:gd name="T58" fmla="*/ 202 w 726"/>
              <a:gd name="T59" fmla="*/ 212 h 726"/>
              <a:gd name="T60" fmla="*/ 202 w 726"/>
              <a:gd name="T61" fmla="*/ 210 h 726"/>
              <a:gd name="T62" fmla="*/ 206 w 726"/>
              <a:gd name="T63" fmla="*/ 208 h 726"/>
              <a:gd name="T64" fmla="*/ 514 w 726"/>
              <a:gd name="T65" fmla="*/ 208 h 726"/>
              <a:gd name="T66" fmla="*/ 522 w 726"/>
              <a:gd name="T67" fmla="*/ 210 h 726"/>
              <a:gd name="T68" fmla="*/ 524 w 726"/>
              <a:gd name="T69" fmla="*/ 212 h 726"/>
              <a:gd name="T70" fmla="*/ 526 w 726"/>
              <a:gd name="T71" fmla="*/ 506 h 726"/>
              <a:gd name="T72" fmla="*/ 286 w 726"/>
              <a:gd name="T73" fmla="*/ 276 h 726"/>
              <a:gd name="T74" fmla="*/ 300 w 726"/>
              <a:gd name="T75" fmla="*/ 266 h 726"/>
              <a:gd name="T76" fmla="*/ 300 w 726"/>
              <a:gd name="T77" fmla="*/ 254 h 726"/>
              <a:gd name="T78" fmla="*/ 292 w 726"/>
              <a:gd name="T79" fmla="*/ 246 h 726"/>
              <a:gd name="T80" fmla="*/ 280 w 726"/>
              <a:gd name="T81" fmla="*/ 246 h 726"/>
              <a:gd name="T82" fmla="*/ 270 w 726"/>
              <a:gd name="T83" fmla="*/ 260 h 726"/>
              <a:gd name="T84" fmla="*/ 276 w 726"/>
              <a:gd name="T85" fmla="*/ 270 h 726"/>
              <a:gd name="T86" fmla="*/ 436 w 726"/>
              <a:gd name="T87" fmla="*/ 276 h 726"/>
              <a:gd name="T88" fmla="*/ 442 w 726"/>
              <a:gd name="T89" fmla="*/ 274 h 726"/>
              <a:gd name="T90" fmla="*/ 450 w 726"/>
              <a:gd name="T91" fmla="*/ 260 h 726"/>
              <a:gd name="T92" fmla="*/ 446 w 726"/>
              <a:gd name="T93" fmla="*/ 250 h 726"/>
              <a:gd name="T94" fmla="*/ 436 w 726"/>
              <a:gd name="T95" fmla="*/ 244 h 726"/>
              <a:gd name="T96" fmla="*/ 424 w 726"/>
              <a:gd name="T97" fmla="*/ 250 h 726"/>
              <a:gd name="T98" fmla="*/ 420 w 726"/>
              <a:gd name="T99" fmla="*/ 260 h 726"/>
              <a:gd name="T100" fmla="*/ 424 w 726"/>
              <a:gd name="T101" fmla="*/ 270 h 726"/>
              <a:gd name="T102" fmla="*/ 224 w 726"/>
              <a:gd name="T103" fmla="*/ 494 h 726"/>
              <a:gd name="T104" fmla="*/ 224 w 726"/>
              <a:gd name="T105" fmla="*/ 306 h 726"/>
              <a:gd name="T106" fmla="*/ 398 w 726"/>
              <a:gd name="T107" fmla="*/ 332 h 726"/>
              <a:gd name="T108" fmla="*/ 336 w 726"/>
              <a:gd name="T109" fmla="*/ 462 h 726"/>
              <a:gd name="T110" fmla="*/ 328 w 726"/>
              <a:gd name="T111" fmla="*/ 33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6" y="208"/>
                </a:lnTo>
                <a:lnTo>
                  <a:pt x="210"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328" y="332"/>
                </a:moveTo>
                <a:lnTo>
                  <a:pt x="398" y="332"/>
                </a:lnTo>
                <a:lnTo>
                  <a:pt x="398" y="356"/>
                </a:lnTo>
                <a:lnTo>
                  <a:pt x="366" y="462"/>
                </a:lnTo>
                <a:lnTo>
                  <a:pt x="336" y="462"/>
                </a:lnTo>
                <a:lnTo>
                  <a:pt x="372" y="352"/>
                </a:lnTo>
                <a:lnTo>
                  <a:pt x="328" y="352"/>
                </a:lnTo>
                <a:lnTo>
                  <a:pt x="328" y="3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0" name="Freeform 27"/>
          <p:cNvSpPr>
            <a:spLocks/>
          </p:cNvSpPr>
          <p:nvPr userDrawn="1"/>
        </p:nvSpPr>
        <p:spPr bwMode="auto">
          <a:xfrm>
            <a:off x="9132115" y="1076015"/>
            <a:ext cx="1080000" cy="1080000"/>
          </a:xfrm>
          <a:custGeom>
            <a:avLst/>
            <a:gdLst>
              <a:gd name="T0" fmla="*/ 552450 w 1087437"/>
              <a:gd name="T1" fmla="*/ 629444 h 1087437"/>
              <a:gd name="T2" fmla="*/ 572978 w 1087437"/>
              <a:gd name="T3" fmla="*/ 642143 h 1087437"/>
              <a:gd name="T4" fmla="*/ 563562 w 1087437"/>
              <a:gd name="T5" fmla="*/ 560387 h 1087437"/>
              <a:gd name="T6" fmla="*/ 602456 w 1087437"/>
              <a:gd name="T7" fmla="*/ 586581 h 1087437"/>
              <a:gd name="T8" fmla="*/ 572293 w 1087437"/>
              <a:gd name="T9" fmla="*/ 654843 h 1087437"/>
              <a:gd name="T10" fmla="*/ 531812 w 1087437"/>
              <a:gd name="T11" fmla="*/ 654049 h 1087437"/>
              <a:gd name="T12" fmla="*/ 534193 w 1087437"/>
              <a:gd name="T13" fmla="*/ 605631 h 1087437"/>
              <a:gd name="T14" fmla="*/ 574675 w 1087437"/>
              <a:gd name="T15" fmla="*/ 580231 h 1087437"/>
              <a:gd name="T16" fmla="*/ 554831 w 1087437"/>
              <a:gd name="T17" fmla="*/ 584993 h 1087437"/>
              <a:gd name="T18" fmla="*/ 542131 w 1087437"/>
              <a:gd name="T19" fmla="*/ 562768 h 1087437"/>
              <a:gd name="T20" fmla="*/ 651669 w 1087437"/>
              <a:gd name="T21" fmla="*/ 578366 h 1087437"/>
              <a:gd name="T22" fmla="*/ 665163 w 1087437"/>
              <a:gd name="T23" fmla="*/ 660409 h 1087437"/>
              <a:gd name="T24" fmla="*/ 624681 w 1087437"/>
              <a:gd name="T25" fmla="*/ 646210 h 1087437"/>
              <a:gd name="T26" fmla="*/ 651669 w 1087437"/>
              <a:gd name="T27" fmla="*/ 533400 h 1087437"/>
              <a:gd name="T28" fmla="*/ 507206 w 1087437"/>
              <a:gd name="T29" fmla="*/ 531985 h 1087437"/>
              <a:gd name="T30" fmla="*/ 478631 w 1087437"/>
              <a:gd name="T31" fmla="*/ 540811 h 1087437"/>
              <a:gd name="T32" fmla="*/ 452437 w 1087437"/>
              <a:gd name="T33" fmla="*/ 552044 h 1087437"/>
              <a:gd name="T34" fmla="*/ 494506 w 1087437"/>
              <a:gd name="T35" fmla="*/ 588151 h 1087437"/>
              <a:gd name="T36" fmla="*/ 511968 w 1087437"/>
              <a:gd name="T37" fmla="*/ 635491 h 1087437"/>
              <a:gd name="T38" fmla="*/ 463550 w 1087437"/>
              <a:gd name="T39" fmla="*/ 663574 h 1087437"/>
              <a:gd name="T40" fmla="*/ 420687 w 1087437"/>
              <a:gd name="T41" fmla="*/ 626665 h 1087437"/>
              <a:gd name="T42" fmla="*/ 457993 w 1087437"/>
              <a:gd name="T43" fmla="*/ 640305 h 1087437"/>
              <a:gd name="T44" fmla="*/ 482600 w 1087437"/>
              <a:gd name="T45" fmla="*/ 621851 h 1087437"/>
              <a:gd name="T46" fmla="*/ 436562 w 1087437"/>
              <a:gd name="T47" fmla="*/ 585744 h 1087437"/>
              <a:gd name="T48" fmla="*/ 425450 w 1087437"/>
              <a:gd name="T49" fmla="*/ 539206 h 1087437"/>
              <a:gd name="T50" fmla="*/ 396875 w 1087437"/>
              <a:gd name="T51" fmla="*/ 695325 h 1087437"/>
              <a:gd name="T52" fmla="*/ 606386 w 1087437"/>
              <a:gd name="T53" fmla="*/ 440531 h 1087437"/>
              <a:gd name="T54" fmla="*/ 631941 w 1087437"/>
              <a:gd name="T55" fmla="*/ 458787 h 1087437"/>
              <a:gd name="T56" fmla="*/ 461962 w 1087437"/>
              <a:gd name="T57" fmla="*/ 430212 h 1087437"/>
              <a:gd name="T58" fmla="*/ 455612 w 1087437"/>
              <a:gd name="T59" fmla="*/ 462755 h 1087437"/>
              <a:gd name="T60" fmla="*/ 473075 w 1087437"/>
              <a:gd name="T61" fmla="*/ 435768 h 1087437"/>
              <a:gd name="T62" fmla="*/ 713580 w 1087437"/>
              <a:gd name="T63" fmla="*/ 393708 h 1087437"/>
              <a:gd name="T64" fmla="*/ 709612 w 1087437"/>
              <a:gd name="T65" fmla="*/ 720721 h 1087437"/>
              <a:gd name="T66" fmla="*/ 369887 w 1087437"/>
              <a:gd name="T67" fmla="*/ 496347 h 1087437"/>
              <a:gd name="T68" fmla="*/ 543719 w 1087437"/>
              <a:gd name="T69" fmla="*/ 139700 h 1087437"/>
              <a:gd name="T70" fmla="*/ 270131 w 1087437"/>
              <a:gd name="T71" fmla="*/ 616092 h 1087437"/>
              <a:gd name="T72" fmla="*/ 745728 w 1087437"/>
              <a:gd name="T73" fmla="*/ 893656 h 1087437"/>
              <a:gd name="T74" fmla="*/ 743342 w 1087437"/>
              <a:gd name="T75" fmla="*/ 344095 h 1087437"/>
              <a:gd name="T76" fmla="*/ 599281 w 1087437"/>
              <a:gd name="T77" fmla="*/ 2381 h 1087437"/>
              <a:gd name="T78" fmla="*/ 780256 w 1087437"/>
              <a:gd name="T79" fmla="*/ 53181 h 1087437"/>
              <a:gd name="T80" fmla="*/ 928687 w 1087437"/>
              <a:gd name="T81" fmla="*/ 158750 h 1087437"/>
              <a:gd name="T82" fmla="*/ 1033462 w 1087437"/>
              <a:gd name="T83" fmla="*/ 307181 h 1087437"/>
              <a:gd name="T84" fmla="*/ 1085056 w 1087437"/>
              <a:gd name="T85" fmla="*/ 488156 h 1087437"/>
              <a:gd name="T86" fmla="*/ 1069975 w 1087437"/>
              <a:gd name="T87" fmla="*/ 678656 h 1087437"/>
              <a:gd name="T88" fmla="*/ 995362 w 1087437"/>
              <a:gd name="T89" fmla="*/ 847725 h 1087437"/>
              <a:gd name="T90" fmla="*/ 868362 w 1087437"/>
              <a:gd name="T91" fmla="*/ 979487 h 1087437"/>
              <a:gd name="T92" fmla="*/ 704850 w 1087437"/>
              <a:gd name="T93" fmla="*/ 1062831 h 1087437"/>
              <a:gd name="T94" fmla="*/ 515144 w 1087437"/>
              <a:gd name="T95" fmla="*/ 1085850 h 1087437"/>
              <a:gd name="T96" fmla="*/ 331787 w 1087437"/>
              <a:gd name="T97" fmla="*/ 1044575 h 1087437"/>
              <a:gd name="T98" fmla="*/ 178594 w 1087437"/>
              <a:gd name="T99" fmla="*/ 946150 h 1087437"/>
              <a:gd name="T100" fmla="*/ 65088 w 1087437"/>
              <a:gd name="T101" fmla="*/ 803275 h 1087437"/>
              <a:gd name="T102" fmla="*/ 6350 w 1087437"/>
              <a:gd name="T103" fmla="*/ 626269 h 1087437"/>
              <a:gd name="T104" fmla="*/ 11113 w 1087437"/>
              <a:gd name="T105" fmla="*/ 434181 h 1087437"/>
              <a:gd name="T106" fmla="*/ 78581 w 1087437"/>
              <a:gd name="T107" fmla="*/ 261938 h 1087437"/>
              <a:gd name="T108" fmla="*/ 198438 w 1087437"/>
              <a:gd name="T109" fmla="*/ 124619 h 1087437"/>
              <a:gd name="T110" fmla="*/ 356394 w 1087437"/>
              <a:gd name="T111" fmla="*/ 33338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437" h="1087437">
                <a:moveTo>
                  <a:pt x="567230" y="612775"/>
                </a:moveTo>
                <a:lnTo>
                  <a:pt x="562303" y="613569"/>
                </a:lnTo>
                <a:lnTo>
                  <a:pt x="559019" y="615156"/>
                </a:lnTo>
                <a:lnTo>
                  <a:pt x="555735" y="615950"/>
                </a:lnTo>
                <a:lnTo>
                  <a:pt x="553271" y="619919"/>
                </a:lnTo>
                <a:lnTo>
                  <a:pt x="552450" y="623887"/>
                </a:lnTo>
                <a:lnTo>
                  <a:pt x="552450" y="629444"/>
                </a:lnTo>
                <a:lnTo>
                  <a:pt x="552450" y="635000"/>
                </a:lnTo>
                <a:lnTo>
                  <a:pt x="553271" y="640556"/>
                </a:lnTo>
                <a:lnTo>
                  <a:pt x="557377" y="644525"/>
                </a:lnTo>
                <a:lnTo>
                  <a:pt x="559840" y="644525"/>
                </a:lnTo>
                <a:lnTo>
                  <a:pt x="562303" y="646112"/>
                </a:lnTo>
                <a:lnTo>
                  <a:pt x="567230" y="644525"/>
                </a:lnTo>
                <a:lnTo>
                  <a:pt x="572978" y="642143"/>
                </a:lnTo>
                <a:lnTo>
                  <a:pt x="575441" y="638175"/>
                </a:lnTo>
                <a:lnTo>
                  <a:pt x="576262" y="633412"/>
                </a:lnTo>
                <a:lnTo>
                  <a:pt x="576262" y="622300"/>
                </a:lnTo>
                <a:lnTo>
                  <a:pt x="576262" y="612775"/>
                </a:lnTo>
                <a:lnTo>
                  <a:pt x="567230" y="612775"/>
                </a:lnTo>
                <a:close/>
                <a:moveTo>
                  <a:pt x="555625" y="560387"/>
                </a:moveTo>
                <a:lnTo>
                  <a:pt x="563562" y="560387"/>
                </a:lnTo>
                <a:lnTo>
                  <a:pt x="575468" y="560387"/>
                </a:lnTo>
                <a:lnTo>
                  <a:pt x="584200" y="562768"/>
                </a:lnTo>
                <a:lnTo>
                  <a:pt x="591343" y="565150"/>
                </a:lnTo>
                <a:lnTo>
                  <a:pt x="596900" y="570706"/>
                </a:lnTo>
                <a:lnTo>
                  <a:pt x="600075" y="575468"/>
                </a:lnTo>
                <a:lnTo>
                  <a:pt x="601662" y="580231"/>
                </a:lnTo>
                <a:lnTo>
                  <a:pt x="602456" y="586581"/>
                </a:lnTo>
                <a:lnTo>
                  <a:pt x="602456" y="593724"/>
                </a:lnTo>
                <a:lnTo>
                  <a:pt x="602456" y="642937"/>
                </a:lnTo>
                <a:lnTo>
                  <a:pt x="604837" y="661193"/>
                </a:lnTo>
                <a:lnTo>
                  <a:pt x="579437" y="661193"/>
                </a:lnTo>
                <a:lnTo>
                  <a:pt x="577850" y="647699"/>
                </a:lnTo>
                <a:lnTo>
                  <a:pt x="577056" y="647699"/>
                </a:lnTo>
                <a:lnTo>
                  <a:pt x="572293" y="654843"/>
                </a:lnTo>
                <a:lnTo>
                  <a:pt x="566737" y="660399"/>
                </a:lnTo>
                <a:lnTo>
                  <a:pt x="559593" y="662780"/>
                </a:lnTo>
                <a:lnTo>
                  <a:pt x="550862" y="663574"/>
                </a:lnTo>
                <a:lnTo>
                  <a:pt x="545306" y="662780"/>
                </a:lnTo>
                <a:lnTo>
                  <a:pt x="538956" y="661193"/>
                </a:lnTo>
                <a:lnTo>
                  <a:pt x="534193" y="658018"/>
                </a:lnTo>
                <a:lnTo>
                  <a:pt x="531812" y="654049"/>
                </a:lnTo>
                <a:lnTo>
                  <a:pt x="527843" y="649287"/>
                </a:lnTo>
                <a:lnTo>
                  <a:pt x="526256" y="644524"/>
                </a:lnTo>
                <a:lnTo>
                  <a:pt x="525462" y="638174"/>
                </a:lnTo>
                <a:lnTo>
                  <a:pt x="525462" y="631824"/>
                </a:lnTo>
                <a:lnTo>
                  <a:pt x="526256" y="620712"/>
                </a:lnTo>
                <a:lnTo>
                  <a:pt x="528637" y="611981"/>
                </a:lnTo>
                <a:lnTo>
                  <a:pt x="534193" y="605631"/>
                </a:lnTo>
                <a:lnTo>
                  <a:pt x="541337" y="602456"/>
                </a:lnTo>
                <a:lnTo>
                  <a:pt x="548481" y="600074"/>
                </a:lnTo>
                <a:lnTo>
                  <a:pt x="557212" y="598487"/>
                </a:lnTo>
                <a:lnTo>
                  <a:pt x="575468" y="597693"/>
                </a:lnTo>
                <a:lnTo>
                  <a:pt x="575468" y="589756"/>
                </a:lnTo>
                <a:lnTo>
                  <a:pt x="575468" y="584200"/>
                </a:lnTo>
                <a:lnTo>
                  <a:pt x="574675" y="580231"/>
                </a:lnTo>
                <a:lnTo>
                  <a:pt x="570706" y="576262"/>
                </a:lnTo>
                <a:lnTo>
                  <a:pt x="564356" y="575468"/>
                </a:lnTo>
                <a:lnTo>
                  <a:pt x="561975" y="576262"/>
                </a:lnTo>
                <a:lnTo>
                  <a:pt x="559593" y="576262"/>
                </a:lnTo>
                <a:lnTo>
                  <a:pt x="557212" y="578643"/>
                </a:lnTo>
                <a:lnTo>
                  <a:pt x="555625" y="580231"/>
                </a:lnTo>
                <a:lnTo>
                  <a:pt x="554831" y="584993"/>
                </a:lnTo>
                <a:lnTo>
                  <a:pt x="554831" y="591343"/>
                </a:lnTo>
                <a:lnTo>
                  <a:pt x="527843" y="591343"/>
                </a:lnTo>
                <a:lnTo>
                  <a:pt x="527843" y="582612"/>
                </a:lnTo>
                <a:lnTo>
                  <a:pt x="530225" y="575468"/>
                </a:lnTo>
                <a:lnTo>
                  <a:pt x="532606" y="570706"/>
                </a:lnTo>
                <a:lnTo>
                  <a:pt x="537368" y="566737"/>
                </a:lnTo>
                <a:lnTo>
                  <a:pt x="542131" y="562768"/>
                </a:lnTo>
                <a:lnTo>
                  <a:pt x="548481" y="561975"/>
                </a:lnTo>
                <a:lnTo>
                  <a:pt x="555625" y="560387"/>
                </a:lnTo>
                <a:close/>
                <a:moveTo>
                  <a:pt x="651669" y="533400"/>
                </a:moveTo>
                <a:lnTo>
                  <a:pt x="651669" y="561800"/>
                </a:lnTo>
                <a:lnTo>
                  <a:pt x="666750" y="561800"/>
                </a:lnTo>
                <a:lnTo>
                  <a:pt x="666750" y="578366"/>
                </a:lnTo>
                <a:lnTo>
                  <a:pt x="651669" y="578366"/>
                </a:lnTo>
                <a:lnTo>
                  <a:pt x="651669" y="631221"/>
                </a:lnTo>
                <a:lnTo>
                  <a:pt x="651669" y="637532"/>
                </a:lnTo>
                <a:lnTo>
                  <a:pt x="653256" y="640687"/>
                </a:lnTo>
                <a:lnTo>
                  <a:pt x="655638" y="643843"/>
                </a:lnTo>
                <a:lnTo>
                  <a:pt x="660400" y="644632"/>
                </a:lnTo>
                <a:lnTo>
                  <a:pt x="665163" y="643843"/>
                </a:lnTo>
                <a:lnTo>
                  <a:pt x="665163" y="660409"/>
                </a:lnTo>
                <a:lnTo>
                  <a:pt x="651669" y="661987"/>
                </a:lnTo>
                <a:lnTo>
                  <a:pt x="643731" y="660409"/>
                </a:lnTo>
                <a:lnTo>
                  <a:pt x="637381" y="659621"/>
                </a:lnTo>
                <a:lnTo>
                  <a:pt x="632619" y="657254"/>
                </a:lnTo>
                <a:lnTo>
                  <a:pt x="628650" y="653309"/>
                </a:lnTo>
                <a:lnTo>
                  <a:pt x="626269" y="649365"/>
                </a:lnTo>
                <a:lnTo>
                  <a:pt x="624681" y="646210"/>
                </a:lnTo>
                <a:lnTo>
                  <a:pt x="624681" y="639899"/>
                </a:lnTo>
                <a:lnTo>
                  <a:pt x="624681" y="578366"/>
                </a:lnTo>
                <a:lnTo>
                  <a:pt x="612775" y="578366"/>
                </a:lnTo>
                <a:lnTo>
                  <a:pt x="612775" y="561800"/>
                </a:lnTo>
                <a:lnTo>
                  <a:pt x="624681" y="561800"/>
                </a:lnTo>
                <a:lnTo>
                  <a:pt x="624681" y="546022"/>
                </a:lnTo>
                <a:lnTo>
                  <a:pt x="651669" y="533400"/>
                </a:lnTo>
                <a:close/>
                <a:moveTo>
                  <a:pt x="457993" y="515937"/>
                </a:moveTo>
                <a:lnTo>
                  <a:pt x="469900" y="515937"/>
                </a:lnTo>
                <a:lnTo>
                  <a:pt x="479425" y="515937"/>
                </a:lnTo>
                <a:lnTo>
                  <a:pt x="488156" y="518344"/>
                </a:lnTo>
                <a:lnTo>
                  <a:pt x="496093" y="520751"/>
                </a:lnTo>
                <a:lnTo>
                  <a:pt x="501650" y="525566"/>
                </a:lnTo>
                <a:lnTo>
                  <a:pt x="507206" y="531985"/>
                </a:lnTo>
                <a:lnTo>
                  <a:pt x="509587" y="539206"/>
                </a:lnTo>
                <a:lnTo>
                  <a:pt x="510381" y="548032"/>
                </a:lnTo>
                <a:lnTo>
                  <a:pt x="511968" y="558463"/>
                </a:lnTo>
                <a:lnTo>
                  <a:pt x="482600" y="558463"/>
                </a:lnTo>
                <a:lnTo>
                  <a:pt x="482600" y="550439"/>
                </a:lnTo>
                <a:lnTo>
                  <a:pt x="479425" y="543218"/>
                </a:lnTo>
                <a:lnTo>
                  <a:pt x="478631" y="540811"/>
                </a:lnTo>
                <a:lnTo>
                  <a:pt x="476250" y="538404"/>
                </a:lnTo>
                <a:lnTo>
                  <a:pt x="472281" y="536799"/>
                </a:lnTo>
                <a:lnTo>
                  <a:pt x="468312" y="536799"/>
                </a:lnTo>
                <a:lnTo>
                  <a:pt x="461168" y="538404"/>
                </a:lnTo>
                <a:lnTo>
                  <a:pt x="457993" y="540811"/>
                </a:lnTo>
                <a:lnTo>
                  <a:pt x="454025" y="545625"/>
                </a:lnTo>
                <a:lnTo>
                  <a:pt x="452437" y="552044"/>
                </a:lnTo>
                <a:lnTo>
                  <a:pt x="454025" y="556858"/>
                </a:lnTo>
                <a:lnTo>
                  <a:pt x="454818" y="560870"/>
                </a:lnTo>
                <a:lnTo>
                  <a:pt x="458787" y="564080"/>
                </a:lnTo>
                <a:lnTo>
                  <a:pt x="462756" y="568092"/>
                </a:lnTo>
                <a:lnTo>
                  <a:pt x="472281" y="574511"/>
                </a:lnTo>
                <a:lnTo>
                  <a:pt x="483393" y="580127"/>
                </a:lnTo>
                <a:lnTo>
                  <a:pt x="494506" y="588151"/>
                </a:lnTo>
                <a:lnTo>
                  <a:pt x="499268" y="591360"/>
                </a:lnTo>
                <a:lnTo>
                  <a:pt x="503237" y="596977"/>
                </a:lnTo>
                <a:lnTo>
                  <a:pt x="507206" y="601791"/>
                </a:lnTo>
                <a:lnTo>
                  <a:pt x="510381" y="608210"/>
                </a:lnTo>
                <a:lnTo>
                  <a:pt x="511968" y="613827"/>
                </a:lnTo>
                <a:lnTo>
                  <a:pt x="512762" y="622653"/>
                </a:lnTo>
                <a:lnTo>
                  <a:pt x="511968" y="635491"/>
                </a:lnTo>
                <a:lnTo>
                  <a:pt x="508000" y="644317"/>
                </a:lnTo>
                <a:lnTo>
                  <a:pt x="503237" y="651539"/>
                </a:lnTo>
                <a:lnTo>
                  <a:pt x="496887" y="657958"/>
                </a:lnTo>
                <a:lnTo>
                  <a:pt x="488156" y="660365"/>
                </a:lnTo>
                <a:lnTo>
                  <a:pt x="481012" y="662772"/>
                </a:lnTo>
                <a:lnTo>
                  <a:pt x="472281" y="663574"/>
                </a:lnTo>
                <a:lnTo>
                  <a:pt x="463550" y="663574"/>
                </a:lnTo>
                <a:lnTo>
                  <a:pt x="450056" y="662772"/>
                </a:lnTo>
                <a:lnTo>
                  <a:pt x="440531" y="660365"/>
                </a:lnTo>
                <a:lnTo>
                  <a:pt x="433387" y="654748"/>
                </a:lnTo>
                <a:lnTo>
                  <a:pt x="427831" y="649934"/>
                </a:lnTo>
                <a:lnTo>
                  <a:pt x="424656" y="642712"/>
                </a:lnTo>
                <a:lnTo>
                  <a:pt x="422275" y="635491"/>
                </a:lnTo>
                <a:lnTo>
                  <a:pt x="420687" y="626665"/>
                </a:lnTo>
                <a:lnTo>
                  <a:pt x="420687" y="616234"/>
                </a:lnTo>
                <a:lnTo>
                  <a:pt x="450056" y="616234"/>
                </a:lnTo>
                <a:lnTo>
                  <a:pt x="451643" y="626665"/>
                </a:lnTo>
                <a:lnTo>
                  <a:pt x="451643" y="631479"/>
                </a:lnTo>
                <a:lnTo>
                  <a:pt x="452437" y="635491"/>
                </a:lnTo>
                <a:lnTo>
                  <a:pt x="454818" y="637898"/>
                </a:lnTo>
                <a:lnTo>
                  <a:pt x="457993" y="640305"/>
                </a:lnTo>
                <a:lnTo>
                  <a:pt x="462756" y="641108"/>
                </a:lnTo>
                <a:lnTo>
                  <a:pt x="467518" y="642712"/>
                </a:lnTo>
                <a:lnTo>
                  <a:pt x="474662" y="641108"/>
                </a:lnTo>
                <a:lnTo>
                  <a:pt x="478631" y="637898"/>
                </a:lnTo>
                <a:lnTo>
                  <a:pt x="482600" y="633084"/>
                </a:lnTo>
                <a:lnTo>
                  <a:pt x="482600" y="626665"/>
                </a:lnTo>
                <a:lnTo>
                  <a:pt x="482600" y="621851"/>
                </a:lnTo>
                <a:lnTo>
                  <a:pt x="479425" y="617839"/>
                </a:lnTo>
                <a:lnTo>
                  <a:pt x="477043" y="613827"/>
                </a:lnTo>
                <a:lnTo>
                  <a:pt x="473868" y="610617"/>
                </a:lnTo>
                <a:lnTo>
                  <a:pt x="463550" y="604198"/>
                </a:lnTo>
                <a:lnTo>
                  <a:pt x="452437" y="596977"/>
                </a:lnTo>
                <a:lnTo>
                  <a:pt x="441325" y="590558"/>
                </a:lnTo>
                <a:lnTo>
                  <a:pt x="436562" y="585744"/>
                </a:lnTo>
                <a:lnTo>
                  <a:pt x="431800" y="581732"/>
                </a:lnTo>
                <a:lnTo>
                  <a:pt x="427831" y="575313"/>
                </a:lnTo>
                <a:lnTo>
                  <a:pt x="425450" y="570499"/>
                </a:lnTo>
                <a:lnTo>
                  <a:pt x="423068" y="563277"/>
                </a:lnTo>
                <a:lnTo>
                  <a:pt x="423068" y="555254"/>
                </a:lnTo>
                <a:lnTo>
                  <a:pt x="423068" y="547230"/>
                </a:lnTo>
                <a:lnTo>
                  <a:pt x="425450" y="539206"/>
                </a:lnTo>
                <a:lnTo>
                  <a:pt x="427831" y="533589"/>
                </a:lnTo>
                <a:lnTo>
                  <a:pt x="433387" y="527170"/>
                </a:lnTo>
                <a:lnTo>
                  <a:pt x="438943" y="522356"/>
                </a:lnTo>
                <a:lnTo>
                  <a:pt x="446881" y="518344"/>
                </a:lnTo>
                <a:lnTo>
                  <a:pt x="457993" y="515937"/>
                </a:lnTo>
                <a:close/>
                <a:moveTo>
                  <a:pt x="396875" y="495300"/>
                </a:moveTo>
                <a:lnTo>
                  <a:pt x="396875" y="695325"/>
                </a:lnTo>
                <a:lnTo>
                  <a:pt x="690562" y="695325"/>
                </a:lnTo>
                <a:lnTo>
                  <a:pt x="690562" y="495300"/>
                </a:lnTo>
                <a:lnTo>
                  <a:pt x="396875" y="495300"/>
                </a:lnTo>
                <a:close/>
                <a:moveTo>
                  <a:pt x="621099" y="430212"/>
                </a:moveTo>
                <a:lnTo>
                  <a:pt x="614904" y="431800"/>
                </a:lnTo>
                <a:lnTo>
                  <a:pt x="610258" y="435768"/>
                </a:lnTo>
                <a:lnTo>
                  <a:pt x="606386" y="440531"/>
                </a:lnTo>
                <a:lnTo>
                  <a:pt x="604837" y="446881"/>
                </a:lnTo>
                <a:lnTo>
                  <a:pt x="606386" y="452437"/>
                </a:lnTo>
                <a:lnTo>
                  <a:pt x="610258" y="458787"/>
                </a:lnTo>
                <a:lnTo>
                  <a:pt x="614904" y="462755"/>
                </a:lnTo>
                <a:lnTo>
                  <a:pt x="621099" y="463549"/>
                </a:lnTo>
                <a:lnTo>
                  <a:pt x="626520" y="462755"/>
                </a:lnTo>
                <a:lnTo>
                  <a:pt x="631941" y="458787"/>
                </a:lnTo>
                <a:lnTo>
                  <a:pt x="635038" y="454024"/>
                </a:lnTo>
                <a:lnTo>
                  <a:pt x="636587" y="446881"/>
                </a:lnTo>
                <a:lnTo>
                  <a:pt x="635038" y="440531"/>
                </a:lnTo>
                <a:lnTo>
                  <a:pt x="631941" y="435768"/>
                </a:lnTo>
                <a:lnTo>
                  <a:pt x="626520" y="431800"/>
                </a:lnTo>
                <a:lnTo>
                  <a:pt x="621099" y="430212"/>
                </a:lnTo>
                <a:close/>
                <a:moveTo>
                  <a:pt x="461962" y="430212"/>
                </a:moveTo>
                <a:lnTo>
                  <a:pt x="455612" y="431800"/>
                </a:lnTo>
                <a:lnTo>
                  <a:pt x="450850" y="435768"/>
                </a:lnTo>
                <a:lnTo>
                  <a:pt x="446881" y="440531"/>
                </a:lnTo>
                <a:lnTo>
                  <a:pt x="446087" y="446881"/>
                </a:lnTo>
                <a:lnTo>
                  <a:pt x="446881" y="454024"/>
                </a:lnTo>
                <a:lnTo>
                  <a:pt x="449262" y="458787"/>
                </a:lnTo>
                <a:lnTo>
                  <a:pt x="455612" y="462755"/>
                </a:lnTo>
                <a:lnTo>
                  <a:pt x="461962" y="463549"/>
                </a:lnTo>
                <a:lnTo>
                  <a:pt x="467518" y="462755"/>
                </a:lnTo>
                <a:lnTo>
                  <a:pt x="473075" y="458787"/>
                </a:lnTo>
                <a:lnTo>
                  <a:pt x="476250" y="454024"/>
                </a:lnTo>
                <a:lnTo>
                  <a:pt x="477837" y="446881"/>
                </a:lnTo>
                <a:lnTo>
                  <a:pt x="476250" y="440531"/>
                </a:lnTo>
                <a:lnTo>
                  <a:pt x="473075" y="435768"/>
                </a:lnTo>
                <a:lnTo>
                  <a:pt x="467518" y="431800"/>
                </a:lnTo>
                <a:lnTo>
                  <a:pt x="461962" y="430212"/>
                </a:lnTo>
                <a:close/>
                <a:moveTo>
                  <a:pt x="382587" y="390525"/>
                </a:moveTo>
                <a:lnTo>
                  <a:pt x="704849" y="390525"/>
                </a:lnTo>
                <a:lnTo>
                  <a:pt x="708818" y="390525"/>
                </a:lnTo>
                <a:lnTo>
                  <a:pt x="711993" y="392912"/>
                </a:lnTo>
                <a:lnTo>
                  <a:pt x="713580" y="393708"/>
                </a:lnTo>
                <a:lnTo>
                  <a:pt x="714374" y="395299"/>
                </a:lnTo>
                <a:lnTo>
                  <a:pt x="717549" y="399277"/>
                </a:lnTo>
                <a:lnTo>
                  <a:pt x="717549" y="404051"/>
                </a:lnTo>
                <a:lnTo>
                  <a:pt x="717549" y="708786"/>
                </a:lnTo>
                <a:lnTo>
                  <a:pt x="717549" y="713560"/>
                </a:lnTo>
                <a:lnTo>
                  <a:pt x="713580" y="718334"/>
                </a:lnTo>
                <a:lnTo>
                  <a:pt x="709612" y="720721"/>
                </a:lnTo>
                <a:lnTo>
                  <a:pt x="704849" y="722312"/>
                </a:lnTo>
                <a:lnTo>
                  <a:pt x="382587" y="722312"/>
                </a:lnTo>
                <a:lnTo>
                  <a:pt x="377825" y="720721"/>
                </a:lnTo>
                <a:lnTo>
                  <a:pt x="373856" y="718334"/>
                </a:lnTo>
                <a:lnTo>
                  <a:pt x="369887" y="713560"/>
                </a:lnTo>
                <a:lnTo>
                  <a:pt x="369887" y="708786"/>
                </a:lnTo>
                <a:lnTo>
                  <a:pt x="369887" y="496347"/>
                </a:lnTo>
                <a:lnTo>
                  <a:pt x="369887" y="404051"/>
                </a:lnTo>
                <a:lnTo>
                  <a:pt x="369887" y="399277"/>
                </a:lnTo>
                <a:lnTo>
                  <a:pt x="373062" y="395299"/>
                </a:lnTo>
                <a:lnTo>
                  <a:pt x="373856" y="393708"/>
                </a:lnTo>
                <a:lnTo>
                  <a:pt x="378618" y="391321"/>
                </a:lnTo>
                <a:lnTo>
                  <a:pt x="382587" y="390525"/>
                </a:lnTo>
                <a:close/>
                <a:moveTo>
                  <a:pt x="543719" y="139700"/>
                </a:moveTo>
                <a:lnTo>
                  <a:pt x="471345" y="270131"/>
                </a:lnTo>
                <a:lnTo>
                  <a:pt x="341709" y="193781"/>
                </a:lnTo>
                <a:lnTo>
                  <a:pt x="344095" y="344095"/>
                </a:lnTo>
                <a:lnTo>
                  <a:pt x="193781" y="341709"/>
                </a:lnTo>
                <a:lnTo>
                  <a:pt x="270131" y="471345"/>
                </a:lnTo>
                <a:lnTo>
                  <a:pt x="139700" y="543719"/>
                </a:lnTo>
                <a:lnTo>
                  <a:pt x="270131" y="616092"/>
                </a:lnTo>
                <a:lnTo>
                  <a:pt x="193781" y="745728"/>
                </a:lnTo>
                <a:lnTo>
                  <a:pt x="344095" y="743342"/>
                </a:lnTo>
                <a:lnTo>
                  <a:pt x="341709" y="893656"/>
                </a:lnTo>
                <a:lnTo>
                  <a:pt x="471345" y="817306"/>
                </a:lnTo>
                <a:lnTo>
                  <a:pt x="543719" y="947737"/>
                </a:lnTo>
                <a:lnTo>
                  <a:pt x="616092" y="817306"/>
                </a:lnTo>
                <a:lnTo>
                  <a:pt x="745728" y="893656"/>
                </a:lnTo>
                <a:lnTo>
                  <a:pt x="743342" y="743342"/>
                </a:lnTo>
                <a:lnTo>
                  <a:pt x="893656" y="745728"/>
                </a:lnTo>
                <a:lnTo>
                  <a:pt x="817306" y="616092"/>
                </a:lnTo>
                <a:lnTo>
                  <a:pt x="947737" y="543719"/>
                </a:lnTo>
                <a:lnTo>
                  <a:pt x="817306" y="471345"/>
                </a:lnTo>
                <a:lnTo>
                  <a:pt x="893656" y="341709"/>
                </a:lnTo>
                <a:lnTo>
                  <a:pt x="743342" y="344095"/>
                </a:lnTo>
                <a:lnTo>
                  <a:pt x="745728" y="193781"/>
                </a:lnTo>
                <a:lnTo>
                  <a:pt x="616092" y="270131"/>
                </a:lnTo>
                <a:lnTo>
                  <a:pt x="543719" y="139700"/>
                </a:lnTo>
                <a:close/>
                <a:moveTo>
                  <a:pt x="515144" y="0"/>
                </a:moveTo>
                <a:lnTo>
                  <a:pt x="543719" y="0"/>
                </a:lnTo>
                <a:lnTo>
                  <a:pt x="572294" y="0"/>
                </a:lnTo>
                <a:lnTo>
                  <a:pt x="599281" y="2381"/>
                </a:lnTo>
                <a:lnTo>
                  <a:pt x="626269" y="6350"/>
                </a:lnTo>
                <a:lnTo>
                  <a:pt x="653256" y="11113"/>
                </a:lnTo>
                <a:lnTo>
                  <a:pt x="678656" y="17463"/>
                </a:lnTo>
                <a:lnTo>
                  <a:pt x="704850" y="24606"/>
                </a:lnTo>
                <a:lnTo>
                  <a:pt x="731044" y="33338"/>
                </a:lnTo>
                <a:lnTo>
                  <a:pt x="755650" y="42863"/>
                </a:lnTo>
                <a:lnTo>
                  <a:pt x="780256" y="53181"/>
                </a:lnTo>
                <a:lnTo>
                  <a:pt x="803275" y="65088"/>
                </a:lnTo>
                <a:lnTo>
                  <a:pt x="825500" y="78581"/>
                </a:lnTo>
                <a:lnTo>
                  <a:pt x="847725" y="92075"/>
                </a:lnTo>
                <a:lnTo>
                  <a:pt x="868362"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50" y="284163"/>
                </a:lnTo>
                <a:lnTo>
                  <a:pt x="1033462" y="307181"/>
                </a:lnTo>
                <a:lnTo>
                  <a:pt x="1044575" y="331787"/>
                </a:lnTo>
                <a:lnTo>
                  <a:pt x="1054100" y="356394"/>
                </a:lnTo>
                <a:lnTo>
                  <a:pt x="1062831" y="382587"/>
                </a:lnTo>
                <a:lnTo>
                  <a:pt x="1069975" y="407194"/>
                </a:lnTo>
                <a:lnTo>
                  <a:pt x="1076325" y="434181"/>
                </a:lnTo>
                <a:lnTo>
                  <a:pt x="1081087" y="461169"/>
                </a:lnTo>
                <a:lnTo>
                  <a:pt x="1085056" y="488156"/>
                </a:lnTo>
                <a:lnTo>
                  <a:pt x="1085850" y="515144"/>
                </a:lnTo>
                <a:lnTo>
                  <a:pt x="1087437" y="543719"/>
                </a:lnTo>
                <a:lnTo>
                  <a:pt x="1085850" y="572294"/>
                </a:lnTo>
                <a:lnTo>
                  <a:pt x="1085056" y="599281"/>
                </a:lnTo>
                <a:lnTo>
                  <a:pt x="1081087" y="626269"/>
                </a:lnTo>
                <a:lnTo>
                  <a:pt x="1076325" y="653256"/>
                </a:lnTo>
                <a:lnTo>
                  <a:pt x="1069975" y="678656"/>
                </a:lnTo>
                <a:lnTo>
                  <a:pt x="1062831" y="704850"/>
                </a:lnTo>
                <a:lnTo>
                  <a:pt x="1054100" y="731044"/>
                </a:lnTo>
                <a:lnTo>
                  <a:pt x="1044575" y="755650"/>
                </a:lnTo>
                <a:lnTo>
                  <a:pt x="1033462" y="780256"/>
                </a:lnTo>
                <a:lnTo>
                  <a:pt x="1022350" y="803275"/>
                </a:lnTo>
                <a:lnTo>
                  <a:pt x="1008856" y="825500"/>
                </a:lnTo>
                <a:lnTo>
                  <a:pt x="995362" y="847725"/>
                </a:lnTo>
                <a:lnTo>
                  <a:pt x="979487" y="868362"/>
                </a:lnTo>
                <a:lnTo>
                  <a:pt x="962818" y="889000"/>
                </a:lnTo>
                <a:lnTo>
                  <a:pt x="946150" y="908843"/>
                </a:lnTo>
                <a:lnTo>
                  <a:pt x="928687" y="928687"/>
                </a:lnTo>
                <a:lnTo>
                  <a:pt x="908843" y="946150"/>
                </a:lnTo>
                <a:lnTo>
                  <a:pt x="889000" y="962818"/>
                </a:lnTo>
                <a:lnTo>
                  <a:pt x="868362" y="979487"/>
                </a:lnTo>
                <a:lnTo>
                  <a:pt x="847725" y="995362"/>
                </a:lnTo>
                <a:lnTo>
                  <a:pt x="825500" y="1008856"/>
                </a:lnTo>
                <a:lnTo>
                  <a:pt x="803275" y="1022350"/>
                </a:lnTo>
                <a:lnTo>
                  <a:pt x="780256" y="1033462"/>
                </a:lnTo>
                <a:lnTo>
                  <a:pt x="755650" y="1044575"/>
                </a:lnTo>
                <a:lnTo>
                  <a:pt x="731044" y="1054100"/>
                </a:lnTo>
                <a:lnTo>
                  <a:pt x="704850" y="1062831"/>
                </a:lnTo>
                <a:lnTo>
                  <a:pt x="678656" y="1069975"/>
                </a:lnTo>
                <a:lnTo>
                  <a:pt x="653256" y="1076325"/>
                </a:lnTo>
                <a:lnTo>
                  <a:pt x="626269" y="1081087"/>
                </a:lnTo>
                <a:lnTo>
                  <a:pt x="599281" y="1085056"/>
                </a:lnTo>
                <a:lnTo>
                  <a:pt x="572294" y="1085850"/>
                </a:lnTo>
                <a:lnTo>
                  <a:pt x="543719" y="1087437"/>
                </a:lnTo>
                <a:lnTo>
                  <a:pt x="515144" y="1085850"/>
                </a:lnTo>
                <a:lnTo>
                  <a:pt x="488156" y="1085056"/>
                </a:lnTo>
                <a:lnTo>
                  <a:pt x="461169" y="1081087"/>
                </a:lnTo>
                <a:lnTo>
                  <a:pt x="434181" y="1076325"/>
                </a:lnTo>
                <a:lnTo>
                  <a:pt x="408781" y="1069975"/>
                </a:lnTo>
                <a:lnTo>
                  <a:pt x="382587" y="1062831"/>
                </a:lnTo>
                <a:lnTo>
                  <a:pt x="356394" y="1054100"/>
                </a:lnTo>
                <a:lnTo>
                  <a:pt x="331787"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2075"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2075"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7" y="42863"/>
                </a:lnTo>
                <a:lnTo>
                  <a:pt x="356394" y="33338"/>
                </a:lnTo>
                <a:lnTo>
                  <a:pt x="382587"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1" name="Freeform 50"/>
          <p:cNvSpPr>
            <a:spLocks/>
          </p:cNvSpPr>
          <p:nvPr userDrawn="1"/>
        </p:nvSpPr>
        <p:spPr bwMode="auto">
          <a:xfrm>
            <a:off x="10609418" y="1076015"/>
            <a:ext cx="1080000" cy="1080000"/>
          </a:xfrm>
          <a:custGeom>
            <a:avLst/>
            <a:gdLst>
              <a:gd name="T0" fmla="*/ 438862 w 1087437"/>
              <a:gd name="T1" fmla="*/ 649921 h 1087438"/>
              <a:gd name="T2" fmla="*/ 722312 w 1087437"/>
              <a:gd name="T3" fmla="*/ 667241 h 1087438"/>
              <a:gd name="T4" fmla="*/ 649470 w 1087437"/>
              <a:gd name="T5" fmla="*/ 638111 h 1087438"/>
              <a:gd name="T6" fmla="*/ 752475 w 1087437"/>
              <a:gd name="T7" fmla="*/ 850901 h 1087438"/>
              <a:gd name="T8" fmla="*/ 239712 w 1087437"/>
              <a:gd name="T9" fmla="*/ 522288 h 1087438"/>
              <a:gd name="T10" fmla="*/ 361234 w 1087437"/>
              <a:gd name="T11" fmla="*/ 522288 h 1087438"/>
              <a:gd name="T12" fmla="*/ 329392 w 1087437"/>
              <a:gd name="T13" fmla="*/ 409153 h 1087438"/>
              <a:gd name="T14" fmla="*/ 307571 w 1087437"/>
              <a:gd name="T15" fmla="*/ 428626 h 1087438"/>
              <a:gd name="T16" fmla="*/ 286558 w 1087437"/>
              <a:gd name="T17" fmla="*/ 409153 h 1087438"/>
              <a:gd name="T18" fmla="*/ 278686 w 1087437"/>
              <a:gd name="T19" fmla="*/ 359589 h 1087438"/>
              <a:gd name="T20" fmla="*/ 273870 w 1087437"/>
              <a:gd name="T21" fmla="*/ 417032 h 1087438"/>
              <a:gd name="T22" fmla="*/ 298753 w 1087437"/>
              <a:gd name="T23" fmla="*/ 440967 h 1087438"/>
              <a:gd name="T24" fmla="*/ 285910 w 1087437"/>
              <a:gd name="T25" fmla="*/ 496814 h 1087438"/>
              <a:gd name="T26" fmla="*/ 274673 w 1087437"/>
              <a:gd name="T27" fmla="*/ 506388 h 1087438"/>
              <a:gd name="T28" fmla="*/ 338083 w 1087437"/>
              <a:gd name="T29" fmla="*/ 508782 h 1087438"/>
              <a:gd name="T30" fmla="*/ 333267 w 1087437"/>
              <a:gd name="T31" fmla="*/ 497612 h 1087438"/>
              <a:gd name="T32" fmla="*/ 313201 w 1087437"/>
              <a:gd name="T33" fmla="*/ 440967 h 1087438"/>
              <a:gd name="T34" fmla="*/ 338083 w 1087437"/>
              <a:gd name="T35" fmla="*/ 422617 h 1087438"/>
              <a:gd name="T36" fmla="*/ 337280 w 1087437"/>
              <a:gd name="T37" fmla="*/ 361983 h 1087438"/>
              <a:gd name="T38" fmla="*/ 561199 w 1087437"/>
              <a:gd name="T39" fmla="*/ 336550 h 1087438"/>
              <a:gd name="T40" fmla="*/ 630255 w 1087437"/>
              <a:gd name="T41" fmla="*/ 384457 h 1087438"/>
              <a:gd name="T42" fmla="*/ 607498 w 1087437"/>
              <a:gd name="T43" fmla="*/ 467496 h 1087438"/>
              <a:gd name="T44" fmla="*/ 521962 w 1087437"/>
              <a:gd name="T45" fmla="*/ 471488 h 1087438"/>
              <a:gd name="T46" fmla="*/ 493712 w 1087437"/>
              <a:gd name="T47" fmla="*/ 389248 h 1087438"/>
              <a:gd name="T48" fmla="*/ 561199 w 1087437"/>
              <a:gd name="T49" fmla="*/ 336550 h 1087438"/>
              <a:gd name="T50" fmla="*/ 472908 w 1087437"/>
              <a:gd name="T51" fmla="*/ 275431 h 1087438"/>
              <a:gd name="T52" fmla="*/ 417485 w 1087437"/>
              <a:gd name="T53" fmla="*/ 328613 h 1087438"/>
              <a:gd name="T54" fmla="*/ 417485 w 1087437"/>
              <a:gd name="T55" fmla="*/ 632619 h 1087438"/>
              <a:gd name="T56" fmla="*/ 535457 w 1087437"/>
              <a:gd name="T57" fmla="*/ 606425 h 1087438"/>
              <a:gd name="T58" fmla="*/ 682724 w 1087437"/>
              <a:gd name="T59" fmla="*/ 621506 h 1087438"/>
              <a:gd name="T60" fmla="*/ 718353 w 1087437"/>
              <a:gd name="T61" fmla="*/ 355600 h 1087438"/>
              <a:gd name="T62" fmla="*/ 676390 w 1087437"/>
              <a:gd name="T63" fmla="*/ 290513 h 1087438"/>
              <a:gd name="T64" fmla="*/ 597214 w 1087437"/>
              <a:gd name="T65" fmla="*/ 257969 h 1087438"/>
              <a:gd name="T66" fmla="*/ 572294 w 1087437"/>
              <a:gd name="T67" fmla="*/ 0 h 1087438"/>
              <a:gd name="T68" fmla="*/ 731044 w 1087437"/>
              <a:gd name="T69" fmla="*/ 33338 h 1087438"/>
              <a:gd name="T70" fmla="*/ 869950 w 1087437"/>
              <a:gd name="T71" fmla="*/ 107950 h 1087438"/>
              <a:gd name="T72" fmla="*/ 980281 w 1087437"/>
              <a:gd name="T73" fmla="*/ 217488 h 1087438"/>
              <a:gd name="T74" fmla="*/ 1055687 w 1087437"/>
              <a:gd name="T75" fmla="*/ 356394 h 1087438"/>
              <a:gd name="T76" fmla="*/ 1087437 w 1087437"/>
              <a:gd name="T77" fmla="*/ 515144 h 1087438"/>
              <a:gd name="T78" fmla="*/ 1069975 w 1087437"/>
              <a:gd name="T79" fmla="*/ 678657 h 1087438"/>
              <a:gd name="T80" fmla="*/ 1008856 w 1087437"/>
              <a:gd name="T81" fmla="*/ 825501 h 1087438"/>
              <a:gd name="T82" fmla="*/ 910431 w 1087437"/>
              <a:gd name="T83" fmla="*/ 946151 h 1087438"/>
              <a:gd name="T84" fmla="*/ 780256 w 1087437"/>
              <a:gd name="T85" fmla="*/ 1033463 h 1087438"/>
              <a:gd name="T86" fmla="*/ 627062 w 1087437"/>
              <a:gd name="T87" fmla="*/ 1081088 h 1087438"/>
              <a:gd name="T88" fmla="*/ 461169 w 1087437"/>
              <a:gd name="T89" fmla="*/ 1081088 h 1087438"/>
              <a:gd name="T90" fmla="*/ 308769 w 1087437"/>
              <a:gd name="T91" fmla="*/ 1033463 h 1087438"/>
              <a:gd name="T92" fmla="*/ 178594 w 1087437"/>
              <a:gd name="T93" fmla="*/ 946151 h 1087438"/>
              <a:gd name="T94" fmla="*/ 78581 w 1087437"/>
              <a:gd name="T95" fmla="*/ 825501 h 1087438"/>
              <a:gd name="T96" fmla="*/ 17463 w 1087437"/>
              <a:gd name="T97" fmla="*/ 678657 h 1087438"/>
              <a:gd name="T98" fmla="*/ 1588 w 1087437"/>
              <a:gd name="T99" fmla="*/ 515144 h 1087438"/>
              <a:gd name="T100" fmla="*/ 33338 w 1087437"/>
              <a:gd name="T101" fmla="*/ 356394 h 1087438"/>
              <a:gd name="T102" fmla="*/ 107950 w 1087437"/>
              <a:gd name="T103" fmla="*/ 217488 h 1087438"/>
              <a:gd name="T104" fmla="*/ 219075 w 1087437"/>
              <a:gd name="T105" fmla="*/ 107950 h 1087438"/>
              <a:gd name="T106" fmla="*/ 356394 w 1087437"/>
              <a:gd name="T107" fmla="*/ 33338 h 1087438"/>
              <a:gd name="T108" fmla="*/ 516731 w 1087437"/>
              <a:gd name="T109"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7437" h="1087438">
                <a:moveTo>
                  <a:pt x="566336" y="630238"/>
                </a:moveTo>
                <a:lnTo>
                  <a:pt x="530706" y="631813"/>
                </a:lnTo>
                <a:lnTo>
                  <a:pt x="501411" y="635749"/>
                </a:lnTo>
                <a:lnTo>
                  <a:pt x="476867" y="638898"/>
                </a:lnTo>
                <a:lnTo>
                  <a:pt x="455489" y="645197"/>
                </a:lnTo>
                <a:lnTo>
                  <a:pt x="438862" y="649921"/>
                </a:lnTo>
                <a:lnTo>
                  <a:pt x="425402" y="656219"/>
                </a:lnTo>
                <a:lnTo>
                  <a:pt x="414318" y="662517"/>
                </a:lnTo>
                <a:lnTo>
                  <a:pt x="406400" y="668816"/>
                </a:lnTo>
                <a:lnTo>
                  <a:pt x="406400" y="727076"/>
                </a:lnTo>
                <a:lnTo>
                  <a:pt x="722312" y="727076"/>
                </a:lnTo>
                <a:lnTo>
                  <a:pt x="722312" y="667241"/>
                </a:lnTo>
                <a:lnTo>
                  <a:pt x="713603" y="660943"/>
                </a:lnTo>
                <a:lnTo>
                  <a:pt x="700935" y="654644"/>
                </a:lnTo>
                <a:lnTo>
                  <a:pt x="691434" y="649921"/>
                </a:lnTo>
                <a:lnTo>
                  <a:pt x="678765" y="646771"/>
                </a:lnTo>
                <a:lnTo>
                  <a:pt x="665306" y="641260"/>
                </a:lnTo>
                <a:lnTo>
                  <a:pt x="649470" y="638111"/>
                </a:lnTo>
                <a:lnTo>
                  <a:pt x="632843" y="635749"/>
                </a:lnTo>
                <a:lnTo>
                  <a:pt x="613049" y="633387"/>
                </a:lnTo>
                <a:lnTo>
                  <a:pt x="590880" y="631813"/>
                </a:lnTo>
                <a:lnTo>
                  <a:pt x="566336" y="630238"/>
                </a:lnTo>
                <a:close/>
                <a:moveTo>
                  <a:pt x="752475" y="522288"/>
                </a:moveTo>
                <a:lnTo>
                  <a:pt x="752475" y="850901"/>
                </a:lnTo>
                <a:lnTo>
                  <a:pt x="802740" y="850901"/>
                </a:lnTo>
                <a:lnTo>
                  <a:pt x="802740" y="573758"/>
                </a:lnTo>
                <a:lnTo>
                  <a:pt x="827087" y="573758"/>
                </a:lnTo>
                <a:lnTo>
                  <a:pt x="827087" y="522288"/>
                </a:lnTo>
                <a:lnTo>
                  <a:pt x="752475" y="522288"/>
                </a:lnTo>
                <a:close/>
                <a:moveTo>
                  <a:pt x="239712" y="522288"/>
                </a:moveTo>
                <a:lnTo>
                  <a:pt x="239712" y="573758"/>
                </a:lnTo>
                <a:lnTo>
                  <a:pt x="323357" y="573758"/>
                </a:lnTo>
                <a:lnTo>
                  <a:pt x="323357" y="850901"/>
                </a:lnTo>
                <a:lnTo>
                  <a:pt x="374649" y="850901"/>
                </a:lnTo>
                <a:lnTo>
                  <a:pt x="374649" y="522288"/>
                </a:lnTo>
                <a:lnTo>
                  <a:pt x="361234" y="522288"/>
                </a:lnTo>
                <a:lnTo>
                  <a:pt x="287848" y="522288"/>
                </a:lnTo>
                <a:lnTo>
                  <a:pt x="239712" y="522288"/>
                </a:lnTo>
                <a:close/>
                <a:moveTo>
                  <a:pt x="285750" y="392113"/>
                </a:moveTo>
                <a:lnTo>
                  <a:pt x="330200" y="392113"/>
                </a:lnTo>
                <a:lnTo>
                  <a:pt x="330200" y="401039"/>
                </a:lnTo>
                <a:lnTo>
                  <a:pt x="329392" y="409153"/>
                </a:lnTo>
                <a:lnTo>
                  <a:pt x="326967" y="416455"/>
                </a:lnTo>
                <a:lnTo>
                  <a:pt x="321310" y="422946"/>
                </a:lnTo>
                <a:lnTo>
                  <a:pt x="318077" y="425381"/>
                </a:lnTo>
                <a:lnTo>
                  <a:pt x="314036" y="427815"/>
                </a:lnTo>
                <a:lnTo>
                  <a:pt x="311612" y="427815"/>
                </a:lnTo>
                <a:lnTo>
                  <a:pt x="307571" y="428626"/>
                </a:lnTo>
                <a:lnTo>
                  <a:pt x="304338" y="427815"/>
                </a:lnTo>
                <a:lnTo>
                  <a:pt x="301914" y="427815"/>
                </a:lnTo>
                <a:lnTo>
                  <a:pt x="297873" y="425381"/>
                </a:lnTo>
                <a:lnTo>
                  <a:pt x="293832" y="422946"/>
                </a:lnTo>
                <a:lnTo>
                  <a:pt x="288983" y="416455"/>
                </a:lnTo>
                <a:lnTo>
                  <a:pt x="286558" y="409153"/>
                </a:lnTo>
                <a:lnTo>
                  <a:pt x="285750" y="401039"/>
                </a:lnTo>
                <a:lnTo>
                  <a:pt x="285750" y="392113"/>
                </a:lnTo>
                <a:close/>
                <a:moveTo>
                  <a:pt x="283502" y="355600"/>
                </a:moveTo>
                <a:lnTo>
                  <a:pt x="281094" y="356398"/>
                </a:lnTo>
                <a:lnTo>
                  <a:pt x="279489" y="356398"/>
                </a:lnTo>
                <a:lnTo>
                  <a:pt x="278686" y="359589"/>
                </a:lnTo>
                <a:lnTo>
                  <a:pt x="277081" y="361983"/>
                </a:lnTo>
                <a:lnTo>
                  <a:pt x="273870" y="378737"/>
                </a:lnTo>
                <a:lnTo>
                  <a:pt x="272265" y="391502"/>
                </a:lnTo>
                <a:lnTo>
                  <a:pt x="271462" y="401076"/>
                </a:lnTo>
                <a:lnTo>
                  <a:pt x="272265" y="412245"/>
                </a:lnTo>
                <a:lnTo>
                  <a:pt x="273870" y="417032"/>
                </a:lnTo>
                <a:lnTo>
                  <a:pt x="276278" y="422617"/>
                </a:lnTo>
                <a:lnTo>
                  <a:pt x="279489" y="427404"/>
                </a:lnTo>
                <a:lnTo>
                  <a:pt x="285107" y="432191"/>
                </a:lnTo>
                <a:lnTo>
                  <a:pt x="289923" y="436180"/>
                </a:lnTo>
                <a:lnTo>
                  <a:pt x="295542" y="439371"/>
                </a:lnTo>
                <a:lnTo>
                  <a:pt x="298753" y="440967"/>
                </a:lnTo>
                <a:lnTo>
                  <a:pt x="301161" y="440967"/>
                </a:lnTo>
                <a:lnTo>
                  <a:pt x="301161" y="486443"/>
                </a:lnTo>
                <a:lnTo>
                  <a:pt x="299555" y="488836"/>
                </a:lnTo>
                <a:lnTo>
                  <a:pt x="295542" y="492825"/>
                </a:lnTo>
                <a:lnTo>
                  <a:pt x="290726" y="496814"/>
                </a:lnTo>
                <a:lnTo>
                  <a:pt x="285910" y="496814"/>
                </a:lnTo>
                <a:lnTo>
                  <a:pt x="281094" y="497612"/>
                </a:lnTo>
                <a:lnTo>
                  <a:pt x="278686" y="497612"/>
                </a:lnTo>
                <a:lnTo>
                  <a:pt x="276278" y="499208"/>
                </a:lnTo>
                <a:lnTo>
                  <a:pt x="274673" y="501601"/>
                </a:lnTo>
                <a:lnTo>
                  <a:pt x="274673" y="503995"/>
                </a:lnTo>
                <a:lnTo>
                  <a:pt x="274673" y="506388"/>
                </a:lnTo>
                <a:lnTo>
                  <a:pt x="276278" y="508782"/>
                </a:lnTo>
                <a:lnTo>
                  <a:pt x="278686" y="510377"/>
                </a:lnTo>
                <a:lnTo>
                  <a:pt x="281094" y="511175"/>
                </a:lnTo>
                <a:lnTo>
                  <a:pt x="333267" y="511175"/>
                </a:lnTo>
                <a:lnTo>
                  <a:pt x="335675" y="510377"/>
                </a:lnTo>
                <a:lnTo>
                  <a:pt x="338083" y="508782"/>
                </a:lnTo>
                <a:lnTo>
                  <a:pt x="339688" y="506388"/>
                </a:lnTo>
                <a:lnTo>
                  <a:pt x="339688" y="503995"/>
                </a:lnTo>
                <a:lnTo>
                  <a:pt x="339688" y="501601"/>
                </a:lnTo>
                <a:lnTo>
                  <a:pt x="338083" y="499208"/>
                </a:lnTo>
                <a:lnTo>
                  <a:pt x="335675" y="497612"/>
                </a:lnTo>
                <a:lnTo>
                  <a:pt x="333267" y="497612"/>
                </a:lnTo>
                <a:lnTo>
                  <a:pt x="328451" y="496814"/>
                </a:lnTo>
                <a:lnTo>
                  <a:pt x="323635" y="496814"/>
                </a:lnTo>
                <a:lnTo>
                  <a:pt x="318017" y="492825"/>
                </a:lnTo>
                <a:lnTo>
                  <a:pt x="314806" y="488836"/>
                </a:lnTo>
                <a:lnTo>
                  <a:pt x="313201" y="486443"/>
                </a:lnTo>
                <a:lnTo>
                  <a:pt x="313201" y="440967"/>
                </a:lnTo>
                <a:lnTo>
                  <a:pt x="315609" y="440967"/>
                </a:lnTo>
                <a:lnTo>
                  <a:pt x="318017" y="439371"/>
                </a:lnTo>
                <a:lnTo>
                  <a:pt x="324438" y="436180"/>
                </a:lnTo>
                <a:lnTo>
                  <a:pt x="329254" y="432191"/>
                </a:lnTo>
                <a:lnTo>
                  <a:pt x="334872" y="427404"/>
                </a:lnTo>
                <a:lnTo>
                  <a:pt x="338083" y="422617"/>
                </a:lnTo>
                <a:lnTo>
                  <a:pt x="340491" y="417032"/>
                </a:lnTo>
                <a:lnTo>
                  <a:pt x="342096" y="412245"/>
                </a:lnTo>
                <a:lnTo>
                  <a:pt x="342899" y="401076"/>
                </a:lnTo>
                <a:lnTo>
                  <a:pt x="342096" y="391502"/>
                </a:lnTo>
                <a:lnTo>
                  <a:pt x="340491" y="378737"/>
                </a:lnTo>
                <a:lnTo>
                  <a:pt x="337280" y="361983"/>
                </a:lnTo>
                <a:lnTo>
                  <a:pt x="335675" y="359589"/>
                </a:lnTo>
                <a:lnTo>
                  <a:pt x="334872" y="356398"/>
                </a:lnTo>
                <a:lnTo>
                  <a:pt x="333267" y="356398"/>
                </a:lnTo>
                <a:lnTo>
                  <a:pt x="330859" y="355600"/>
                </a:lnTo>
                <a:lnTo>
                  <a:pt x="283502" y="355600"/>
                </a:lnTo>
                <a:close/>
                <a:moveTo>
                  <a:pt x="561199" y="336550"/>
                </a:moveTo>
                <a:lnTo>
                  <a:pt x="561984" y="336550"/>
                </a:lnTo>
                <a:lnTo>
                  <a:pt x="564338" y="336550"/>
                </a:lnTo>
                <a:lnTo>
                  <a:pt x="566692" y="338945"/>
                </a:lnTo>
                <a:lnTo>
                  <a:pt x="585525" y="377271"/>
                </a:lnTo>
                <a:lnTo>
                  <a:pt x="628685" y="384457"/>
                </a:lnTo>
                <a:lnTo>
                  <a:pt x="630255" y="384457"/>
                </a:lnTo>
                <a:lnTo>
                  <a:pt x="631824" y="386852"/>
                </a:lnTo>
                <a:lnTo>
                  <a:pt x="631824" y="389248"/>
                </a:lnTo>
                <a:lnTo>
                  <a:pt x="631824" y="391643"/>
                </a:lnTo>
                <a:lnTo>
                  <a:pt x="599650" y="421984"/>
                </a:lnTo>
                <a:lnTo>
                  <a:pt x="607498" y="465101"/>
                </a:lnTo>
                <a:lnTo>
                  <a:pt x="607498" y="467496"/>
                </a:lnTo>
                <a:lnTo>
                  <a:pt x="605928" y="469891"/>
                </a:lnTo>
                <a:lnTo>
                  <a:pt x="603574" y="471488"/>
                </a:lnTo>
                <a:lnTo>
                  <a:pt x="601220" y="469891"/>
                </a:lnTo>
                <a:lnTo>
                  <a:pt x="561984" y="449930"/>
                </a:lnTo>
                <a:lnTo>
                  <a:pt x="524317" y="469891"/>
                </a:lnTo>
                <a:lnTo>
                  <a:pt x="521962" y="471488"/>
                </a:lnTo>
                <a:lnTo>
                  <a:pt x="519608" y="469891"/>
                </a:lnTo>
                <a:lnTo>
                  <a:pt x="518039" y="467496"/>
                </a:lnTo>
                <a:lnTo>
                  <a:pt x="518039" y="465101"/>
                </a:lnTo>
                <a:lnTo>
                  <a:pt x="525886" y="421984"/>
                </a:lnTo>
                <a:lnTo>
                  <a:pt x="493712" y="391643"/>
                </a:lnTo>
                <a:lnTo>
                  <a:pt x="493712" y="389248"/>
                </a:lnTo>
                <a:lnTo>
                  <a:pt x="493712" y="386852"/>
                </a:lnTo>
                <a:lnTo>
                  <a:pt x="495282" y="384457"/>
                </a:lnTo>
                <a:lnTo>
                  <a:pt x="496851" y="384457"/>
                </a:lnTo>
                <a:lnTo>
                  <a:pt x="540011" y="377271"/>
                </a:lnTo>
                <a:lnTo>
                  <a:pt x="558845" y="338945"/>
                </a:lnTo>
                <a:lnTo>
                  <a:pt x="561199" y="336550"/>
                </a:lnTo>
                <a:close/>
                <a:moveTo>
                  <a:pt x="546542" y="257175"/>
                </a:moveTo>
                <a:lnTo>
                  <a:pt x="530706" y="257969"/>
                </a:lnTo>
                <a:lnTo>
                  <a:pt x="514871" y="261144"/>
                </a:lnTo>
                <a:lnTo>
                  <a:pt x="499828" y="264319"/>
                </a:lnTo>
                <a:lnTo>
                  <a:pt x="486368" y="269081"/>
                </a:lnTo>
                <a:lnTo>
                  <a:pt x="472908" y="275431"/>
                </a:lnTo>
                <a:lnTo>
                  <a:pt x="461032" y="281781"/>
                </a:lnTo>
                <a:lnTo>
                  <a:pt x="449947" y="288925"/>
                </a:lnTo>
                <a:lnTo>
                  <a:pt x="441238" y="297656"/>
                </a:lnTo>
                <a:lnTo>
                  <a:pt x="432528" y="307181"/>
                </a:lnTo>
                <a:lnTo>
                  <a:pt x="423819" y="317500"/>
                </a:lnTo>
                <a:lnTo>
                  <a:pt x="417485" y="328613"/>
                </a:lnTo>
                <a:lnTo>
                  <a:pt x="412734" y="340519"/>
                </a:lnTo>
                <a:lnTo>
                  <a:pt x="409567" y="354013"/>
                </a:lnTo>
                <a:lnTo>
                  <a:pt x="406400" y="369094"/>
                </a:lnTo>
                <a:lnTo>
                  <a:pt x="406400" y="384969"/>
                </a:lnTo>
                <a:lnTo>
                  <a:pt x="406400" y="638175"/>
                </a:lnTo>
                <a:lnTo>
                  <a:pt x="417485" y="632619"/>
                </a:lnTo>
                <a:lnTo>
                  <a:pt x="430945" y="626269"/>
                </a:lnTo>
                <a:lnTo>
                  <a:pt x="447572" y="621506"/>
                </a:lnTo>
                <a:lnTo>
                  <a:pt x="464199" y="615950"/>
                </a:lnTo>
                <a:lnTo>
                  <a:pt x="485576" y="611188"/>
                </a:lnTo>
                <a:lnTo>
                  <a:pt x="510121" y="608806"/>
                </a:lnTo>
                <a:lnTo>
                  <a:pt x="535457" y="606425"/>
                </a:lnTo>
                <a:lnTo>
                  <a:pt x="566336" y="604838"/>
                </a:lnTo>
                <a:lnTo>
                  <a:pt x="594839" y="606425"/>
                </a:lnTo>
                <a:lnTo>
                  <a:pt x="621759" y="608806"/>
                </a:lnTo>
                <a:lnTo>
                  <a:pt x="644720" y="611188"/>
                </a:lnTo>
                <a:lnTo>
                  <a:pt x="664514" y="615950"/>
                </a:lnTo>
                <a:lnTo>
                  <a:pt x="682724" y="621506"/>
                </a:lnTo>
                <a:lnTo>
                  <a:pt x="697768" y="626269"/>
                </a:lnTo>
                <a:lnTo>
                  <a:pt x="711228" y="632619"/>
                </a:lnTo>
                <a:lnTo>
                  <a:pt x="722312" y="637381"/>
                </a:lnTo>
                <a:lnTo>
                  <a:pt x="722312" y="386556"/>
                </a:lnTo>
                <a:lnTo>
                  <a:pt x="720729" y="369888"/>
                </a:lnTo>
                <a:lnTo>
                  <a:pt x="718353" y="355600"/>
                </a:lnTo>
                <a:lnTo>
                  <a:pt x="714395" y="342106"/>
                </a:lnTo>
                <a:lnTo>
                  <a:pt x="709644" y="329406"/>
                </a:lnTo>
                <a:lnTo>
                  <a:pt x="703310" y="318294"/>
                </a:lnTo>
                <a:lnTo>
                  <a:pt x="696184" y="307181"/>
                </a:lnTo>
                <a:lnTo>
                  <a:pt x="686683" y="299244"/>
                </a:lnTo>
                <a:lnTo>
                  <a:pt x="676390" y="290513"/>
                </a:lnTo>
                <a:lnTo>
                  <a:pt x="665306" y="281781"/>
                </a:lnTo>
                <a:lnTo>
                  <a:pt x="654221" y="275431"/>
                </a:lnTo>
                <a:lnTo>
                  <a:pt x="640761" y="269081"/>
                </a:lnTo>
                <a:lnTo>
                  <a:pt x="627301" y="265906"/>
                </a:lnTo>
                <a:lnTo>
                  <a:pt x="611466" y="261144"/>
                </a:lnTo>
                <a:lnTo>
                  <a:pt x="597214" y="257969"/>
                </a:lnTo>
                <a:lnTo>
                  <a:pt x="579796" y="257175"/>
                </a:lnTo>
                <a:lnTo>
                  <a:pt x="563960" y="257175"/>
                </a:lnTo>
                <a:lnTo>
                  <a:pt x="546542" y="257175"/>
                </a:lnTo>
                <a:close/>
                <a:moveTo>
                  <a:pt x="516731" y="0"/>
                </a:moveTo>
                <a:lnTo>
                  <a:pt x="543719" y="0"/>
                </a:lnTo>
                <a:lnTo>
                  <a:pt x="572294" y="0"/>
                </a:lnTo>
                <a:lnTo>
                  <a:pt x="600075" y="2381"/>
                </a:lnTo>
                <a:lnTo>
                  <a:pt x="627062" y="6350"/>
                </a:lnTo>
                <a:lnTo>
                  <a:pt x="653256" y="11113"/>
                </a:lnTo>
                <a:lnTo>
                  <a:pt x="680244" y="17463"/>
                </a:lnTo>
                <a:lnTo>
                  <a:pt x="706437" y="24606"/>
                </a:lnTo>
                <a:lnTo>
                  <a:pt x="731044" y="33338"/>
                </a:lnTo>
                <a:lnTo>
                  <a:pt x="755650" y="42863"/>
                </a:lnTo>
                <a:lnTo>
                  <a:pt x="780256" y="53181"/>
                </a:lnTo>
                <a:lnTo>
                  <a:pt x="803275" y="65088"/>
                </a:lnTo>
                <a:lnTo>
                  <a:pt x="826294" y="78581"/>
                </a:lnTo>
                <a:lnTo>
                  <a:pt x="847725" y="92075"/>
                </a:lnTo>
                <a:lnTo>
                  <a:pt x="869950" y="107950"/>
                </a:lnTo>
                <a:lnTo>
                  <a:pt x="890587" y="124619"/>
                </a:lnTo>
                <a:lnTo>
                  <a:pt x="910431" y="141288"/>
                </a:lnTo>
                <a:lnTo>
                  <a:pt x="928687" y="158750"/>
                </a:lnTo>
                <a:lnTo>
                  <a:pt x="946944" y="178594"/>
                </a:lnTo>
                <a:lnTo>
                  <a:pt x="962819" y="198438"/>
                </a:lnTo>
                <a:lnTo>
                  <a:pt x="980281" y="217488"/>
                </a:lnTo>
                <a:lnTo>
                  <a:pt x="995362" y="239713"/>
                </a:lnTo>
                <a:lnTo>
                  <a:pt x="1008856" y="261938"/>
                </a:lnTo>
                <a:lnTo>
                  <a:pt x="1022350" y="284163"/>
                </a:lnTo>
                <a:lnTo>
                  <a:pt x="1034256" y="307182"/>
                </a:lnTo>
                <a:lnTo>
                  <a:pt x="1045368" y="331788"/>
                </a:lnTo>
                <a:lnTo>
                  <a:pt x="1055687" y="356394"/>
                </a:lnTo>
                <a:lnTo>
                  <a:pt x="1064418" y="382588"/>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4418" y="704850"/>
                </a:lnTo>
                <a:lnTo>
                  <a:pt x="1055687" y="731044"/>
                </a:lnTo>
                <a:lnTo>
                  <a:pt x="1045368" y="755651"/>
                </a:lnTo>
                <a:lnTo>
                  <a:pt x="1034256" y="780257"/>
                </a:lnTo>
                <a:lnTo>
                  <a:pt x="1022350" y="803276"/>
                </a:lnTo>
                <a:lnTo>
                  <a:pt x="1008856" y="825501"/>
                </a:lnTo>
                <a:lnTo>
                  <a:pt x="995362" y="847726"/>
                </a:lnTo>
                <a:lnTo>
                  <a:pt x="980281" y="868363"/>
                </a:lnTo>
                <a:lnTo>
                  <a:pt x="962819" y="889001"/>
                </a:lnTo>
                <a:lnTo>
                  <a:pt x="946944" y="908844"/>
                </a:lnTo>
                <a:lnTo>
                  <a:pt x="928687" y="928688"/>
                </a:lnTo>
                <a:lnTo>
                  <a:pt x="910431" y="946151"/>
                </a:lnTo>
                <a:lnTo>
                  <a:pt x="890587" y="962819"/>
                </a:lnTo>
                <a:lnTo>
                  <a:pt x="869950" y="979488"/>
                </a:lnTo>
                <a:lnTo>
                  <a:pt x="847725" y="995363"/>
                </a:lnTo>
                <a:lnTo>
                  <a:pt x="826294" y="1008857"/>
                </a:lnTo>
                <a:lnTo>
                  <a:pt x="803275" y="1022351"/>
                </a:lnTo>
                <a:lnTo>
                  <a:pt x="780256" y="1033463"/>
                </a:lnTo>
                <a:lnTo>
                  <a:pt x="755650" y="1044576"/>
                </a:lnTo>
                <a:lnTo>
                  <a:pt x="731044" y="1054101"/>
                </a:lnTo>
                <a:lnTo>
                  <a:pt x="706437" y="1062832"/>
                </a:lnTo>
                <a:lnTo>
                  <a:pt x="680244" y="1069976"/>
                </a:lnTo>
                <a:lnTo>
                  <a:pt x="653256" y="1076326"/>
                </a:lnTo>
                <a:lnTo>
                  <a:pt x="627062" y="1081088"/>
                </a:lnTo>
                <a:lnTo>
                  <a:pt x="600075" y="1085057"/>
                </a:lnTo>
                <a:lnTo>
                  <a:pt x="572294" y="1085851"/>
                </a:lnTo>
                <a:lnTo>
                  <a:pt x="543719" y="1087438"/>
                </a:lnTo>
                <a:lnTo>
                  <a:pt x="516731" y="1085851"/>
                </a:lnTo>
                <a:lnTo>
                  <a:pt x="488156" y="1085057"/>
                </a:lnTo>
                <a:lnTo>
                  <a:pt x="461169" y="1081088"/>
                </a:lnTo>
                <a:lnTo>
                  <a:pt x="434181" y="1076326"/>
                </a:lnTo>
                <a:lnTo>
                  <a:pt x="408781" y="1069976"/>
                </a:lnTo>
                <a:lnTo>
                  <a:pt x="382587" y="1062832"/>
                </a:lnTo>
                <a:lnTo>
                  <a:pt x="356394" y="1054101"/>
                </a:lnTo>
                <a:lnTo>
                  <a:pt x="331787" y="1044576"/>
                </a:lnTo>
                <a:lnTo>
                  <a:pt x="308769" y="1033463"/>
                </a:lnTo>
                <a:lnTo>
                  <a:pt x="285750" y="1022351"/>
                </a:lnTo>
                <a:lnTo>
                  <a:pt x="261938" y="1008857"/>
                </a:lnTo>
                <a:lnTo>
                  <a:pt x="239713" y="995363"/>
                </a:lnTo>
                <a:lnTo>
                  <a:pt x="219075" y="979488"/>
                </a:lnTo>
                <a:lnTo>
                  <a:pt x="198438" y="962819"/>
                </a:lnTo>
                <a:lnTo>
                  <a:pt x="178594" y="946151"/>
                </a:lnTo>
                <a:lnTo>
                  <a:pt x="159544" y="928688"/>
                </a:lnTo>
                <a:lnTo>
                  <a:pt x="141288" y="908844"/>
                </a:lnTo>
                <a:lnTo>
                  <a:pt x="124619" y="889001"/>
                </a:lnTo>
                <a:lnTo>
                  <a:pt x="107950" y="868363"/>
                </a:lnTo>
                <a:lnTo>
                  <a:pt x="93663" y="847726"/>
                </a:lnTo>
                <a:lnTo>
                  <a:pt x="78581" y="825501"/>
                </a:lnTo>
                <a:lnTo>
                  <a:pt x="66675" y="803276"/>
                </a:lnTo>
                <a:lnTo>
                  <a:pt x="53975" y="780257"/>
                </a:lnTo>
                <a:lnTo>
                  <a:pt x="42863" y="755651"/>
                </a:lnTo>
                <a:lnTo>
                  <a:pt x="33338" y="731044"/>
                </a:lnTo>
                <a:lnTo>
                  <a:pt x="24606" y="704850"/>
                </a:lnTo>
                <a:lnTo>
                  <a:pt x="17463" y="678657"/>
                </a:lnTo>
                <a:lnTo>
                  <a:pt x="11113" y="653257"/>
                </a:lnTo>
                <a:lnTo>
                  <a:pt x="6350" y="626269"/>
                </a:lnTo>
                <a:lnTo>
                  <a:pt x="3969" y="599282"/>
                </a:lnTo>
                <a:lnTo>
                  <a:pt x="1588" y="572294"/>
                </a:lnTo>
                <a:lnTo>
                  <a:pt x="0" y="543719"/>
                </a:lnTo>
                <a:lnTo>
                  <a:pt x="1588" y="515144"/>
                </a:lnTo>
                <a:lnTo>
                  <a:pt x="3969" y="488157"/>
                </a:lnTo>
                <a:lnTo>
                  <a:pt x="6350" y="461169"/>
                </a:lnTo>
                <a:lnTo>
                  <a:pt x="11113" y="434182"/>
                </a:lnTo>
                <a:lnTo>
                  <a:pt x="17463" y="407194"/>
                </a:lnTo>
                <a:lnTo>
                  <a:pt x="24606" y="382588"/>
                </a:lnTo>
                <a:lnTo>
                  <a:pt x="33338" y="356394"/>
                </a:lnTo>
                <a:lnTo>
                  <a:pt x="42863" y="331788"/>
                </a:lnTo>
                <a:lnTo>
                  <a:pt x="53975" y="307182"/>
                </a:lnTo>
                <a:lnTo>
                  <a:pt x="66675" y="284163"/>
                </a:lnTo>
                <a:lnTo>
                  <a:pt x="78581" y="261938"/>
                </a:lnTo>
                <a:lnTo>
                  <a:pt x="93663" y="239713"/>
                </a:lnTo>
                <a:lnTo>
                  <a:pt x="107950" y="217488"/>
                </a:lnTo>
                <a:lnTo>
                  <a:pt x="124619" y="198438"/>
                </a:lnTo>
                <a:lnTo>
                  <a:pt x="141288" y="178594"/>
                </a:lnTo>
                <a:lnTo>
                  <a:pt x="159544" y="158750"/>
                </a:lnTo>
                <a:lnTo>
                  <a:pt x="178594" y="141288"/>
                </a:lnTo>
                <a:lnTo>
                  <a:pt x="198438" y="124619"/>
                </a:lnTo>
                <a:lnTo>
                  <a:pt x="219075" y="107950"/>
                </a:lnTo>
                <a:lnTo>
                  <a:pt x="239713" y="92075"/>
                </a:lnTo>
                <a:lnTo>
                  <a:pt x="261938" y="78581"/>
                </a:lnTo>
                <a:lnTo>
                  <a:pt x="285750" y="65088"/>
                </a:lnTo>
                <a:lnTo>
                  <a:pt x="308769" y="53181"/>
                </a:lnTo>
                <a:lnTo>
                  <a:pt x="331787" y="42863"/>
                </a:lnTo>
                <a:lnTo>
                  <a:pt x="356394" y="33338"/>
                </a:lnTo>
                <a:lnTo>
                  <a:pt x="382587" y="24606"/>
                </a:lnTo>
                <a:lnTo>
                  <a:pt x="408781" y="17463"/>
                </a:lnTo>
                <a:lnTo>
                  <a:pt x="434181" y="11113"/>
                </a:lnTo>
                <a:lnTo>
                  <a:pt x="461169" y="6350"/>
                </a:lnTo>
                <a:lnTo>
                  <a:pt x="488156" y="2381"/>
                </a:lnTo>
                <a:lnTo>
                  <a:pt x="516731"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2" name="TextBox 30"/>
          <p:cNvSpPr txBox="1">
            <a:spLocks noChangeArrowheads="1"/>
          </p:cNvSpPr>
          <p:nvPr userDrawn="1"/>
        </p:nvSpPr>
        <p:spPr bwMode="auto">
          <a:xfrm>
            <a:off x="3240807" y="2174945"/>
            <a:ext cx="104419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een</a:t>
            </a:r>
            <a:r>
              <a:rPr lang="en-GB" altLang="en-US" sz="900" baseline="0" dirty="0">
                <a:solidFill>
                  <a:schemeClr val="bg1"/>
                </a:solidFill>
              </a:rPr>
              <a:t> Screen</a:t>
            </a:r>
            <a:endParaRPr lang="en-GB" altLang="en-US" sz="900" dirty="0">
              <a:solidFill>
                <a:schemeClr val="bg1"/>
              </a:solidFill>
            </a:endParaRPr>
          </a:p>
        </p:txBody>
      </p:sp>
      <p:sp>
        <p:nvSpPr>
          <p:cNvPr id="53" name="TextBox 17"/>
          <p:cNvSpPr txBox="1">
            <a:spLocks noChangeArrowheads="1"/>
          </p:cNvSpPr>
          <p:nvPr userDrawn="1"/>
        </p:nvSpPr>
        <p:spPr bwMode="auto">
          <a:xfrm>
            <a:off x="274363" y="5096617"/>
            <a:ext cx="1071564"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ampling</a:t>
            </a:r>
          </a:p>
        </p:txBody>
      </p:sp>
      <p:sp>
        <p:nvSpPr>
          <p:cNvPr id="54" name="Freeform 74"/>
          <p:cNvSpPr>
            <a:spLocks/>
          </p:cNvSpPr>
          <p:nvPr userDrawn="1"/>
        </p:nvSpPr>
        <p:spPr bwMode="auto">
          <a:xfrm>
            <a:off x="268299" y="3994458"/>
            <a:ext cx="1080000" cy="1080000"/>
          </a:xfrm>
          <a:custGeom>
            <a:avLst/>
            <a:gdLst/>
            <a:ahLst/>
            <a:cxnLst/>
            <a:rect l="l" t="t" r="r" b="b"/>
            <a:pathLst>
              <a:path w="1100138" h="1100138">
                <a:moveTo>
                  <a:pt x="746125" y="539750"/>
                </a:moveTo>
                <a:lnTo>
                  <a:pt x="746125" y="778669"/>
                </a:lnTo>
                <a:lnTo>
                  <a:pt x="728663" y="759619"/>
                </a:lnTo>
                <a:lnTo>
                  <a:pt x="709613" y="741363"/>
                </a:lnTo>
                <a:lnTo>
                  <a:pt x="578644" y="609600"/>
                </a:lnTo>
                <a:lnTo>
                  <a:pt x="572294" y="606425"/>
                </a:lnTo>
                <a:lnTo>
                  <a:pt x="566738" y="602456"/>
                </a:lnTo>
                <a:lnTo>
                  <a:pt x="560388" y="600869"/>
                </a:lnTo>
                <a:lnTo>
                  <a:pt x="554831" y="600075"/>
                </a:lnTo>
                <a:lnTo>
                  <a:pt x="548481" y="600869"/>
                </a:lnTo>
                <a:lnTo>
                  <a:pt x="542131" y="602456"/>
                </a:lnTo>
                <a:lnTo>
                  <a:pt x="535781" y="606425"/>
                </a:lnTo>
                <a:lnTo>
                  <a:pt x="530225" y="609600"/>
                </a:lnTo>
                <a:lnTo>
                  <a:pt x="527050" y="615156"/>
                </a:lnTo>
                <a:lnTo>
                  <a:pt x="523081" y="621506"/>
                </a:lnTo>
                <a:lnTo>
                  <a:pt x="521494" y="627856"/>
                </a:lnTo>
                <a:lnTo>
                  <a:pt x="520700" y="634206"/>
                </a:lnTo>
                <a:lnTo>
                  <a:pt x="521494" y="640556"/>
                </a:lnTo>
                <a:lnTo>
                  <a:pt x="523081" y="646113"/>
                </a:lnTo>
                <a:lnTo>
                  <a:pt x="527050" y="651669"/>
                </a:lnTo>
                <a:lnTo>
                  <a:pt x="530225" y="658019"/>
                </a:lnTo>
                <a:lnTo>
                  <a:pt x="698500" y="823913"/>
                </a:lnTo>
                <a:lnTo>
                  <a:pt x="713582" y="840581"/>
                </a:lnTo>
                <a:lnTo>
                  <a:pt x="727075" y="854075"/>
                </a:lnTo>
                <a:lnTo>
                  <a:pt x="772319" y="898525"/>
                </a:lnTo>
                <a:lnTo>
                  <a:pt x="849313" y="898525"/>
                </a:lnTo>
                <a:lnTo>
                  <a:pt x="849313" y="641350"/>
                </a:lnTo>
                <a:close/>
                <a:moveTo>
                  <a:pt x="461169" y="457200"/>
                </a:moveTo>
                <a:lnTo>
                  <a:pt x="447676" y="463550"/>
                </a:lnTo>
                <a:lnTo>
                  <a:pt x="433388" y="471488"/>
                </a:lnTo>
                <a:lnTo>
                  <a:pt x="420688" y="478631"/>
                </a:lnTo>
                <a:lnTo>
                  <a:pt x="407988" y="488950"/>
                </a:lnTo>
                <a:lnTo>
                  <a:pt x="396876" y="497681"/>
                </a:lnTo>
                <a:lnTo>
                  <a:pt x="386557" y="508794"/>
                </a:lnTo>
                <a:lnTo>
                  <a:pt x="377032" y="520700"/>
                </a:lnTo>
                <a:lnTo>
                  <a:pt x="368301" y="531813"/>
                </a:lnTo>
                <a:lnTo>
                  <a:pt x="358776" y="544513"/>
                </a:lnTo>
                <a:lnTo>
                  <a:pt x="353219" y="558006"/>
                </a:lnTo>
                <a:lnTo>
                  <a:pt x="346869" y="572294"/>
                </a:lnTo>
                <a:lnTo>
                  <a:pt x="341313" y="587375"/>
                </a:lnTo>
                <a:lnTo>
                  <a:pt x="336551" y="600869"/>
                </a:lnTo>
                <a:lnTo>
                  <a:pt x="334169" y="617538"/>
                </a:lnTo>
                <a:lnTo>
                  <a:pt x="332582" y="632619"/>
                </a:lnTo>
                <a:lnTo>
                  <a:pt x="331788" y="649288"/>
                </a:lnTo>
                <a:lnTo>
                  <a:pt x="332582" y="670719"/>
                </a:lnTo>
                <a:lnTo>
                  <a:pt x="334963" y="690563"/>
                </a:lnTo>
                <a:lnTo>
                  <a:pt x="340519" y="709613"/>
                </a:lnTo>
                <a:lnTo>
                  <a:pt x="347663" y="728663"/>
                </a:lnTo>
                <a:lnTo>
                  <a:pt x="356394" y="746919"/>
                </a:lnTo>
                <a:lnTo>
                  <a:pt x="366713" y="763588"/>
                </a:lnTo>
                <a:lnTo>
                  <a:pt x="377826" y="780256"/>
                </a:lnTo>
                <a:lnTo>
                  <a:pt x="392113" y="793750"/>
                </a:lnTo>
                <a:lnTo>
                  <a:pt x="405607" y="808038"/>
                </a:lnTo>
                <a:lnTo>
                  <a:pt x="422276" y="819150"/>
                </a:lnTo>
                <a:lnTo>
                  <a:pt x="438151" y="829469"/>
                </a:lnTo>
                <a:lnTo>
                  <a:pt x="457201" y="838200"/>
                </a:lnTo>
                <a:lnTo>
                  <a:pt x="476251" y="845344"/>
                </a:lnTo>
                <a:lnTo>
                  <a:pt x="495301" y="850900"/>
                </a:lnTo>
                <a:lnTo>
                  <a:pt x="515144" y="853281"/>
                </a:lnTo>
                <a:lnTo>
                  <a:pt x="536576" y="854075"/>
                </a:lnTo>
                <a:lnTo>
                  <a:pt x="551657" y="854075"/>
                </a:lnTo>
                <a:lnTo>
                  <a:pt x="565945" y="851694"/>
                </a:lnTo>
                <a:lnTo>
                  <a:pt x="579438" y="849313"/>
                </a:lnTo>
                <a:lnTo>
                  <a:pt x="593726" y="846931"/>
                </a:lnTo>
                <a:lnTo>
                  <a:pt x="607220" y="842169"/>
                </a:lnTo>
                <a:lnTo>
                  <a:pt x="619920" y="836613"/>
                </a:lnTo>
                <a:lnTo>
                  <a:pt x="632620" y="830263"/>
                </a:lnTo>
                <a:lnTo>
                  <a:pt x="643732" y="823913"/>
                </a:lnTo>
                <a:lnTo>
                  <a:pt x="508794" y="688975"/>
                </a:lnTo>
                <a:lnTo>
                  <a:pt x="500063" y="677863"/>
                </a:lnTo>
                <a:lnTo>
                  <a:pt x="493713" y="666750"/>
                </a:lnTo>
                <a:lnTo>
                  <a:pt x="490538" y="652463"/>
                </a:lnTo>
                <a:lnTo>
                  <a:pt x="488951" y="638969"/>
                </a:lnTo>
                <a:lnTo>
                  <a:pt x="490538" y="624681"/>
                </a:lnTo>
                <a:lnTo>
                  <a:pt x="493713" y="611188"/>
                </a:lnTo>
                <a:lnTo>
                  <a:pt x="500063" y="598488"/>
                </a:lnTo>
                <a:lnTo>
                  <a:pt x="508794" y="587375"/>
                </a:lnTo>
                <a:lnTo>
                  <a:pt x="520701" y="578644"/>
                </a:lnTo>
                <a:lnTo>
                  <a:pt x="533401" y="572294"/>
                </a:lnTo>
                <a:lnTo>
                  <a:pt x="545307" y="568325"/>
                </a:lnTo>
                <a:lnTo>
                  <a:pt x="559595" y="566738"/>
                </a:lnTo>
                <a:lnTo>
                  <a:pt x="574676" y="568325"/>
                </a:lnTo>
                <a:lnTo>
                  <a:pt x="587376" y="572294"/>
                </a:lnTo>
                <a:lnTo>
                  <a:pt x="600076" y="578644"/>
                </a:lnTo>
                <a:lnTo>
                  <a:pt x="611188" y="587375"/>
                </a:lnTo>
                <a:lnTo>
                  <a:pt x="714376" y="690563"/>
                </a:lnTo>
                <a:lnTo>
                  <a:pt x="714376" y="544513"/>
                </a:lnTo>
                <a:lnTo>
                  <a:pt x="704057" y="530225"/>
                </a:lnTo>
                <a:lnTo>
                  <a:pt x="694532" y="516731"/>
                </a:lnTo>
                <a:lnTo>
                  <a:pt x="682626" y="504031"/>
                </a:lnTo>
                <a:lnTo>
                  <a:pt x="670720" y="492919"/>
                </a:lnTo>
                <a:lnTo>
                  <a:pt x="658020" y="482600"/>
                </a:lnTo>
                <a:lnTo>
                  <a:pt x="643732" y="472281"/>
                </a:lnTo>
                <a:lnTo>
                  <a:pt x="628651" y="465138"/>
                </a:lnTo>
                <a:lnTo>
                  <a:pt x="612776" y="457200"/>
                </a:lnTo>
                <a:close/>
                <a:moveTo>
                  <a:pt x="266032" y="393700"/>
                </a:moveTo>
                <a:lnTo>
                  <a:pt x="254000" y="396875"/>
                </a:lnTo>
                <a:lnTo>
                  <a:pt x="256256" y="406400"/>
                </a:lnTo>
                <a:lnTo>
                  <a:pt x="268288" y="402431"/>
                </a:lnTo>
                <a:close/>
                <a:moveTo>
                  <a:pt x="294482" y="384175"/>
                </a:moveTo>
                <a:lnTo>
                  <a:pt x="284163" y="386556"/>
                </a:lnTo>
                <a:lnTo>
                  <a:pt x="286544" y="396875"/>
                </a:lnTo>
                <a:lnTo>
                  <a:pt x="296863" y="392906"/>
                </a:lnTo>
                <a:close/>
                <a:moveTo>
                  <a:pt x="461963" y="381000"/>
                </a:moveTo>
                <a:lnTo>
                  <a:pt x="461963" y="430213"/>
                </a:lnTo>
                <a:lnTo>
                  <a:pt x="612776" y="430213"/>
                </a:lnTo>
                <a:lnTo>
                  <a:pt x="612776" y="381000"/>
                </a:lnTo>
                <a:close/>
                <a:moveTo>
                  <a:pt x="326092" y="374650"/>
                </a:moveTo>
                <a:lnTo>
                  <a:pt x="314325" y="377638"/>
                </a:lnTo>
                <a:lnTo>
                  <a:pt x="318527" y="387350"/>
                </a:lnTo>
                <a:lnTo>
                  <a:pt x="328613" y="383615"/>
                </a:lnTo>
                <a:close/>
                <a:moveTo>
                  <a:pt x="356161" y="365125"/>
                </a:moveTo>
                <a:lnTo>
                  <a:pt x="346075" y="368300"/>
                </a:lnTo>
                <a:lnTo>
                  <a:pt x="348596" y="377825"/>
                </a:lnTo>
                <a:lnTo>
                  <a:pt x="360363" y="375444"/>
                </a:lnTo>
                <a:close/>
                <a:moveTo>
                  <a:pt x="388144" y="357188"/>
                </a:moveTo>
                <a:lnTo>
                  <a:pt x="377825" y="359569"/>
                </a:lnTo>
                <a:lnTo>
                  <a:pt x="380206" y="369888"/>
                </a:lnTo>
                <a:lnTo>
                  <a:pt x="390525" y="365919"/>
                </a:lnTo>
                <a:close/>
                <a:moveTo>
                  <a:pt x="419894" y="346075"/>
                </a:moveTo>
                <a:lnTo>
                  <a:pt x="409575" y="349462"/>
                </a:lnTo>
                <a:lnTo>
                  <a:pt x="411956" y="358775"/>
                </a:lnTo>
                <a:lnTo>
                  <a:pt x="422275" y="356235"/>
                </a:lnTo>
                <a:close/>
                <a:moveTo>
                  <a:pt x="406400" y="325438"/>
                </a:moveTo>
                <a:lnTo>
                  <a:pt x="406400" y="334963"/>
                </a:lnTo>
                <a:lnTo>
                  <a:pt x="417513" y="334963"/>
                </a:lnTo>
                <a:lnTo>
                  <a:pt x="417513" y="325438"/>
                </a:lnTo>
                <a:close/>
                <a:moveTo>
                  <a:pt x="374650" y="325438"/>
                </a:moveTo>
                <a:lnTo>
                  <a:pt x="374650" y="334963"/>
                </a:lnTo>
                <a:lnTo>
                  <a:pt x="384175" y="334963"/>
                </a:lnTo>
                <a:lnTo>
                  <a:pt x="384175" y="325438"/>
                </a:lnTo>
                <a:close/>
                <a:moveTo>
                  <a:pt x="341313" y="325438"/>
                </a:moveTo>
                <a:lnTo>
                  <a:pt x="341313" y="334963"/>
                </a:lnTo>
                <a:lnTo>
                  <a:pt x="352426" y="334963"/>
                </a:lnTo>
                <a:lnTo>
                  <a:pt x="352426" y="325438"/>
                </a:lnTo>
                <a:close/>
                <a:moveTo>
                  <a:pt x="307975" y="325438"/>
                </a:moveTo>
                <a:lnTo>
                  <a:pt x="307975" y="334963"/>
                </a:lnTo>
                <a:lnTo>
                  <a:pt x="320675" y="334963"/>
                </a:lnTo>
                <a:lnTo>
                  <a:pt x="320675" y="325438"/>
                </a:lnTo>
                <a:close/>
                <a:moveTo>
                  <a:pt x="276225" y="325438"/>
                </a:moveTo>
                <a:lnTo>
                  <a:pt x="276225" y="334963"/>
                </a:lnTo>
                <a:lnTo>
                  <a:pt x="287338" y="334963"/>
                </a:lnTo>
                <a:lnTo>
                  <a:pt x="287338" y="325438"/>
                </a:lnTo>
                <a:close/>
                <a:moveTo>
                  <a:pt x="246063" y="325438"/>
                </a:moveTo>
                <a:lnTo>
                  <a:pt x="246063" y="334963"/>
                </a:lnTo>
                <a:lnTo>
                  <a:pt x="257176" y="334963"/>
                </a:lnTo>
                <a:lnTo>
                  <a:pt x="257176" y="325438"/>
                </a:lnTo>
                <a:close/>
                <a:moveTo>
                  <a:pt x="411163" y="300038"/>
                </a:moveTo>
                <a:lnTo>
                  <a:pt x="407988" y="308769"/>
                </a:lnTo>
                <a:lnTo>
                  <a:pt x="418307" y="312738"/>
                </a:lnTo>
                <a:lnTo>
                  <a:pt x="420688" y="302419"/>
                </a:lnTo>
                <a:close/>
                <a:moveTo>
                  <a:pt x="378619" y="290513"/>
                </a:moveTo>
                <a:lnTo>
                  <a:pt x="376238" y="300832"/>
                </a:lnTo>
                <a:lnTo>
                  <a:pt x="385763" y="303213"/>
                </a:lnTo>
                <a:lnTo>
                  <a:pt x="388938" y="294482"/>
                </a:lnTo>
                <a:close/>
                <a:moveTo>
                  <a:pt x="348316" y="280988"/>
                </a:moveTo>
                <a:lnTo>
                  <a:pt x="346075" y="291307"/>
                </a:lnTo>
                <a:lnTo>
                  <a:pt x="355787" y="293688"/>
                </a:lnTo>
                <a:lnTo>
                  <a:pt x="358775" y="283369"/>
                </a:lnTo>
                <a:close/>
                <a:moveTo>
                  <a:pt x="317853" y="271463"/>
                </a:moveTo>
                <a:lnTo>
                  <a:pt x="314325" y="280194"/>
                </a:lnTo>
                <a:lnTo>
                  <a:pt x="324908" y="284163"/>
                </a:lnTo>
                <a:lnTo>
                  <a:pt x="327025" y="273844"/>
                </a:lnTo>
                <a:close/>
                <a:moveTo>
                  <a:pt x="541338" y="265113"/>
                </a:moveTo>
                <a:lnTo>
                  <a:pt x="524669" y="266715"/>
                </a:lnTo>
                <a:lnTo>
                  <a:pt x="509588" y="269918"/>
                </a:lnTo>
                <a:lnTo>
                  <a:pt x="496094" y="276324"/>
                </a:lnTo>
                <a:lnTo>
                  <a:pt x="483394" y="284332"/>
                </a:lnTo>
                <a:lnTo>
                  <a:pt x="472282" y="293141"/>
                </a:lnTo>
                <a:lnTo>
                  <a:pt x="461963" y="304351"/>
                </a:lnTo>
                <a:lnTo>
                  <a:pt x="455613" y="315562"/>
                </a:lnTo>
                <a:lnTo>
                  <a:pt x="449263" y="329976"/>
                </a:lnTo>
                <a:lnTo>
                  <a:pt x="449263" y="355601"/>
                </a:lnTo>
                <a:lnTo>
                  <a:pt x="631826" y="355601"/>
                </a:lnTo>
                <a:lnTo>
                  <a:pt x="631826" y="329976"/>
                </a:lnTo>
                <a:lnTo>
                  <a:pt x="627063" y="315562"/>
                </a:lnTo>
                <a:lnTo>
                  <a:pt x="619920" y="304351"/>
                </a:lnTo>
                <a:lnTo>
                  <a:pt x="609601" y="293141"/>
                </a:lnTo>
                <a:lnTo>
                  <a:pt x="598488" y="284332"/>
                </a:lnTo>
                <a:lnTo>
                  <a:pt x="585788" y="276324"/>
                </a:lnTo>
                <a:lnTo>
                  <a:pt x="571501" y="269918"/>
                </a:lnTo>
                <a:lnTo>
                  <a:pt x="556420" y="266715"/>
                </a:lnTo>
                <a:close/>
                <a:moveTo>
                  <a:pt x="286544" y="261938"/>
                </a:moveTo>
                <a:lnTo>
                  <a:pt x="284163" y="272257"/>
                </a:lnTo>
                <a:lnTo>
                  <a:pt x="294482" y="274638"/>
                </a:lnTo>
                <a:lnTo>
                  <a:pt x="296863" y="265907"/>
                </a:lnTo>
                <a:close/>
                <a:moveTo>
                  <a:pt x="253081" y="252413"/>
                </a:moveTo>
                <a:lnTo>
                  <a:pt x="250825" y="261378"/>
                </a:lnTo>
                <a:lnTo>
                  <a:pt x="261353" y="265113"/>
                </a:lnTo>
                <a:lnTo>
                  <a:pt x="265113" y="255401"/>
                </a:lnTo>
                <a:close/>
                <a:moveTo>
                  <a:pt x="549275" y="0"/>
                </a:moveTo>
                <a:lnTo>
                  <a:pt x="578644" y="1588"/>
                </a:lnTo>
                <a:lnTo>
                  <a:pt x="606425" y="3969"/>
                </a:lnTo>
                <a:lnTo>
                  <a:pt x="634207" y="6350"/>
                </a:lnTo>
                <a:lnTo>
                  <a:pt x="660400" y="11113"/>
                </a:lnTo>
                <a:lnTo>
                  <a:pt x="686594" y="17463"/>
                </a:lnTo>
                <a:lnTo>
                  <a:pt x="713582" y="25400"/>
                </a:lnTo>
                <a:lnTo>
                  <a:pt x="738188" y="34132"/>
                </a:lnTo>
                <a:lnTo>
                  <a:pt x="763588" y="44450"/>
                </a:lnTo>
                <a:lnTo>
                  <a:pt x="787400" y="53975"/>
                </a:lnTo>
                <a:lnTo>
                  <a:pt x="811213" y="66675"/>
                </a:lnTo>
                <a:lnTo>
                  <a:pt x="835819" y="80963"/>
                </a:lnTo>
                <a:lnTo>
                  <a:pt x="857250" y="94457"/>
                </a:lnTo>
                <a:lnTo>
                  <a:pt x="878682" y="109538"/>
                </a:lnTo>
                <a:lnTo>
                  <a:pt x="900113" y="126207"/>
                </a:lnTo>
                <a:lnTo>
                  <a:pt x="919957" y="143669"/>
                </a:lnTo>
                <a:lnTo>
                  <a:pt x="939007" y="161132"/>
                </a:lnTo>
                <a:lnTo>
                  <a:pt x="956469" y="180182"/>
                </a:lnTo>
                <a:lnTo>
                  <a:pt x="973932" y="200025"/>
                </a:lnTo>
                <a:lnTo>
                  <a:pt x="990600" y="221457"/>
                </a:lnTo>
                <a:lnTo>
                  <a:pt x="1005682" y="242888"/>
                </a:lnTo>
                <a:lnTo>
                  <a:pt x="1020763" y="265907"/>
                </a:lnTo>
                <a:lnTo>
                  <a:pt x="1033463" y="288925"/>
                </a:lnTo>
                <a:lnTo>
                  <a:pt x="1046163" y="312738"/>
                </a:lnTo>
                <a:lnTo>
                  <a:pt x="1055688" y="336550"/>
                </a:lnTo>
                <a:lnTo>
                  <a:pt x="1066007" y="361950"/>
                </a:lnTo>
                <a:lnTo>
                  <a:pt x="1074738" y="386557"/>
                </a:lnTo>
                <a:lnTo>
                  <a:pt x="1082675" y="413544"/>
                </a:lnTo>
                <a:lnTo>
                  <a:pt x="1089025" y="439738"/>
                </a:lnTo>
                <a:lnTo>
                  <a:pt x="1093788" y="465932"/>
                </a:lnTo>
                <a:lnTo>
                  <a:pt x="1096169" y="493713"/>
                </a:lnTo>
                <a:lnTo>
                  <a:pt x="1098551" y="521494"/>
                </a:lnTo>
                <a:lnTo>
                  <a:pt x="1100138" y="550863"/>
                </a:lnTo>
                <a:lnTo>
                  <a:pt x="1098551" y="578644"/>
                </a:lnTo>
                <a:lnTo>
                  <a:pt x="1096169" y="607219"/>
                </a:lnTo>
                <a:lnTo>
                  <a:pt x="1093788" y="634207"/>
                </a:lnTo>
                <a:lnTo>
                  <a:pt x="1089025" y="661988"/>
                </a:lnTo>
                <a:lnTo>
                  <a:pt x="1082675" y="688182"/>
                </a:lnTo>
                <a:lnTo>
                  <a:pt x="1074738" y="714376"/>
                </a:lnTo>
                <a:lnTo>
                  <a:pt x="1066007" y="739776"/>
                </a:lnTo>
                <a:lnTo>
                  <a:pt x="1055688" y="765176"/>
                </a:lnTo>
                <a:lnTo>
                  <a:pt x="1046163" y="788988"/>
                </a:lnTo>
                <a:lnTo>
                  <a:pt x="1033463" y="812801"/>
                </a:lnTo>
                <a:lnTo>
                  <a:pt x="1020763" y="835819"/>
                </a:lnTo>
                <a:lnTo>
                  <a:pt x="1005682" y="858044"/>
                </a:lnTo>
                <a:lnTo>
                  <a:pt x="990600" y="879476"/>
                </a:lnTo>
                <a:lnTo>
                  <a:pt x="973932" y="900907"/>
                </a:lnTo>
                <a:lnTo>
                  <a:pt x="956469" y="919957"/>
                </a:lnTo>
                <a:lnTo>
                  <a:pt x="939007" y="939801"/>
                </a:lnTo>
                <a:lnTo>
                  <a:pt x="919957" y="958057"/>
                </a:lnTo>
                <a:lnTo>
                  <a:pt x="900113" y="975519"/>
                </a:lnTo>
                <a:lnTo>
                  <a:pt x="878682" y="991394"/>
                </a:lnTo>
                <a:lnTo>
                  <a:pt x="857250" y="1007269"/>
                </a:lnTo>
                <a:lnTo>
                  <a:pt x="835819" y="1020763"/>
                </a:lnTo>
                <a:lnTo>
                  <a:pt x="811213" y="1034257"/>
                </a:lnTo>
                <a:lnTo>
                  <a:pt x="787400" y="1046163"/>
                </a:lnTo>
                <a:lnTo>
                  <a:pt x="763588" y="1057276"/>
                </a:lnTo>
                <a:lnTo>
                  <a:pt x="738188" y="1067594"/>
                </a:lnTo>
                <a:lnTo>
                  <a:pt x="713582" y="1076326"/>
                </a:lnTo>
                <a:lnTo>
                  <a:pt x="686594" y="1083469"/>
                </a:lnTo>
                <a:lnTo>
                  <a:pt x="660400" y="1089819"/>
                </a:lnTo>
                <a:lnTo>
                  <a:pt x="634207" y="1093788"/>
                </a:lnTo>
                <a:lnTo>
                  <a:pt x="606425" y="1097757"/>
                </a:lnTo>
                <a:lnTo>
                  <a:pt x="578644" y="1100138"/>
                </a:lnTo>
                <a:lnTo>
                  <a:pt x="549275" y="1100138"/>
                </a:lnTo>
                <a:lnTo>
                  <a:pt x="521494" y="1100138"/>
                </a:lnTo>
                <a:lnTo>
                  <a:pt x="493713" y="1097757"/>
                </a:lnTo>
                <a:lnTo>
                  <a:pt x="465931" y="1093788"/>
                </a:lnTo>
                <a:lnTo>
                  <a:pt x="438150" y="1089819"/>
                </a:lnTo>
                <a:lnTo>
                  <a:pt x="411956" y="1083469"/>
                </a:lnTo>
                <a:lnTo>
                  <a:pt x="385763" y="1076326"/>
                </a:lnTo>
                <a:lnTo>
                  <a:pt x="360363" y="1067594"/>
                </a:lnTo>
                <a:lnTo>
                  <a:pt x="334963" y="1057276"/>
                </a:lnTo>
                <a:lnTo>
                  <a:pt x="311150" y="1046163"/>
                </a:lnTo>
                <a:lnTo>
                  <a:pt x="287338" y="1034257"/>
                </a:lnTo>
                <a:lnTo>
                  <a:pt x="264319" y="1020763"/>
                </a:lnTo>
                <a:lnTo>
                  <a:pt x="242094" y="1007269"/>
                </a:lnTo>
                <a:lnTo>
                  <a:pt x="220663" y="991394"/>
                </a:lnTo>
                <a:lnTo>
                  <a:pt x="200025" y="975519"/>
                </a:lnTo>
                <a:lnTo>
                  <a:pt x="180181" y="958057"/>
                </a:lnTo>
                <a:lnTo>
                  <a:pt x="161131" y="939801"/>
                </a:lnTo>
                <a:lnTo>
                  <a:pt x="142081" y="919957"/>
                </a:lnTo>
                <a:lnTo>
                  <a:pt x="124619" y="900907"/>
                </a:lnTo>
                <a:lnTo>
                  <a:pt x="108744" y="879476"/>
                </a:lnTo>
                <a:lnTo>
                  <a:pt x="92869" y="858044"/>
                </a:lnTo>
                <a:lnTo>
                  <a:pt x="79375" y="835819"/>
                </a:lnTo>
                <a:lnTo>
                  <a:pt x="65881" y="812801"/>
                </a:lnTo>
                <a:lnTo>
                  <a:pt x="53975" y="788988"/>
                </a:lnTo>
                <a:lnTo>
                  <a:pt x="42863" y="765176"/>
                </a:lnTo>
                <a:lnTo>
                  <a:pt x="32544" y="739776"/>
                </a:lnTo>
                <a:lnTo>
                  <a:pt x="23813" y="714376"/>
                </a:lnTo>
                <a:lnTo>
                  <a:pt x="16669" y="688182"/>
                </a:lnTo>
                <a:lnTo>
                  <a:pt x="11113" y="661988"/>
                </a:lnTo>
                <a:lnTo>
                  <a:pt x="6350" y="634207"/>
                </a:lnTo>
                <a:lnTo>
                  <a:pt x="2381" y="607219"/>
                </a:lnTo>
                <a:lnTo>
                  <a:pt x="0" y="578644"/>
                </a:lnTo>
                <a:lnTo>
                  <a:pt x="0" y="550863"/>
                </a:lnTo>
                <a:lnTo>
                  <a:pt x="0" y="521494"/>
                </a:lnTo>
                <a:lnTo>
                  <a:pt x="2381" y="493713"/>
                </a:lnTo>
                <a:lnTo>
                  <a:pt x="6350" y="465932"/>
                </a:lnTo>
                <a:lnTo>
                  <a:pt x="11113" y="439738"/>
                </a:lnTo>
                <a:lnTo>
                  <a:pt x="16669" y="413544"/>
                </a:lnTo>
                <a:lnTo>
                  <a:pt x="23813" y="386557"/>
                </a:lnTo>
                <a:lnTo>
                  <a:pt x="32544" y="361950"/>
                </a:lnTo>
                <a:lnTo>
                  <a:pt x="42863" y="336550"/>
                </a:lnTo>
                <a:lnTo>
                  <a:pt x="53975" y="312738"/>
                </a:lnTo>
                <a:lnTo>
                  <a:pt x="65881" y="288925"/>
                </a:lnTo>
                <a:lnTo>
                  <a:pt x="79375" y="265907"/>
                </a:lnTo>
                <a:lnTo>
                  <a:pt x="92869" y="242888"/>
                </a:lnTo>
                <a:lnTo>
                  <a:pt x="108744" y="221457"/>
                </a:lnTo>
                <a:lnTo>
                  <a:pt x="124619" y="200025"/>
                </a:lnTo>
                <a:lnTo>
                  <a:pt x="142081" y="180182"/>
                </a:lnTo>
                <a:lnTo>
                  <a:pt x="161131" y="161132"/>
                </a:lnTo>
                <a:lnTo>
                  <a:pt x="180181" y="143669"/>
                </a:lnTo>
                <a:lnTo>
                  <a:pt x="200025" y="126207"/>
                </a:lnTo>
                <a:lnTo>
                  <a:pt x="220663" y="109538"/>
                </a:lnTo>
                <a:lnTo>
                  <a:pt x="242094" y="94457"/>
                </a:lnTo>
                <a:lnTo>
                  <a:pt x="264319" y="80963"/>
                </a:lnTo>
                <a:lnTo>
                  <a:pt x="287338" y="66675"/>
                </a:lnTo>
                <a:lnTo>
                  <a:pt x="311150" y="53975"/>
                </a:lnTo>
                <a:lnTo>
                  <a:pt x="334963" y="44450"/>
                </a:lnTo>
                <a:lnTo>
                  <a:pt x="360363" y="34132"/>
                </a:lnTo>
                <a:lnTo>
                  <a:pt x="385763" y="25400"/>
                </a:lnTo>
                <a:lnTo>
                  <a:pt x="411956" y="17463"/>
                </a:lnTo>
                <a:lnTo>
                  <a:pt x="438150" y="11113"/>
                </a:lnTo>
                <a:lnTo>
                  <a:pt x="465931" y="6350"/>
                </a:lnTo>
                <a:lnTo>
                  <a:pt x="493713" y="3969"/>
                </a:lnTo>
                <a:lnTo>
                  <a:pt x="521494" y="158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55" name="Group 54"/>
          <p:cNvGrpSpPr/>
          <p:nvPr userDrawn="1"/>
        </p:nvGrpSpPr>
        <p:grpSpPr>
          <a:xfrm>
            <a:off x="7656615" y="3994458"/>
            <a:ext cx="1080000" cy="1080000"/>
            <a:chOff x="4729163" y="471488"/>
            <a:chExt cx="1144587" cy="1144587"/>
          </a:xfrm>
          <a:solidFill>
            <a:srgbClr val="000000"/>
          </a:solidFill>
        </p:grpSpPr>
        <p:sp>
          <p:nvSpPr>
            <p:cNvPr id="56" name="Freeform 23">
              <a:extLst>
                <a:ext uri="{FF2B5EF4-FFF2-40B4-BE49-F238E27FC236}">
                  <a16:creationId xmlns:a16="http://schemas.microsoft.com/office/drawing/2014/main" id="{23D02194-C910-4418-A569-FD54F344BF99}"/>
                </a:ext>
              </a:extLst>
            </p:cNvPr>
            <p:cNvSpPr>
              <a:spLocks noEditPoints="1"/>
            </p:cNvSpPr>
            <p:nvPr/>
          </p:nvSpPr>
          <p:spPr bwMode="auto">
            <a:xfrm>
              <a:off x="4729163" y="471488"/>
              <a:ext cx="1144587" cy="1144587"/>
            </a:xfrm>
            <a:custGeom>
              <a:avLst/>
              <a:gdLst>
                <a:gd name="T0" fmla="*/ 576 w 1442"/>
                <a:gd name="T1" fmla="*/ 15 h 1442"/>
                <a:gd name="T2" fmla="*/ 377 w 1442"/>
                <a:gd name="T3" fmla="*/ 86 h 1442"/>
                <a:gd name="T4" fmla="*/ 210 w 1442"/>
                <a:gd name="T5" fmla="*/ 210 h 1442"/>
                <a:gd name="T6" fmla="*/ 86 w 1442"/>
                <a:gd name="T7" fmla="*/ 377 h 1442"/>
                <a:gd name="T8" fmla="*/ 15 w 1442"/>
                <a:gd name="T9" fmla="*/ 576 h 1442"/>
                <a:gd name="T10" fmla="*/ 2 w 1442"/>
                <a:gd name="T11" fmla="*/ 759 h 1442"/>
                <a:gd name="T12" fmla="*/ 44 w 1442"/>
                <a:gd name="T13" fmla="*/ 969 h 1442"/>
                <a:gd name="T14" fmla="*/ 144 w 1442"/>
                <a:gd name="T15" fmla="*/ 1152 h 1442"/>
                <a:gd name="T16" fmla="*/ 290 w 1442"/>
                <a:gd name="T17" fmla="*/ 1298 h 1442"/>
                <a:gd name="T18" fmla="*/ 473 w 1442"/>
                <a:gd name="T19" fmla="*/ 1398 h 1442"/>
                <a:gd name="T20" fmla="*/ 683 w 1442"/>
                <a:gd name="T21" fmla="*/ 1440 h 1442"/>
                <a:gd name="T22" fmla="*/ 866 w 1442"/>
                <a:gd name="T23" fmla="*/ 1427 h 1442"/>
                <a:gd name="T24" fmla="*/ 1065 w 1442"/>
                <a:gd name="T25" fmla="*/ 1356 h 1442"/>
                <a:gd name="T26" fmla="*/ 1232 w 1442"/>
                <a:gd name="T27" fmla="*/ 1232 h 1442"/>
                <a:gd name="T28" fmla="*/ 1356 w 1442"/>
                <a:gd name="T29" fmla="*/ 1065 h 1442"/>
                <a:gd name="T30" fmla="*/ 1427 w 1442"/>
                <a:gd name="T31" fmla="*/ 866 h 1442"/>
                <a:gd name="T32" fmla="*/ 1442 w 1442"/>
                <a:gd name="T33" fmla="*/ 683 h 1442"/>
                <a:gd name="T34" fmla="*/ 1398 w 1442"/>
                <a:gd name="T35" fmla="*/ 473 h 1442"/>
                <a:gd name="T36" fmla="*/ 1298 w 1442"/>
                <a:gd name="T37" fmla="*/ 289 h 1442"/>
                <a:gd name="T38" fmla="*/ 1153 w 1442"/>
                <a:gd name="T39" fmla="*/ 144 h 1442"/>
                <a:gd name="T40" fmla="*/ 969 w 1442"/>
                <a:gd name="T41" fmla="*/ 44 h 1442"/>
                <a:gd name="T42" fmla="*/ 759 w 1442"/>
                <a:gd name="T43" fmla="*/ 0 h 1442"/>
                <a:gd name="T44" fmla="*/ 599 w 1442"/>
                <a:gd name="T45" fmla="*/ 1212 h 1442"/>
                <a:gd name="T46" fmla="*/ 576 w 1442"/>
                <a:gd name="T47" fmla="*/ 1188 h 1442"/>
                <a:gd name="T48" fmla="*/ 592 w 1442"/>
                <a:gd name="T49" fmla="*/ 1165 h 1442"/>
                <a:gd name="T50" fmla="*/ 850 w 1442"/>
                <a:gd name="T51" fmla="*/ 1165 h 1442"/>
                <a:gd name="T52" fmla="*/ 866 w 1442"/>
                <a:gd name="T53" fmla="*/ 1188 h 1442"/>
                <a:gd name="T54" fmla="*/ 845 w 1442"/>
                <a:gd name="T55" fmla="*/ 1212 h 1442"/>
                <a:gd name="T56" fmla="*/ 599 w 1442"/>
                <a:gd name="T57" fmla="*/ 1130 h 1442"/>
                <a:gd name="T58" fmla="*/ 576 w 1442"/>
                <a:gd name="T59" fmla="*/ 1106 h 1442"/>
                <a:gd name="T60" fmla="*/ 592 w 1442"/>
                <a:gd name="T61" fmla="*/ 1083 h 1442"/>
                <a:gd name="T62" fmla="*/ 850 w 1442"/>
                <a:gd name="T63" fmla="*/ 1083 h 1442"/>
                <a:gd name="T64" fmla="*/ 866 w 1442"/>
                <a:gd name="T65" fmla="*/ 1106 h 1442"/>
                <a:gd name="T66" fmla="*/ 845 w 1442"/>
                <a:gd name="T67" fmla="*/ 1130 h 1442"/>
                <a:gd name="T68" fmla="*/ 599 w 1442"/>
                <a:gd name="T69" fmla="*/ 1049 h 1442"/>
                <a:gd name="T70" fmla="*/ 576 w 1442"/>
                <a:gd name="T71" fmla="*/ 1024 h 1442"/>
                <a:gd name="T72" fmla="*/ 592 w 1442"/>
                <a:gd name="T73" fmla="*/ 1002 h 1442"/>
                <a:gd name="T74" fmla="*/ 850 w 1442"/>
                <a:gd name="T75" fmla="*/ 1002 h 1442"/>
                <a:gd name="T76" fmla="*/ 866 w 1442"/>
                <a:gd name="T77" fmla="*/ 1024 h 1442"/>
                <a:gd name="T78" fmla="*/ 845 w 1442"/>
                <a:gd name="T79" fmla="*/ 1049 h 1442"/>
                <a:gd name="T80" fmla="*/ 882 w 1442"/>
                <a:gd name="T81" fmla="*/ 946 h 1442"/>
                <a:gd name="T82" fmla="*/ 584 w 1442"/>
                <a:gd name="T83" fmla="*/ 961 h 1442"/>
                <a:gd name="T84" fmla="*/ 558 w 1442"/>
                <a:gd name="T85" fmla="*/ 936 h 1442"/>
                <a:gd name="T86" fmla="*/ 566 w 1442"/>
                <a:gd name="T87" fmla="*/ 918 h 1442"/>
                <a:gd name="T88" fmla="*/ 426 w 1442"/>
                <a:gd name="T89" fmla="*/ 659 h 1442"/>
                <a:gd name="T90" fmla="*/ 396 w 1442"/>
                <a:gd name="T91" fmla="*/ 548 h 1442"/>
                <a:gd name="T92" fmla="*/ 452 w 1442"/>
                <a:gd name="T93" fmla="*/ 369 h 1442"/>
                <a:gd name="T94" fmla="*/ 595 w 1442"/>
                <a:gd name="T95" fmla="*/ 251 h 1442"/>
                <a:gd name="T96" fmla="*/ 754 w 1442"/>
                <a:gd name="T97" fmla="*/ 228 h 1442"/>
                <a:gd name="T98" fmla="*/ 928 w 1442"/>
                <a:gd name="T99" fmla="*/ 300 h 1442"/>
                <a:gd name="T100" fmla="*/ 1031 w 1442"/>
                <a:gd name="T101" fmla="*/ 452 h 1442"/>
                <a:gd name="T102" fmla="*/ 1041 w 1442"/>
                <a:gd name="T103" fmla="*/ 587 h 1442"/>
                <a:gd name="T104" fmla="*/ 953 w 1442"/>
                <a:gd name="T105" fmla="*/ 790 h 1442"/>
                <a:gd name="T106" fmla="*/ 882 w 1442"/>
                <a:gd name="T107" fmla="*/ 927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2"/>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18"/>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18"/>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0"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0"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2"/>
                  </a:lnTo>
                  <a:lnTo>
                    <a:pt x="1002" y="57"/>
                  </a:lnTo>
                  <a:lnTo>
                    <a:pt x="969" y="44"/>
                  </a:lnTo>
                  <a:lnTo>
                    <a:pt x="935" y="33"/>
                  </a:lnTo>
                  <a:lnTo>
                    <a:pt x="902" y="23"/>
                  </a:lnTo>
                  <a:lnTo>
                    <a:pt x="866" y="15"/>
                  </a:lnTo>
                  <a:lnTo>
                    <a:pt x="830" y="8"/>
                  </a:lnTo>
                  <a:lnTo>
                    <a:pt x="794" y="3"/>
                  </a:lnTo>
                  <a:lnTo>
                    <a:pt x="759" y="0"/>
                  </a:lnTo>
                  <a:lnTo>
                    <a:pt x="721" y="0"/>
                  </a:lnTo>
                  <a:lnTo>
                    <a:pt x="721" y="0"/>
                  </a:lnTo>
                  <a:close/>
                  <a:moveTo>
                    <a:pt x="838" y="1212"/>
                  </a:moveTo>
                  <a:lnTo>
                    <a:pt x="604" y="1212"/>
                  </a:lnTo>
                  <a:lnTo>
                    <a:pt x="604" y="1212"/>
                  </a:lnTo>
                  <a:lnTo>
                    <a:pt x="599" y="1212"/>
                  </a:lnTo>
                  <a:lnTo>
                    <a:pt x="592" y="1210"/>
                  </a:lnTo>
                  <a:lnTo>
                    <a:pt x="584" y="1205"/>
                  </a:lnTo>
                  <a:lnTo>
                    <a:pt x="581" y="1202"/>
                  </a:lnTo>
                  <a:lnTo>
                    <a:pt x="577" y="1197"/>
                  </a:lnTo>
                  <a:lnTo>
                    <a:pt x="576" y="1192"/>
                  </a:lnTo>
                  <a:lnTo>
                    <a:pt x="576" y="1188"/>
                  </a:lnTo>
                  <a:lnTo>
                    <a:pt x="576" y="1188"/>
                  </a:lnTo>
                  <a:lnTo>
                    <a:pt x="576" y="1183"/>
                  </a:lnTo>
                  <a:lnTo>
                    <a:pt x="577" y="1178"/>
                  </a:lnTo>
                  <a:lnTo>
                    <a:pt x="581" y="1174"/>
                  </a:lnTo>
                  <a:lnTo>
                    <a:pt x="584" y="1170"/>
                  </a:lnTo>
                  <a:lnTo>
                    <a:pt x="592" y="1165"/>
                  </a:lnTo>
                  <a:lnTo>
                    <a:pt x="599" y="1163"/>
                  </a:lnTo>
                  <a:lnTo>
                    <a:pt x="604" y="1163"/>
                  </a:lnTo>
                  <a:lnTo>
                    <a:pt x="838" y="1163"/>
                  </a:lnTo>
                  <a:lnTo>
                    <a:pt x="838" y="1163"/>
                  </a:lnTo>
                  <a:lnTo>
                    <a:pt x="845" y="1163"/>
                  </a:lnTo>
                  <a:lnTo>
                    <a:pt x="850" y="1165"/>
                  </a:lnTo>
                  <a:lnTo>
                    <a:pt x="858" y="1170"/>
                  </a:lnTo>
                  <a:lnTo>
                    <a:pt x="861" y="1174"/>
                  </a:lnTo>
                  <a:lnTo>
                    <a:pt x="865" y="1178"/>
                  </a:lnTo>
                  <a:lnTo>
                    <a:pt x="866" y="1183"/>
                  </a:lnTo>
                  <a:lnTo>
                    <a:pt x="866" y="1188"/>
                  </a:lnTo>
                  <a:lnTo>
                    <a:pt x="866" y="1188"/>
                  </a:lnTo>
                  <a:lnTo>
                    <a:pt x="866" y="1192"/>
                  </a:lnTo>
                  <a:lnTo>
                    <a:pt x="865" y="1197"/>
                  </a:lnTo>
                  <a:lnTo>
                    <a:pt x="861" y="1202"/>
                  </a:lnTo>
                  <a:lnTo>
                    <a:pt x="858" y="1205"/>
                  </a:lnTo>
                  <a:lnTo>
                    <a:pt x="850" y="1210"/>
                  </a:lnTo>
                  <a:lnTo>
                    <a:pt x="845" y="1212"/>
                  </a:lnTo>
                  <a:lnTo>
                    <a:pt x="838" y="1212"/>
                  </a:lnTo>
                  <a:lnTo>
                    <a:pt x="838" y="1212"/>
                  </a:lnTo>
                  <a:close/>
                  <a:moveTo>
                    <a:pt x="838" y="1130"/>
                  </a:moveTo>
                  <a:lnTo>
                    <a:pt x="604" y="1130"/>
                  </a:lnTo>
                  <a:lnTo>
                    <a:pt x="604" y="1130"/>
                  </a:lnTo>
                  <a:lnTo>
                    <a:pt x="599" y="1130"/>
                  </a:lnTo>
                  <a:lnTo>
                    <a:pt x="592" y="1129"/>
                  </a:lnTo>
                  <a:lnTo>
                    <a:pt x="584" y="1124"/>
                  </a:lnTo>
                  <a:lnTo>
                    <a:pt x="581" y="1119"/>
                  </a:lnTo>
                  <a:lnTo>
                    <a:pt x="577" y="1116"/>
                  </a:lnTo>
                  <a:lnTo>
                    <a:pt x="576" y="1111"/>
                  </a:lnTo>
                  <a:lnTo>
                    <a:pt x="576" y="1106"/>
                  </a:lnTo>
                  <a:lnTo>
                    <a:pt x="576" y="1106"/>
                  </a:lnTo>
                  <a:lnTo>
                    <a:pt x="576" y="1101"/>
                  </a:lnTo>
                  <a:lnTo>
                    <a:pt x="577" y="1096"/>
                  </a:lnTo>
                  <a:lnTo>
                    <a:pt x="581" y="1093"/>
                  </a:lnTo>
                  <a:lnTo>
                    <a:pt x="584" y="1088"/>
                  </a:lnTo>
                  <a:lnTo>
                    <a:pt x="592" y="1083"/>
                  </a:lnTo>
                  <a:lnTo>
                    <a:pt x="599" y="1082"/>
                  </a:lnTo>
                  <a:lnTo>
                    <a:pt x="604" y="1082"/>
                  </a:lnTo>
                  <a:lnTo>
                    <a:pt x="838" y="1082"/>
                  </a:lnTo>
                  <a:lnTo>
                    <a:pt x="838" y="1082"/>
                  </a:lnTo>
                  <a:lnTo>
                    <a:pt x="845" y="1082"/>
                  </a:lnTo>
                  <a:lnTo>
                    <a:pt x="850" y="1083"/>
                  </a:lnTo>
                  <a:lnTo>
                    <a:pt x="858" y="1088"/>
                  </a:lnTo>
                  <a:lnTo>
                    <a:pt x="861" y="1093"/>
                  </a:lnTo>
                  <a:lnTo>
                    <a:pt x="865" y="1096"/>
                  </a:lnTo>
                  <a:lnTo>
                    <a:pt x="866" y="1101"/>
                  </a:lnTo>
                  <a:lnTo>
                    <a:pt x="866" y="1106"/>
                  </a:lnTo>
                  <a:lnTo>
                    <a:pt x="866" y="1106"/>
                  </a:lnTo>
                  <a:lnTo>
                    <a:pt x="866" y="1111"/>
                  </a:lnTo>
                  <a:lnTo>
                    <a:pt x="865" y="1116"/>
                  </a:lnTo>
                  <a:lnTo>
                    <a:pt x="861" y="1119"/>
                  </a:lnTo>
                  <a:lnTo>
                    <a:pt x="858" y="1124"/>
                  </a:lnTo>
                  <a:lnTo>
                    <a:pt x="850" y="1129"/>
                  </a:lnTo>
                  <a:lnTo>
                    <a:pt x="845" y="1130"/>
                  </a:lnTo>
                  <a:lnTo>
                    <a:pt x="838" y="1130"/>
                  </a:lnTo>
                  <a:lnTo>
                    <a:pt x="838" y="1130"/>
                  </a:lnTo>
                  <a:close/>
                  <a:moveTo>
                    <a:pt x="838" y="1049"/>
                  </a:moveTo>
                  <a:lnTo>
                    <a:pt x="604" y="1049"/>
                  </a:lnTo>
                  <a:lnTo>
                    <a:pt x="604" y="1049"/>
                  </a:lnTo>
                  <a:lnTo>
                    <a:pt x="599" y="1049"/>
                  </a:lnTo>
                  <a:lnTo>
                    <a:pt x="592" y="1047"/>
                  </a:lnTo>
                  <a:lnTo>
                    <a:pt x="584" y="1042"/>
                  </a:lnTo>
                  <a:lnTo>
                    <a:pt x="581" y="1037"/>
                  </a:lnTo>
                  <a:lnTo>
                    <a:pt x="577" y="1034"/>
                  </a:lnTo>
                  <a:lnTo>
                    <a:pt x="576" y="1029"/>
                  </a:lnTo>
                  <a:lnTo>
                    <a:pt x="576" y="1024"/>
                  </a:lnTo>
                  <a:lnTo>
                    <a:pt x="576" y="1024"/>
                  </a:lnTo>
                  <a:lnTo>
                    <a:pt x="576" y="1020"/>
                  </a:lnTo>
                  <a:lnTo>
                    <a:pt x="577" y="1015"/>
                  </a:lnTo>
                  <a:lnTo>
                    <a:pt x="581" y="1010"/>
                  </a:lnTo>
                  <a:lnTo>
                    <a:pt x="584" y="1006"/>
                  </a:lnTo>
                  <a:lnTo>
                    <a:pt x="592" y="1002"/>
                  </a:lnTo>
                  <a:lnTo>
                    <a:pt x="599" y="1000"/>
                  </a:lnTo>
                  <a:lnTo>
                    <a:pt x="604" y="1000"/>
                  </a:lnTo>
                  <a:lnTo>
                    <a:pt x="838" y="1000"/>
                  </a:lnTo>
                  <a:lnTo>
                    <a:pt x="838" y="1000"/>
                  </a:lnTo>
                  <a:lnTo>
                    <a:pt x="845" y="1000"/>
                  </a:lnTo>
                  <a:lnTo>
                    <a:pt x="850" y="1002"/>
                  </a:lnTo>
                  <a:lnTo>
                    <a:pt x="858" y="1006"/>
                  </a:lnTo>
                  <a:lnTo>
                    <a:pt x="861" y="1010"/>
                  </a:lnTo>
                  <a:lnTo>
                    <a:pt x="865" y="1015"/>
                  </a:lnTo>
                  <a:lnTo>
                    <a:pt x="866" y="1020"/>
                  </a:lnTo>
                  <a:lnTo>
                    <a:pt x="866" y="1024"/>
                  </a:lnTo>
                  <a:lnTo>
                    <a:pt x="866" y="1024"/>
                  </a:lnTo>
                  <a:lnTo>
                    <a:pt x="866" y="1029"/>
                  </a:lnTo>
                  <a:lnTo>
                    <a:pt x="865" y="1034"/>
                  </a:lnTo>
                  <a:lnTo>
                    <a:pt x="861" y="1037"/>
                  </a:lnTo>
                  <a:lnTo>
                    <a:pt x="858" y="1042"/>
                  </a:lnTo>
                  <a:lnTo>
                    <a:pt x="850" y="1047"/>
                  </a:lnTo>
                  <a:lnTo>
                    <a:pt x="845" y="1049"/>
                  </a:lnTo>
                  <a:lnTo>
                    <a:pt x="838" y="1049"/>
                  </a:lnTo>
                  <a:lnTo>
                    <a:pt x="838" y="1049"/>
                  </a:lnTo>
                  <a:close/>
                  <a:moveTo>
                    <a:pt x="884" y="936"/>
                  </a:moveTo>
                  <a:lnTo>
                    <a:pt x="884" y="936"/>
                  </a:lnTo>
                  <a:lnTo>
                    <a:pt x="884" y="941"/>
                  </a:lnTo>
                  <a:lnTo>
                    <a:pt x="882" y="946"/>
                  </a:lnTo>
                  <a:lnTo>
                    <a:pt x="876" y="954"/>
                  </a:lnTo>
                  <a:lnTo>
                    <a:pt x="869" y="959"/>
                  </a:lnTo>
                  <a:lnTo>
                    <a:pt x="865" y="961"/>
                  </a:lnTo>
                  <a:lnTo>
                    <a:pt x="860" y="961"/>
                  </a:lnTo>
                  <a:lnTo>
                    <a:pt x="584" y="961"/>
                  </a:lnTo>
                  <a:lnTo>
                    <a:pt x="584" y="961"/>
                  </a:lnTo>
                  <a:lnTo>
                    <a:pt x="579" y="961"/>
                  </a:lnTo>
                  <a:lnTo>
                    <a:pt x="574" y="959"/>
                  </a:lnTo>
                  <a:lnTo>
                    <a:pt x="566" y="954"/>
                  </a:lnTo>
                  <a:lnTo>
                    <a:pt x="561" y="946"/>
                  </a:lnTo>
                  <a:lnTo>
                    <a:pt x="560" y="941"/>
                  </a:lnTo>
                  <a:lnTo>
                    <a:pt x="558" y="936"/>
                  </a:lnTo>
                  <a:lnTo>
                    <a:pt x="558" y="936"/>
                  </a:lnTo>
                  <a:lnTo>
                    <a:pt x="560" y="931"/>
                  </a:lnTo>
                  <a:lnTo>
                    <a:pt x="561" y="927"/>
                  </a:lnTo>
                  <a:lnTo>
                    <a:pt x="563" y="922"/>
                  </a:lnTo>
                  <a:lnTo>
                    <a:pt x="566" y="918"/>
                  </a:lnTo>
                  <a:lnTo>
                    <a:pt x="566" y="918"/>
                  </a:lnTo>
                  <a:lnTo>
                    <a:pt x="543" y="882"/>
                  </a:lnTo>
                  <a:lnTo>
                    <a:pt x="517" y="838"/>
                  </a:lnTo>
                  <a:lnTo>
                    <a:pt x="489" y="790"/>
                  </a:lnTo>
                  <a:lnTo>
                    <a:pt x="462" y="737"/>
                  </a:lnTo>
                  <a:lnTo>
                    <a:pt x="436" y="683"/>
                  </a:lnTo>
                  <a:lnTo>
                    <a:pt x="426" y="659"/>
                  </a:lnTo>
                  <a:lnTo>
                    <a:pt x="416" y="633"/>
                  </a:lnTo>
                  <a:lnTo>
                    <a:pt x="408" y="610"/>
                  </a:lnTo>
                  <a:lnTo>
                    <a:pt x="401" y="587"/>
                  </a:lnTo>
                  <a:lnTo>
                    <a:pt x="398" y="566"/>
                  </a:lnTo>
                  <a:lnTo>
                    <a:pt x="396" y="548"/>
                  </a:lnTo>
                  <a:lnTo>
                    <a:pt x="396" y="548"/>
                  </a:lnTo>
                  <a:lnTo>
                    <a:pt x="398" y="515"/>
                  </a:lnTo>
                  <a:lnTo>
                    <a:pt x="403" y="483"/>
                  </a:lnTo>
                  <a:lnTo>
                    <a:pt x="411" y="452"/>
                  </a:lnTo>
                  <a:lnTo>
                    <a:pt x="422" y="422"/>
                  </a:lnTo>
                  <a:lnTo>
                    <a:pt x="436" y="395"/>
                  </a:lnTo>
                  <a:lnTo>
                    <a:pt x="452" y="369"/>
                  </a:lnTo>
                  <a:lnTo>
                    <a:pt x="471" y="343"/>
                  </a:lnTo>
                  <a:lnTo>
                    <a:pt x="491" y="320"/>
                  </a:lnTo>
                  <a:lnTo>
                    <a:pt x="515" y="300"/>
                  </a:lnTo>
                  <a:lnTo>
                    <a:pt x="540" y="281"/>
                  </a:lnTo>
                  <a:lnTo>
                    <a:pt x="566" y="264"/>
                  </a:lnTo>
                  <a:lnTo>
                    <a:pt x="595" y="251"/>
                  </a:lnTo>
                  <a:lnTo>
                    <a:pt x="625" y="240"/>
                  </a:lnTo>
                  <a:lnTo>
                    <a:pt x="656" y="233"/>
                  </a:lnTo>
                  <a:lnTo>
                    <a:pt x="688" y="228"/>
                  </a:lnTo>
                  <a:lnTo>
                    <a:pt x="721" y="227"/>
                  </a:lnTo>
                  <a:lnTo>
                    <a:pt x="721" y="227"/>
                  </a:lnTo>
                  <a:lnTo>
                    <a:pt x="754" y="228"/>
                  </a:lnTo>
                  <a:lnTo>
                    <a:pt x="786" y="233"/>
                  </a:lnTo>
                  <a:lnTo>
                    <a:pt x="817" y="240"/>
                  </a:lnTo>
                  <a:lnTo>
                    <a:pt x="847" y="251"/>
                  </a:lnTo>
                  <a:lnTo>
                    <a:pt x="876" y="264"/>
                  </a:lnTo>
                  <a:lnTo>
                    <a:pt x="902" y="281"/>
                  </a:lnTo>
                  <a:lnTo>
                    <a:pt x="928" y="300"/>
                  </a:lnTo>
                  <a:lnTo>
                    <a:pt x="951" y="320"/>
                  </a:lnTo>
                  <a:lnTo>
                    <a:pt x="971" y="343"/>
                  </a:lnTo>
                  <a:lnTo>
                    <a:pt x="990" y="369"/>
                  </a:lnTo>
                  <a:lnTo>
                    <a:pt x="1006" y="395"/>
                  </a:lnTo>
                  <a:lnTo>
                    <a:pt x="1020" y="422"/>
                  </a:lnTo>
                  <a:lnTo>
                    <a:pt x="1031" y="452"/>
                  </a:lnTo>
                  <a:lnTo>
                    <a:pt x="1039" y="483"/>
                  </a:lnTo>
                  <a:lnTo>
                    <a:pt x="1044" y="515"/>
                  </a:lnTo>
                  <a:lnTo>
                    <a:pt x="1046" y="548"/>
                  </a:lnTo>
                  <a:lnTo>
                    <a:pt x="1046" y="548"/>
                  </a:lnTo>
                  <a:lnTo>
                    <a:pt x="1044" y="566"/>
                  </a:lnTo>
                  <a:lnTo>
                    <a:pt x="1041" y="587"/>
                  </a:lnTo>
                  <a:lnTo>
                    <a:pt x="1034" y="610"/>
                  </a:lnTo>
                  <a:lnTo>
                    <a:pt x="1026" y="633"/>
                  </a:lnTo>
                  <a:lnTo>
                    <a:pt x="1016" y="659"/>
                  </a:lnTo>
                  <a:lnTo>
                    <a:pt x="1006" y="683"/>
                  </a:lnTo>
                  <a:lnTo>
                    <a:pt x="980" y="737"/>
                  </a:lnTo>
                  <a:lnTo>
                    <a:pt x="953" y="790"/>
                  </a:lnTo>
                  <a:lnTo>
                    <a:pt x="925" y="838"/>
                  </a:lnTo>
                  <a:lnTo>
                    <a:pt x="899" y="882"/>
                  </a:lnTo>
                  <a:lnTo>
                    <a:pt x="876" y="918"/>
                  </a:lnTo>
                  <a:lnTo>
                    <a:pt x="876" y="918"/>
                  </a:lnTo>
                  <a:lnTo>
                    <a:pt x="879" y="922"/>
                  </a:lnTo>
                  <a:lnTo>
                    <a:pt x="882" y="927"/>
                  </a:lnTo>
                  <a:lnTo>
                    <a:pt x="884" y="931"/>
                  </a:lnTo>
                  <a:lnTo>
                    <a:pt x="884" y="936"/>
                  </a:lnTo>
                  <a:lnTo>
                    <a:pt x="884" y="9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4">
              <a:extLst>
                <a:ext uri="{FF2B5EF4-FFF2-40B4-BE49-F238E27FC236}">
                  <a16:creationId xmlns:a16="http://schemas.microsoft.com/office/drawing/2014/main" id="{7F004C0D-906B-48A9-BF0B-6C9BC3AA8B5D}"/>
                </a:ext>
              </a:extLst>
            </p:cNvPr>
            <p:cNvSpPr>
              <a:spLocks/>
            </p:cNvSpPr>
            <p:nvPr/>
          </p:nvSpPr>
          <p:spPr bwMode="auto">
            <a:xfrm>
              <a:off x="5191125" y="923925"/>
              <a:ext cx="220662" cy="250825"/>
            </a:xfrm>
            <a:custGeom>
              <a:avLst/>
              <a:gdLst>
                <a:gd name="T0" fmla="*/ 278 w 278"/>
                <a:gd name="T1" fmla="*/ 139 h 317"/>
                <a:gd name="T2" fmla="*/ 274 w 278"/>
                <a:gd name="T3" fmla="*/ 111 h 317"/>
                <a:gd name="T4" fmla="*/ 266 w 278"/>
                <a:gd name="T5" fmla="*/ 85 h 317"/>
                <a:gd name="T6" fmla="*/ 255 w 278"/>
                <a:gd name="T7" fmla="*/ 62 h 317"/>
                <a:gd name="T8" fmla="*/ 237 w 278"/>
                <a:gd name="T9" fmla="*/ 41 h 317"/>
                <a:gd name="T10" fmla="*/ 217 w 278"/>
                <a:gd name="T11" fmla="*/ 25 h 317"/>
                <a:gd name="T12" fmla="*/ 193 w 278"/>
                <a:gd name="T13" fmla="*/ 12 h 317"/>
                <a:gd name="T14" fmla="*/ 167 w 278"/>
                <a:gd name="T15" fmla="*/ 4 h 317"/>
                <a:gd name="T16" fmla="*/ 139 w 278"/>
                <a:gd name="T17" fmla="*/ 0 h 317"/>
                <a:gd name="T18" fmla="*/ 124 w 278"/>
                <a:gd name="T19" fmla="*/ 2 h 317"/>
                <a:gd name="T20" fmla="*/ 98 w 278"/>
                <a:gd name="T21" fmla="*/ 7 h 317"/>
                <a:gd name="T22" fmla="*/ 74 w 278"/>
                <a:gd name="T23" fmla="*/ 17 h 317"/>
                <a:gd name="T24" fmla="*/ 51 w 278"/>
                <a:gd name="T25" fmla="*/ 33 h 317"/>
                <a:gd name="T26" fmla="*/ 31 w 278"/>
                <a:gd name="T27" fmla="*/ 51 h 317"/>
                <a:gd name="T28" fmla="*/ 17 w 278"/>
                <a:gd name="T29" fmla="*/ 74 h 317"/>
                <a:gd name="T30" fmla="*/ 7 w 278"/>
                <a:gd name="T31" fmla="*/ 98 h 317"/>
                <a:gd name="T32" fmla="*/ 0 w 278"/>
                <a:gd name="T33" fmla="*/ 126 h 317"/>
                <a:gd name="T34" fmla="*/ 0 w 278"/>
                <a:gd name="T35" fmla="*/ 139 h 317"/>
                <a:gd name="T36" fmla="*/ 0 w 278"/>
                <a:gd name="T37" fmla="*/ 147 h 317"/>
                <a:gd name="T38" fmla="*/ 0 w 278"/>
                <a:gd name="T39" fmla="*/ 152 h 317"/>
                <a:gd name="T40" fmla="*/ 18 w 278"/>
                <a:gd name="T41" fmla="*/ 234 h 317"/>
                <a:gd name="T42" fmla="*/ 38 w 278"/>
                <a:gd name="T43" fmla="*/ 317 h 317"/>
                <a:gd name="T44" fmla="*/ 36 w 278"/>
                <a:gd name="T45" fmla="*/ 147 h 317"/>
                <a:gd name="T46" fmla="*/ 36 w 278"/>
                <a:gd name="T47" fmla="*/ 139 h 317"/>
                <a:gd name="T48" fmla="*/ 36 w 278"/>
                <a:gd name="T49" fmla="*/ 129 h 317"/>
                <a:gd name="T50" fmla="*/ 41 w 278"/>
                <a:gd name="T51" fmla="*/ 108 h 317"/>
                <a:gd name="T52" fmla="*/ 54 w 278"/>
                <a:gd name="T53" fmla="*/ 82 h 317"/>
                <a:gd name="T54" fmla="*/ 82 w 278"/>
                <a:gd name="T55" fmla="*/ 54 h 317"/>
                <a:gd name="T56" fmla="*/ 108 w 278"/>
                <a:gd name="T57" fmla="*/ 41 h 317"/>
                <a:gd name="T58" fmla="*/ 129 w 278"/>
                <a:gd name="T59" fmla="*/ 36 h 317"/>
                <a:gd name="T60" fmla="*/ 139 w 278"/>
                <a:gd name="T61" fmla="*/ 36 h 317"/>
                <a:gd name="T62" fmla="*/ 160 w 278"/>
                <a:gd name="T63" fmla="*/ 38 h 317"/>
                <a:gd name="T64" fmla="*/ 180 w 278"/>
                <a:gd name="T65" fmla="*/ 44 h 317"/>
                <a:gd name="T66" fmla="*/ 212 w 278"/>
                <a:gd name="T67" fmla="*/ 67 h 317"/>
                <a:gd name="T68" fmla="*/ 234 w 278"/>
                <a:gd name="T69" fmla="*/ 100 h 317"/>
                <a:gd name="T70" fmla="*/ 240 w 278"/>
                <a:gd name="T71" fmla="*/ 118 h 317"/>
                <a:gd name="T72" fmla="*/ 242 w 278"/>
                <a:gd name="T73" fmla="*/ 139 h 317"/>
                <a:gd name="T74" fmla="*/ 242 w 278"/>
                <a:gd name="T75" fmla="*/ 147 h 317"/>
                <a:gd name="T76" fmla="*/ 240 w 278"/>
                <a:gd name="T77" fmla="*/ 317 h 317"/>
                <a:gd name="T78" fmla="*/ 242 w 278"/>
                <a:gd name="T79" fmla="*/ 312 h 317"/>
                <a:gd name="T80" fmla="*/ 271 w 278"/>
                <a:gd name="T81" fmla="*/ 181 h 317"/>
                <a:gd name="T82" fmla="*/ 278 w 278"/>
                <a:gd name="T83" fmla="*/ 147 h 317"/>
                <a:gd name="T84" fmla="*/ 278 w 278"/>
                <a:gd name="T85" fmla="*/ 147 h 317"/>
                <a:gd name="T86" fmla="*/ 278 w 278"/>
                <a:gd name="T87" fmla="*/ 13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8" h="317">
                  <a:moveTo>
                    <a:pt x="278" y="139"/>
                  </a:moveTo>
                  <a:lnTo>
                    <a:pt x="278" y="139"/>
                  </a:lnTo>
                  <a:lnTo>
                    <a:pt x="278" y="126"/>
                  </a:lnTo>
                  <a:lnTo>
                    <a:pt x="274" y="111"/>
                  </a:lnTo>
                  <a:lnTo>
                    <a:pt x="271" y="98"/>
                  </a:lnTo>
                  <a:lnTo>
                    <a:pt x="266" y="85"/>
                  </a:lnTo>
                  <a:lnTo>
                    <a:pt x="261" y="74"/>
                  </a:lnTo>
                  <a:lnTo>
                    <a:pt x="255" y="62"/>
                  </a:lnTo>
                  <a:lnTo>
                    <a:pt x="247" y="51"/>
                  </a:lnTo>
                  <a:lnTo>
                    <a:pt x="237" y="41"/>
                  </a:lnTo>
                  <a:lnTo>
                    <a:pt x="227" y="33"/>
                  </a:lnTo>
                  <a:lnTo>
                    <a:pt x="217" y="25"/>
                  </a:lnTo>
                  <a:lnTo>
                    <a:pt x="206" y="17"/>
                  </a:lnTo>
                  <a:lnTo>
                    <a:pt x="193" y="12"/>
                  </a:lnTo>
                  <a:lnTo>
                    <a:pt x="180" y="7"/>
                  </a:lnTo>
                  <a:lnTo>
                    <a:pt x="167" y="4"/>
                  </a:lnTo>
                  <a:lnTo>
                    <a:pt x="154" y="2"/>
                  </a:lnTo>
                  <a:lnTo>
                    <a:pt x="139" y="0"/>
                  </a:lnTo>
                  <a:lnTo>
                    <a:pt x="139" y="0"/>
                  </a:lnTo>
                  <a:lnTo>
                    <a:pt x="124" y="2"/>
                  </a:lnTo>
                  <a:lnTo>
                    <a:pt x="111" y="4"/>
                  </a:lnTo>
                  <a:lnTo>
                    <a:pt x="98" y="7"/>
                  </a:lnTo>
                  <a:lnTo>
                    <a:pt x="85" y="12"/>
                  </a:lnTo>
                  <a:lnTo>
                    <a:pt x="74" y="17"/>
                  </a:lnTo>
                  <a:lnTo>
                    <a:pt x="62" y="25"/>
                  </a:lnTo>
                  <a:lnTo>
                    <a:pt x="51" y="33"/>
                  </a:lnTo>
                  <a:lnTo>
                    <a:pt x="41" y="41"/>
                  </a:lnTo>
                  <a:lnTo>
                    <a:pt x="31" y="51"/>
                  </a:lnTo>
                  <a:lnTo>
                    <a:pt x="25" y="62"/>
                  </a:lnTo>
                  <a:lnTo>
                    <a:pt x="17" y="74"/>
                  </a:lnTo>
                  <a:lnTo>
                    <a:pt x="12" y="85"/>
                  </a:lnTo>
                  <a:lnTo>
                    <a:pt x="7" y="98"/>
                  </a:lnTo>
                  <a:lnTo>
                    <a:pt x="4" y="111"/>
                  </a:lnTo>
                  <a:lnTo>
                    <a:pt x="0" y="126"/>
                  </a:lnTo>
                  <a:lnTo>
                    <a:pt x="0" y="139"/>
                  </a:lnTo>
                  <a:lnTo>
                    <a:pt x="0" y="139"/>
                  </a:lnTo>
                  <a:lnTo>
                    <a:pt x="0" y="147"/>
                  </a:lnTo>
                  <a:lnTo>
                    <a:pt x="0" y="147"/>
                  </a:lnTo>
                  <a:lnTo>
                    <a:pt x="0" y="152"/>
                  </a:lnTo>
                  <a:lnTo>
                    <a:pt x="0" y="152"/>
                  </a:lnTo>
                  <a:lnTo>
                    <a:pt x="7" y="181"/>
                  </a:lnTo>
                  <a:lnTo>
                    <a:pt x="18" y="234"/>
                  </a:lnTo>
                  <a:lnTo>
                    <a:pt x="36" y="312"/>
                  </a:lnTo>
                  <a:lnTo>
                    <a:pt x="38" y="317"/>
                  </a:lnTo>
                  <a:lnTo>
                    <a:pt x="72" y="309"/>
                  </a:lnTo>
                  <a:lnTo>
                    <a:pt x="36" y="147"/>
                  </a:lnTo>
                  <a:lnTo>
                    <a:pt x="36" y="147"/>
                  </a:lnTo>
                  <a:lnTo>
                    <a:pt x="36" y="139"/>
                  </a:lnTo>
                  <a:lnTo>
                    <a:pt x="36" y="139"/>
                  </a:lnTo>
                  <a:lnTo>
                    <a:pt x="36" y="129"/>
                  </a:lnTo>
                  <a:lnTo>
                    <a:pt x="38" y="118"/>
                  </a:lnTo>
                  <a:lnTo>
                    <a:pt x="41" y="108"/>
                  </a:lnTo>
                  <a:lnTo>
                    <a:pt x="44" y="100"/>
                  </a:lnTo>
                  <a:lnTo>
                    <a:pt x="54" y="82"/>
                  </a:lnTo>
                  <a:lnTo>
                    <a:pt x="66" y="67"/>
                  </a:lnTo>
                  <a:lnTo>
                    <a:pt x="82" y="54"/>
                  </a:lnTo>
                  <a:lnTo>
                    <a:pt x="98" y="44"/>
                  </a:lnTo>
                  <a:lnTo>
                    <a:pt x="108" y="41"/>
                  </a:lnTo>
                  <a:lnTo>
                    <a:pt x="118" y="38"/>
                  </a:lnTo>
                  <a:lnTo>
                    <a:pt x="129" y="36"/>
                  </a:lnTo>
                  <a:lnTo>
                    <a:pt x="139" y="36"/>
                  </a:lnTo>
                  <a:lnTo>
                    <a:pt x="139" y="36"/>
                  </a:lnTo>
                  <a:lnTo>
                    <a:pt x="149" y="36"/>
                  </a:lnTo>
                  <a:lnTo>
                    <a:pt x="160" y="38"/>
                  </a:lnTo>
                  <a:lnTo>
                    <a:pt x="170" y="41"/>
                  </a:lnTo>
                  <a:lnTo>
                    <a:pt x="180" y="44"/>
                  </a:lnTo>
                  <a:lnTo>
                    <a:pt x="196" y="54"/>
                  </a:lnTo>
                  <a:lnTo>
                    <a:pt x="212" y="67"/>
                  </a:lnTo>
                  <a:lnTo>
                    <a:pt x="224" y="82"/>
                  </a:lnTo>
                  <a:lnTo>
                    <a:pt x="234" y="100"/>
                  </a:lnTo>
                  <a:lnTo>
                    <a:pt x="237" y="108"/>
                  </a:lnTo>
                  <a:lnTo>
                    <a:pt x="240" y="118"/>
                  </a:lnTo>
                  <a:lnTo>
                    <a:pt x="242" y="129"/>
                  </a:lnTo>
                  <a:lnTo>
                    <a:pt x="242" y="139"/>
                  </a:lnTo>
                  <a:lnTo>
                    <a:pt x="242" y="139"/>
                  </a:lnTo>
                  <a:lnTo>
                    <a:pt x="242" y="147"/>
                  </a:lnTo>
                  <a:lnTo>
                    <a:pt x="206" y="309"/>
                  </a:lnTo>
                  <a:lnTo>
                    <a:pt x="240" y="317"/>
                  </a:lnTo>
                  <a:lnTo>
                    <a:pt x="242" y="312"/>
                  </a:lnTo>
                  <a:lnTo>
                    <a:pt x="242" y="312"/>
                  </a:lnTo>
                  <a:lnTo>
                    <a:pt x="260" y="234"/>
                  </a:lnTo>
                  <a:lnTo>
                    <a:pt x="271" y="181"/>
                  </a:lnTo>
                  <a:lnTo>
                    <a:pt x="278" y="150"/>
                  </a:lnTo>
                  <a:lnTo>
                    <a:pt x="278" y="147"/>
                  </a:lnTo>
                  <a:lnTo>
                    <a:pt x="278" y="147"/>
                  </a:lnTo>
                  <a:lnTo>
                    <a:pt x="278" y="147"/>
                  </a:lnTo>
                  <a:lnTo>
                    <a:pt x="278" y="139"/>
                  </a:lnTo>
                  <a:lnTo>
                    <a:pt x="278"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57"/>
          <p:cNvGrpSpPr/>
          <p:nvPr userDrawn="1"/>
        </p:nvGrpSpPr>
        <p:grpSpPr>
          <a:xfrm>
            <a:off x="4705636" y="3994458"/>
            <a:ext cx="1080000" cy="1080000"/>
            <a:chOff x="7531100" y="538163"/>
            <a:chExt cx="1144588" cy="1144587"/>
          </a:xfrm>
          <a:solidFill>
            <a:srgbClr val="000000"/>
          </a:solidFill>
        </p:grpSpPr>
        <p:sp>
          <p:nvSpPr>
            <p:cNvPr id="59" name="Freeform 32">
              <a:extLst>
                <a:ext uri="{FF2B5EF4-FFF2-40B4-BE49-F238E27FC236}">
                  <a16:creationId xmlns:a16="http://schemas.microsoft.com/office/drawing/2014/main" id="{2B08F002-9E5D-48AE-9C9F-87B4316C6907}"/>
                </a:ext>
              </a:extLst>
            </p:cNvPr>
            <p:cNvSpPr>
              <a:spLocks/>
            </p:cNvSpPr>
            <p:nvPr/>
          </p:nvSpPr>
          <p:spPr bwMode="auto">
            <a:xfrm>
              <a:off x="7907338" y="1004888"/>
              <a:ext cx="60325" cy="82550"/>
            </a:xfrm>
            <a:custGeom>
              <a:avLst/>
              <a:gdLst>
                <a:gd name="T0" fmla="*/ 34 w 75"/>
                <a:gd name="T1" fmla="*/ 0 h 105"/>
                <a:gd name="T2" fmla="*/ 0 w 75"/>
                <a:gd name="T3" fmla="*/ 0 h 105"/>
                <a:gd name="T4" fmla="*/ 0 w 75"/>
                <a:gd name="T5" fmla="*/ 105 h 105"/>
                <a:gd name="T6" fmla="*/ 34 w 75"/>
                <a:gd name="T7" fmla="*/ 105 h 105"/>
                <a:gd name="T8" fmla="*/ 34 w 75"/>
                <a:gd name="T9" fmla="*/ 105 h 105"/>
                <a:gd name="T10" fmla="*/ 45 w 75"/>
                <a:gd name="T11" fmla="*/ 103 h 105"/>
                <a:gd name="T12" fmla="*/ 54 w 75"/>
                <a:gd name="T13" fmla="*/ 100 h 105"/>
                <a:gd name="T14" fmla="*/ 60 w 75"/>
                <a:gd name="T15" fmla="*/ 93 h 105"/>
                <a:gd name="T16" fmla="*/ 65 w 75"/>
                <a:gd name="T17" fmla="*/ 87 h 105"/>
                <a:gd name="T18" fmla="*/ 70 w 75"/>
                <a:gd name="T19" fmla="*/ 79 h 105"/>
                <a:gd name="T20" fmla="*/ 71 w 75"/>
                <a:gd name="T21" fmla="*/ 69 h 105"/>
                <a:gd name="T22" fmla="*/ 73 w 75"/>
                <a:gd name="T23" fmla="*/ 59 h 105"/>
                <a:gd name="T24" fmla="*/ 75 w 75"/>
                <a:gd name="T25" fmla="*/ 49 h 105"/>
                <a:gd name="T26" fmla="*/ 75 w 75"/>
                <a:gd name="T27" fmla="*/ 49 h 105"/>
                <a:gd name="T28" fmla="*/ 73 w 75"/>
                <a:gd name="T29" fmla="*/ 38 h 105"/>
                <a:gd name="T30" fmla="*/ 71 w 75"/>
                <a:gd name="T31" fmla="*/ 26 h 105"/>
                <a:gd name="T32" fmla="*/ 68 w 75"/>
                <a:gd name="T33" fmla="*/ 18 h 105"/>
                <a:gd name="T34" fmla="*/ 63 w 75"/>
                <a:gd name="T35" fmla="*/ 12 h 105"/>
                <a:gd name="T36" fmla="*/ 58 w 75"/>
                <a:gd name="T37" fmla="*/ 7 h 105"/>
                <a:gd name="T38" fmla="*/ 50 w 75"/>
                <a:gd name="T39" fmla="*/ 4 h 105"/>
                <a:gd name="T40" fmla="*/ 42 w 75"/>
                <a:gd name="T41" fmla="*/ 0 h 105"/>
                <a:gd name="T42" fmla="*/ 34 w 75"/>
                <a:gd name="T43" fmla="*/ 0 h 105"/>
                <a:gd name="T44" fmla="*/ 34 w 75"/>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105">
                  <a:moveTo>
                    <a:pt x="34" y="0"/>
                  </a:moveTo>
                  <a:lnTo>
                    <a:pt x="0" y="0"/>
                  </a:lnTo>
                  <a:lnTo>
                    <a:pt x="0" y="105"/>
                  </a:lnTo>
                  <a:lnTo>
                    <a:pt x="34" y="105"/>
                  </a:lnTo>
                  <a:lnTo>
                    <a:pt x="34" y="105"/>
                  </a:lnTo>
                  <a:lnTo>
                    <a:pt x="45" y="103"/>
                  </a:lnTo>
                  <a:lnTo>
                    <a:pt x="54" y="100"/>
                  </a:lnTo>
                  <a:lnTo>
                    <a:pt x="60" y="93"/>
                  </a:lnTo>
                  <a:lnTo>
                    <a:pt x="65" y="87"/>
                  </a:lnTo>
                  <a:lnTo>
                    <a:pt x="70" y="79"/>
                  </a:lnTo>
                  <a:lnTo>
                    <a:pt x="71" y="69"/>
                  </a:lnTo>
                  <a:lnTo>
                    <a:pt x="73" y="59"/>
                  </a:lnTo>
                  <a:lnTo>
                    <a:pt x="75" y="49"/>
                  </a:lnTo>
                  <a:lnTo>
                    <a:pt x="75" y="49"/>
                  </a:lnTo>
                  <a:lnTo>
                    <a:pt x="73" y="38"/>
                  </a:lnTo>
                  <a:lnTo>
                    <a:pt x="71" y="26"/>
                  </a:lnTo>
                  <a:lnTo>
                    <a:pt x="68" y="18"/>
                  </a:lnTo>
                  <a:lnTo>
                    <a:pt x="63" y="12"/>
                  </a:lnTo>
                  <a:lnTo>
                    <a:pt x="58" y="7"/>
                  </a:lnTo>
                  <a:lnTo>
                    <a:pt x="50" y="4"/>
                  </a:lnTo>
                  <a:lnTo>
                    <a:pt x="42" y="0"/>
                  </a:lnTo>
                  <a:lnTo>
                    <a:pt x="34"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33">
              <a:extLst>
                <a:ext uri="{FF2B5EF4-FFF2-40B4-BE49-F238E27FC236}">
                  <a16:creationId xmlns:a16="http://schemas.microsoft.com/office/drawing/2014/main" id="{B68533C9-CD47-4D3C-9229-0EDE1F6B960F}"/>
                </a:ext>
              </a:extLst>
            </p:cNvPr>
            <p:cNvSpPr>
              <a:spLocks/>
            </p:cNvSpPr>
            <p:nvPr/>
          </p:nvSpPr>
          <p:spPr bwMode="auto">
            <a:xfrm>
              <a:off x="8116888" y="998538"/>
              <a:ext cx="79375" cy="219075"/>
            </a:xfrm>
            <a:custGeom>
              <a:avLst/>
              <a:gdLst>
                <a:gd name="T0" fmla="*/ 51 w 101"/>
                <a:gd name="T1" fmla="*/ 0 h 277"/>
                <a:gd name="T2" fmla="*/ 51 w 101"/>
                <a:gd name="T3" fmla="*/ 0 h 277"/>
                <a:gd name="T4" fmla="*/ 43 w 101"/>
                <a:gd name="T5" fmla="*/ 0 h 277"/>
                <a:gd name="T6" fmla="*/ 36 w 101"/>
                <a:gd name="T7" fmla="*/ 2 h 277"/>
                <a:gd name="T8" fmla="*/ 30 w 101"/>
                <a:gd name="T9" fmla="*/ 5 h 277"/>
                <a:gd name="T10" fmla="*/ 25 w 101"/>
                <a:gd name="T11" fmla="*/ 8 h 277"/>
                <a:gd name="T12" fmla="*/ 20 w 101"/>
                <a:gd name="T13" fmla="*/ 13 h 277"/>
                <a:gd name="T14" fmla="*/ 15 w 101"/>
                <a:gd name="T15" fmla="*/ 18 h 277"/>
                <a:gd name="T16" fmla="*/ 8 w 101"/>
                <a:gd name="T17" fmla="*/ 33 h 277"/>
                <a:gd name="T18" fmla="*/ 5 w 101"/>
                <a:gd name="T19" fmla="*/ 52 h 277"/>
                <a:gd name="T20" fmla="*/ 2 w 101"/>
                <a:gd name="T21" fmla="*/ 77 h 277"/>
                <a:gd name="T22" fmla="*/ 2 w 101"/>
                <a:gd name="T23" fmla="*/ 104 h 277"/>
                <a:gd name="T24" fmla="*/ 0 w 101"/>
                <a:gd name="T25" fmla="*/ 139 h 277"/>
                <a:gd name="T26" fmla="*/ 0 w 101"/>
                <a:gd name="T27" fmla="*/ 139 h 277"/>
                <a:gd name="T28" fmla="*/ 2 w 101"/>
                <a:gd name="T29" fmla="*/ 173 h 277"/>
                <a:gd name="T30" fmla="*/ 2 w 101"/>
                <a:gd name="T31" fmla="*/ 201 h 277"/>
                <a:gd name="T32" fmla="*/ 5 w 101"/>
                <a:gd name="T33" fmla="*/ 225 h 277"/>
                <a:gd name="T34" fmla="*/ 8 w 101"/>
                <a:gd name="T35" fmla="*/ 245 h 277"/>
                <a:gd name="T36" fmla="*/ 15 w 101"/>
                <a:gd name="T37" fmla="*/ 258 h 277"/>
                <a:gd name="T38" fmla="*/ 20 w 101"/>
                <a:gd name="T39" fmla="*/ 264 h 277"/>
                <a:gd name="T40" fmla="*/ 25 w 101"/>
                <a:gd name="T41" fmla="*/ 269 h 277"/>
                <a:gd name="T42" fmla="*/ 30 w 101"/>
                <a:gd name="T43" fmla="*/ 272 h 277"/>
                <a:gd name="T44" fmla="*/ 36 w 101"/>
                <a:gd name="T45" fmla="*/ 274 h 277"/>
                <a:gd name="T46" fmla="*/ 43 w 101"/>
                <a:gd name="T47" fmla="*/ 276 h 277"/>
                <a:gd name="T48" fmla="*/ 51 w 101"/>
                <a:gd name="T49" fmla="*/ 277 h 277"/>
                <a:gd name="T50" fmla="*/ 51 w 101"/>
                <a:gd name="T51" fmla="*/ 277 h 277"/>
                <a:gd name="T52" fmla="*/ 59 w 101"/>
                <a:gd name="T53" fmla="*/ 276 h 277"/>
                <a:gd name="T54" fmla="*/ 66 w 101"/>
                <a:gd name="T55" fmla="*/ 274 h 277"/>
                <a:gd name="T56" fmla="*/ 72 w 101"/>
                <a:gd name="T57" fmla="*/ 272 h 277"/>
                <a:gd name="T58" fmla="*/ 77 w 101"/>
                <a:gd name="T59" fmla="*/ 269 h 277"/>
                <a:gd name="T60" fmla="*/ 82 w 101"/>
                <a:gd name="T61" fmla="*/ 264 h 277"/>
                <a:gd name="T62" fmla="*/ 87 w 101"/>
                <a:gd name="T63" fmla="*/ 258 h 277"/>
                <a:gd name="T64" fmla="*/ 93 w 101"/>
                <a:gd name="T65" fmla="*/ 245 h 277"/>
                <a:gd name="T66" fmla="*/ 97 w 101"/>
                <a:gd name="T67" fmla="*/ 225 h 277"/>
                <a:gd name="T68" fmla="*/ 100 w 101"/>
                <a:gd name="T69" fmla="*/ 201 h 277"/>
                <a:gd name="T70" fmla="*/ 101 w 101"/>
                <a:gd name="T71" fmla="*/ 173 h 277"/>
                <a:gd name="T72" fmla="*/ 101 w 101"/>
                <a:gd name="T73" fmla="*/ 139 h 277"/>
                <a:gd name="T74" fmla="*/ 101 w 101"/>
                <a:gd name="T75" fmla="*/ 139 h 277"/>
                <a:gd name="T76" fmla="*/ 101 w 101"/>
                <a:gd name="T77" fmla="*/ 104 h 277"/>
                <a:gd name="T78" fmla="*/ 100 w 101"/>
                <a:gd name="T79" fmla="*/ 77 h 277"/>
                <a:gd name="T80" fmla="*/ 97 w 101"/>
                <a:gd name="T81" fmla="*/ 52 h 277"/>
                <a:gd name="T82" fmla="*/ 93 w 101"/>
                <a:gd name="T83" fmla="*/ 33 h 277"/>
                <a:gd name="T84" fmla="*/ 87 w 101"/>
                <a:gd name="T85" fmla="*/ 18 h 277"/>
                <a:gd name="T86" fmla="*/ 82 w 101"/>
                <a:gd name="T87" fmla="*/ 13 h 277"/>
                <a:gd name="T88" fmla="*/ 77 w 101"/>
                <a:gd name="T89" fmla="*/ 8 h 277"/>
                <a:gd name="T90" fmla="*/ 72 w 101"/>
                <a:gd name="T91" fmla="*/ 5 h 277"/>
                <a:gd name="T92" fmla="*/ 66 w 101"/>
                <a:gd name="T93" fmla="*/ 2 h 277"/>
                <a:gd name="T94" fmla="*/ 59 w 101"/>
                <a:gd name="T95" fmla="*/ 0 h 277"/>
                <a:gd name="T96" fmla="*/ 51 w 101"/>
                <a:gd name="T97" fmla="*/ 0 h 277"/>
                <a:gd name="T98" fmla="*/ 51 w 101"/>
                <a:gd name="T99"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 h="277">
                  <a:moveTo>
                    <a:pt x="51" y="0"/>
                  </a:moveTo>
                  <a:lnTo>
                    <a:pt x="51" y="0"/>
                  </a:lnTo>
                  <a:lnTo>
                    <a:pt x="43" y="0"/>
                  </a:lnTo>
                  <a:lnTo>
                    <a:pt x="36" y="2"/>
                  </a:lnTo>
                  <a:lnTo>
                    <a:pt x="30" y="5"/>
                  </a:lnTo>
                  <a:lnTo>
                    <a:pt x="25" y="8"/>
                  </a:lnTo>
                  <a:lnTo>
                    <a:pt x="20" y="13"/>
                  </a:lnTo>
                  <a:lnTo>
                    <a:pt x="15" y="18"/>
                  </a:lnTo>
                  <a:lnTo>
                    <a:pt x="8" y="33"/>
                  </a:lnTo>
                  <a:lnTo>
                    <a:pt x="5" y="52"/>
                  </a:lnTo>
                  <a:lnTo>
                    <a:pt x="2" y="77"/>
                  </a:lnTo>
                  <a:lnTo>
                    <a:pt x="2" y="104"/>
                  </a:lnTo>
                  <a:lnTo>
                    <a:pt x="0" y="139"/>
                  </a:lnTo>
                  <a:lnTo>
                    <a:pt x="0" y="139"/>
                  </a:lnTo>
                  <a:lnTo>
                    <a:pt x="2" y="173"/>
                  </a:lnTo>
                  <a:lnTo>
                    <a:pt x="2" y="201"/>
                  </a:lnTo>
                  <a:lnTo>
                    <a:pt x="5" y="225"/>
                  </a:lnTo>
                  <a:lnTo>
                    <a:pt x="8" y="245"/>
                  </a:lnTo>
                  <a:lnTo>
                    <a:pt x="15" y="258"/>
                  </a:lnTo>
                  <a:lnTo>
                    <a:pt x="20" y="264"/>
                  </a:lnTo>
                  <a:lnTo>
                    <a:pt x="25" y="269"/>
                  </a:lnTo>
                  <a:lnTo>
                    <a:pt x="30" y="272"/>
                  </a:lnTo>
                  <a:lnTo>
                    <a:pt x="36" y="274"/>
                  </a:lnTo>
                  <a:lnTo>
                    <a:pt x="43" y="276"/>
                  </a:lnTo>
                  <a:lnTo>
                    <a:pt x="51" y="277"/>
                  </a:lnTo>
                  <a:lnTo>
                    <a:pt x="51" y="277"/>
                  </a:lnTo>
                  <a:lnTo>
                    <a:pt x="59" y="276"/>
                  </a:lnTo>
                  <a:lnTo>
                    <a:pt x="66" y="274"/>
                  </a:lnTo>
                  <a:lnTo>
                    <a:pt x="72" y="272"/>
                  </a:lnTo>
                  <a:lnTo>
                    <a:pt x="77" y="269"/>
                  </a:lnTo>
                  <a:lnTo>
                    <a:pt x="82" y="264"/>
                  </a:lnTo>
                  <a:lnTo>
                    <a:pt x="87" y="258"/>
                  </a:lnTo>
                  <a:lnTo>
                    <a:pt x="93" y="245"/>
                  </a:lnTo>
                  <a:lnTo>
                    <a:pt x="97" y="225"/>
                  </a:lnTo>
                  <a:lnTo>
                    <a:pt x="100" y="201"/>
                  </a:lnTo>
                  <a:lnTo>
                    <a:pt x="101" y="173"/>
                  </a:lnTo>
                  <a:lnTo>
                    <a:pt x="101" y="139"/>
                  </a:lnTo>
                  <a:lnTo>
                    <a:pt x="101" y="139"/>
                  </a:lnTo>
                  <a:lnTo>
                    <a:pt x="101" y="104"/>
                  </a:lnTo>
                  <a:lnTo>
                    <a:pt x="100" y="77"/>
                  </a:lnTo>
                  <a:lnTo>
                    <a:pt x="97" y="52"/>
                  </a:lnTo>
                  <a:lnTo>
                    <a:pt x="93" y="33"/>
                  </a:lnTo>
                  <a:lnTo>
                    <a:pt x="87" y="18"/>
                  </a:lnTo>
                  <a:lnTo>
                    <a:pt x="82" y="13"/>
                  </a:lnTo>
                  <a:lnTo>
                    <a:pt x="77" y="8"/>
                  </a:lnTo>
                  <a:lnTo>
                    <a:pt x="72" y="5"/>
                  </a:lnTo>
                  <a:lnTo>
                    <a:pt x="66" y="2"/>
                  </a:lnTo>
                  <a:lnTo>
                    <a:pt x="59" y="0"/>
                  </a:lnTo>
                  <a:lnTo>
                    <a:pt x="51" y="0"/>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34">
              <a:extLst>
                <a:ext uri="{FF2B5EF4-FFF2-40B4-BE49-F238E27FC236}">
                  <a16:creationId xmlns:a16="http://schemas.microsoft.com/office/drawing/2014/main" id="{2DC1DF4A-C2C7-463D-98F7-59E3BEC04A92}"/>
                </a:ext>
              </a:extLst>
            </p:cNvPr>
            <p:cNvSpPr>
              <a:spLocks noEditPoints="1"/>
            </p:cNvSpPr>
            <p:nvPr/>
          </p:nvSpPr>
          <p:spPr bwMode="auto">
            <a:xfrm>
              <a:off x="7531100" y="538163"/>
              <a:ext cx="1144588" cy="1144587"/>
            </a:xfrm>
            <a:custGeom>
              <a:avLst/>
              <a:gdLst>
                <a:gd name="T0" fmla="*/ 612 w 1442"/>
                <a:gd name="T1" fmla="*/ 8 h 1442"/>
                <a:gd name="T2" fmla="*/ 440 w 1442"/>
                <a:gd name="T3" fmla="*/ 55 h 1442"/>
                <a:gd name="T4" fmla="*/ 290 w 1442"/>
                <a:gd name="T5" fmla="*/ 142 h 1442"/>
                <a:gd name="T6" fmla="*/ 165 w 1442"/>
                <a:gd name="T7" fmla="*/ 261 h 1442"/>
                <a:gd name="T8" fmla="*/ 72 w 1442"/>
                <a:gd name="T9" fmla="*/ 408 h 1442"/>
                <a:gd name="T10" fmla="*/ 15 w 1442"/>
                <a:gd name="T11" fmla="*/ 576 h 1442"/>
                <a:gd name="T12" fmla="*/ 0 w 1442"/>
                <a:gd name="T13" fmla="*/ 721 h 1442"/>
                <a:gd name="T14" fmla="*/ 23 w 1442"/>
                <a:gd name="T15" fmla="*/ 900 h 1442"/>
                <a:gd name="T16" fmla="*/ 86 w 1442"/>
                <a:gd name="T17" fmla="*/ 1064 h 1442"/>
                <a:gd name="T18" fmla="*/ 188 w 1442"/>
                <a:gd name="T19" fmla="*/ 1205 h 1442"/>
                <a:gd name="T20" fmla="*/ 318 w 1442"/>
                <a:gd name="T21" fmla="*/ 1318 h 1442"/>
                <a:gd name="T22" fmla="*/ 473 w 1442"/>
                <a:gd name="T23" fmla="*/ 1398 h 1442"/>
                <a:gd name="T24" fmla="*/ 648 w 1442"/>
                <a:gd name="T25" fmla="*/ 1437 h 1442"/>
                <a:gd name="T26" fmla="*/ 794 w 1442"/>
                <a:gd name="T27" fmla="*/ 1437 h 1442"/>
                <a:gd name="T28" fmla="*/ 969 w 1442"/>
                <a:gd name="T29" fmla="*/ 1398 h 1442"/>
                <a:gd name="T30" fmla="*/ 1124 w 1442"/>
                <a:gd name="T31" fmla="*/ 1318 h 1442"/>
                <a:gd name="T32" fmla="*/ 1254 w 1442"/>
                <a:gd name="T33" fmla="*/ 1205 h 1442"/>
                <a:gd name="T34" fmla="*/ 1356 w 1442"/>
                <a:gd name="T35" fmla="*/ 1064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1 h 1442"/>
                <a:gd name="T46" fmla="*/ 1153 w 1442"/>
                <a:gd name="T47" fmla="*/ 142 h 1442"/>
                <a:gd name="T48" fmla="*/ 1002 w 1442"/>
                <a:gd name="T49" fmla="*/ 55 h 1442"/>
                <a:gd name="T50" fmla="*/ 830 w 1442"/>
                <a:gd name="T51" fmla="*/ 8 h 1442"/>
                <a:gd name="T52" fmla="*/ 560 w 1442"/>
                <a:gd name="T53" fmla="*/ 905 h 1442"/>
                <a:gd name="T54" fmla="*/ 550 w 1442"/>
                <a:gd name="T55" fmla="*/ 851 h 1442"/>
                <a:gd name="T56" fmla="*/ 545 w 1442"/>
                <a:gd name="T57" fmla="*/ 775 h 1442"/>
                <a:gd name="T58" fmla="*/ 522 w 1442"/>
                <a:gd name="T59" fmla="*/ 754 h 1442"/>
                <a:gd name="T60" fmla="*/ 475 w 1442"/>
                <a:gd name="T61" fmla="*/ 905 h 1442"/>
                <a:gd name="T62" fmla="*/ 560 w 1442"/>
                <a:gd name="T63" fmla="*/ 530 h 1442"/>
                <a:gd name="T64" fmla="*/ 623 w 1442"/>
                <a:gd name="T65" fmla="*/ 586 h 1442"/>
                <a:gd name="T66" fmla="*/ 625 w 1442"/>
                <a:gd name="T67" fmla="*/ 661 h 1442"/>
                <a:gd name="T68" fmla="*/ 577 w 1442"/>
                <a:gd name="T69" fmla="*/ 716 h 1442"/>
                <a:gd name="T70" fmla="*/ 589 w 1442"/>
                <a:gd name="T71" fmla="*/ 728 h 1442"/>
                <a:gd name="T72" fmla="*/ 623 w 1442"/>
                <a:gd name="T73" fmla="*/ 763 h 1442"/>
                <a:gd name="T74" fmla="*/ 630 w 1442"/>
                <a:gd name="T75" fmla="*/ 853 h 1442"/>
                <a:gd name="T76" fmla="*/ 788 w 1442"/>
                <a:gd name="T77" fmla="*/ 912 h 1442"/>
                <a:gd name="T78" fmla="*/ 713 w 1442"/>
                <a:gd name="T79" fmla="*/ 896 h 1442"/>
                <a:gd name="T80" fmla="*/ 669 w 1442"/>
                <a:gd name="T81" fmla="*/ 838 h 1442"/>
                <a:gd name="T82" fmla="*/ 657 w 1442"/>
                <a:gd name="T83" fmla="*/ 718 h 1442"/>
                <a:gd name="T84" fmla="*/ 666 w 1442"/>
                <a:gd name="T85" fmla="*/ 612 h 1442"/>
                <a:gd name="T86" fmla="*/ 700 w 1442"/>
                <a:gd name="T87" fmla="*/ 548 h 1442"/>
                <a:gd name="T88" fmla="*/ 788 w 1442"/>
                <a:gd name="T89" fmla="*/ 524 h 1442"/>
                <a:gd name="T90" fmla="*/ 863 w 1442"/>
                <a:gd name="T91" fmla="*/ 540 h 1442"/>
                <a:gd name="T92" fmla="*/ 907 w 1442"/>
                <a:gd name="T93" fmla="*/ 597 h 1442"/>
                <a:gd name="T94" fmla="*/ 918 w 1442"/>
                <a:gd name="T95" fmla="*/ 718 h 1442"/>
                <a:gd name="T96" fmla="*/ 912 w 1442"/>
                <a:gd name="T97" fmla="*/ 822 h 1442"/>
                <a:gd name="T98" fmla="*/ 876 w 1442"/>
                <a:gd name="T99" fmla="*/ 887 h 1442"/>
                <a:gd name="T100" fmla="*/ 788 w 1442"/>
                <a:gd name="T101" fmla="*/ 912 h 1442"/>
                <a:gd name="T102" fmla="*/ 1034 w 1442"/>
                <a:gd name="T103" fmla="*/ 529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2" h="1442">
                  <a:moveTo>
                    <a:pt x="721" y="0"/>
                  </a:moveTo>
                  <a:lnTo>
                    <a:pt x="721" y="0"/>
                  </a:lnTo>
                  <a:lnTo>
                    <a:pt x="683" y="0"/>
                  </a:lnTo>
                  <a:lnTo>
                    <a:pt x="648" y="3"/>
                  </a:lnTo>
                  <a:lnTo>
                    <a:pt x="612" y="8"/>
                  </a:lnTo>
                  <a:lnTo>
                    <a:pt x="576" y="15"/>
                  </a:lnTo>
                  <a:lnTo>
                    <a:pt x="542" y="21"/>
                  </a:lnTo>
                  <a:lnTo>
                    <a:pt x="507" y="31"/>
                  </a:lnTo>
                  <a:lnTo>
                    <a:pt x="473" y="42"/>
                  </a:lnTo>
                  <a:lnTo>
                    <a:pt x="440" y="55"/>
                  </a:lnTo>
                  <a:lnTo>
                    <a:pt x="408" y="70"/>
                  </a:lnTo>
                  <a:lnTo>
                    <a:pt x="377" y="86"/>
                  </a:lnTo>
                  <a:lnTo>
                    <a:pt x="347" y="104"/>
                  </a:lnTo>
                  <a:lnTo>
                    <a:pt x="318" y="122"/>
                  </a:lnTo>
                  <a:lnTo>
                    <a:pt x="290" y="142"/>
                  </a:lnTo>
                  <a:lnTo>
                    <a:pt x="263" y="165"/>
                  </a:lnTo>
                  <a:lnTo>
                    <a:pt x="237" y="186"/>
                  </a:lnTo>
                  <a:lnTo>
                    <a:pt x="210" y="210"/>
                  </a:lnTo>
                  <a:lnTo>
                    <a:pt x="188" y="235"/>
                  </a:lnTo>
                  <a:lnTo>
                    <a:pt x="165" y="261"/>
                  </a:lnTo>
                  <a:lnTo>
                    <a:pt x="144"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4" y="1152"/>
                  </a:lnTo>
                  <a:lnTo>
                    <a:pt x="165" y="1179"/>
                  </a:lnTo>
                  <a:lnTo>
                    <a:pt x="188" y="1205"/>
                  </a:lnTo>
                  <a:lnTo>
                    <a:pt x="210" y="1230"/>
                  </a:lnTo>
                  <a:lnTo>
                    <a:pt x="237" y="1254"/>
                  </a:lnTo>
                  <a:lnTo>
                    <a:pt x="263" y="1277"/>
                  </a:lnTo>
                  <a:lnTo>
                    <a:pt x="290" y="1298"/>
                  </a:lnTo>
                  <a:lnTo>
                    <a:pt x="318" y="1318"/>
                  </a:lnTo>
                  <a:lnTo>
                    <a:pt x="347" y="1338"/>
                  </a:lnTo>
                  <a:lnTo>
                    <a:pt x="377" y="1354"/>
                  </a:lnTo>
                  <a:lnTo>
                    <a:pt x="408" y="1370"/>
                  </a:lnTo>
                  <a:lnTo>
                    <a:pt x="440" y="1385"/>
                  </a:lnTo>
                  <a:lnTo>
                    <a:pt x="473" y="1398"/>
                  </a:lnTo>
                  <a:lnTo>
                    <a:pt x="507" y="1409"/>
                  </a:lnTo>
                  <a:lnTo>
                    <a:pt x="542" y="1419"/>
                  </a:lnTo>
                  <a:lnTo>
                    <a:pt x="576" y="1427"/>
                  </a:lnTo>
                  <a:lnTo>
                    <a:pt x="612" y="1434"/>
                  </a:lnTo>
                  <a:lnTo>
                    <a:pt x="648" y="1437"/>
                  </a:lnTo>
                  <a:lnTo>
                    <a:pt x="683" y="1440"/>
                  </a:lnTo>
                  <a:lnTo>
                    <a:pt x="721" y="1442"/>
                  </a:lnTo>
                  <a:lnTo>
                    <a:pt x="721" y="1442"/>
                  </a:lnTo>
                  <a:lnTo>
                    <a:pt x="759" y="1440"/>
                  </a:lnTo>
                  <a:lnTo>
                    <a:pt x="794" y="1437"/>
                  </a:lnTo>
                  <a:lnTo>
                    <a:pt x="830" y="1434"/>
                  </a:lnTo>
                  <a:lnTo>
                    <a:pt x="866" y="1427"/>
                  </a:lnTo>
                  <a:lnTo>
                    <a:pt x="902" y="1419"/>
                  </a:lnTo>
                  <a:lnTo>
                    <a:pt x="935" y="1409"/>
                  </a:lnTo>
                  <a:lnTo>
                    <a:pt x="969" y="1398"/>
                  </a:lnTo>
                  <a:lnTo>
                    <a:pt x="1002" y="1385"/>
                  </a:lnTo>
                  <a:lnTo>
                    <a:pt x="1034" y="1370"/>
                  </a:lnTo>
                  <a:lnTo>
                    <a:pt x="1065" y="1354"/>
                  </a:lnTo>
                  <a:lnTo>
                    <a:pt x="1095" y="1338"/>
                  </a:lnTo>
                  <a:lnTo>
                    <a:pt x="1124" y="1318"/>
                  </a:lnTo>
                  <a:lnTo>
                    <a:pt x="1153" y="1298"/>
                  </a:lnTo>
                  <a:lnTo>
                    <a:pt x="1179" y="1277"/>
                  </a:lnTo>
                  <a:lnTo>
                    <a:pt x="1205" y="1254"/>
                  </a:lnTo>
                  <a:lnTo>
                    <a:pt x="1232" y="1230"/>
                  </a:lnTo>
                  <a:lnTo>
                    <a:pt x="1254" y="1205"/>
                  </a:lnTo>
                  <a:lnTo>
                    <a:pt x="1277" y="1179"/>
                  </a:lnTo>
                  <a:lnTo>
                    <a:pt x="1298" y="1152"/>
                  </a:lnTo>
                  <a:lnTo>
                    <a:pt x="1320" y="1124"/>
                  </a:lnTo>
                  <a:lnTo>
                    <a:pt x="1338" y="1095"/>
                  </a:lnTo>
                  <a:lnTo>
                    <a:pt x="1356" y="1064"/>
                  </a:lnTo>
                  <a:lnTo>
                    <a:pt x="1372" y="1033"/>
                  </a:lnTo>
                  <a:lnTo>
                    <a:pt x="1385" y="1002"/>
                  </a:lnTo>
                  <a:lnTo>
                    <a:pt x="1398" y="969"/>
                  </a:lnTo>
                  <a:lnTo>
                    <a:pt x="1409" y="935"/>
                  </a:lnTo>
                  <a:lnTo>
                    <a:pt x="1419" y="900"/>
                  </a:lnTo>
                  <a:lnTo>
                    <a:pt x="1427" y="866"/>
                  </a:lnTo>
                  <a:lnTo>
                    <a:pt x="1434" y="830"/>
                  </a:lnTo>
                  <a:lnTo>
                    <a:pt x="1439" y="794"/>
                  </a:lnTo>
                  <a:lnTo>
                    <a:pt x="1442" y="757"/>
                  </a:lnTo>
                  <a:lnTo>
                    <a:pt x="1442" y="721"/>
                  </a:lnTo>
                  <a:lnTo>
                    <a:pt x="1442" y="721"/>
                  </a:lnTo>
                  <a:lnTo>
                    <a:pt x="1442" y="683"/>
                  </a:lnTo>
                  <a:lnTo>
                    <a:pt x="1439" y="646"/>
                  </a:lnTo>
                  <a:lnTo>
                    <a:pt x="1434" y="610"/>
                  </a:lnTo>
                  <a:lnTo>
                    <a:pt x="1427" y="576"/>
                  </a:lnTo>
                  <a:lnTo>
                    <a:pt x="1419" y="540"/>
                  </a:lnTo>
                  <a:lnTo>
                    <a:pt x="1409" y="506"/>
                  </a:lnTo>
                  <a:lnTo>
                    <a:pt x="1398" y="473"/>
                  </a:lnTo>
                  <a:lnTo>
                    <a:pt x="1385" y="440"/>
                  </a:lnTo>
                  <a:lnTo>
                    <a:pt x="1372" y="408"/>
                  </a:lnTo>
                  <a:lnTo>
                    <a:pt x="1356" y="377"/>
                  </a:lnTo>
                  <a:lnTo>
                    <a:pt x="1338" y="346"/>
                  </a:lnTo>
                  <a:lnTo>
                    <a:pt x="1320" y="316"/>
                  </a:lnTo>
                  <a:lnTo>
                    <a:pt x="1298" y="289"/>
                  </a:lnTo>
                  <a:lnTo>
                    <a:pt x="1277" y="261"/>
                  </a:lnTo>
                  <a:lnTo>
                    <a:pt x="1254" y="235"/>
                  </a:lnTo>
                  <a:lnTo>
                    <a:pt x="1232" y="210"/>
                  </a:lnTo>
                  <a:lnTo>
                    <a:pt x="1205" y="186"/>
                  </a:lnTo>
                  <a:lnTo>
                    <a:pt x="1179" y="165"/>
                  </a:lnTo>
                  <a:lnTo>
                    <a:pt x="1153" y="142"/>
                  </a:lnTo>
                  <a:lnTo>
                    <a:pt x="1124" y="122"/>
                  </a:lnTo>
                  <a:lnTo>
                    <a:pt x="1095" y="104"/>
                  </a:lnTo>
                  <a:lnTo>
                    <a:pt x="1065" y="86"/>
                  </a:lnTo>
                  <a:lnTo>
                    <a:pt x="1034" y="70"/>
                  </a:lnTo>
                  <a:lnTo>
                    <a:pt x="1002" y="55"/>
                  </a:lnTo>
                  <a:lnTo>
                    <a:pt x="969" y="42"/>
                  </a:lnTo>
                  <a:lnTo>
                    <a:pt x="935" y="31"/>
                  </a:lnTo>
                  <a:lnTo>
                    <a:pt x="902" y="21"/>
                  </a:lnTo>
                  <a:lnTo>
                    <a:pt x="866" y="15"/>
                  </a:lnTo>
                  <a:lnTo>
                    <a:pt x="830" y="8"/>
                  </a:lnTo>
                  <a:lnTo>
                    <a:pt x="794" y="3"/>
                  </a:lnTo>
                  <a:lnTo>
                    <a:pt x="759" y="0"/>
                  </a:lnTo>
                  <a:lnTo>
                    <a:pt x="721" y="0"/>
                  </a:lnTo>
                  <a:lnTo>
                    <a:pt x="721" y="0"/>
                  </a:lnTo>
                  <a:close/>
                  <a:moveTo>
                    <a:pt x="560" y="905"/>
                  </a:moveTo>
                  <a:lnTo>
                    <a:pt x="560" y="905"/>
                  </a:lnTo>
                  <a:lnTo>
                    <a:pt x="556" y="897"/>
                  </a:lnTo>
                  <a:lnTo>
                    <a:pt x="553" y="889"/>
                  </a:lnTo>
                  <a:lnTo>
                    <a:pt x="551" y="869"/>
                  </a:lnTo>
                  <a:lnTo>
                    <a:pt x="550" y="851"/>
                  </a:lnTo>
                  <a:lnTo>
                    <a:pt x="551" y="834"/>
                  </a:lnTo>
                  <a:lnTo>
                    <a:pt x="551" y="834"/>
                  </a:lnTo>
                  <a:lnTo>
                    <a:pt x="550" y="801"/>
                  </a:lnTo>
                  <a:lnTo>
                    <a:pt x="548" y="786"/>
                  </a:lnTo>
                  <a:lnTo>
                    <a:pt x="545" y="775"/>
                  </a:lnTo>
                  <a:lnTo>
                    <a:pt x="542" y="770"/>
                  </a:lnTo>
                  <a:lnTo>
                    <a:pt x="538" y="765"/>
                  </a:lnTo>
                  <a:lnTo>
                    <a:pt x="533" y="760"/>
                  </a:lnTo>
                  <a:lnTo>
                    <a:pt x="529" y="757"/>
                  </a:lnTo>
                  <a:lnTo>
                    <a:pt x="522" y="754"/>
                  </a:lnTo>
                  <a:lnTo>
                    <a:pt x="514" y="752"/>
                  </a:lnTo>
                  <a:lnTo>
                    <a:pt x="506" y="750"/>
                  </a:lnTo>
                  <a:lnTo>
                    <a:pt x="494" y="750"/>
                  </a:lnTo>
                  <a:lnTo>
                    <a:pt x="475" y="750"/>
                  </a:lnTo>
                  <a:lnTo>
                    <a:pt x="475" y="905"/>
                  </a:lnTo>
                  <a:lnTo>
                    <a:pt x="395" y="905"/>
                  </a:lnTo>
                  <a:lnTo>
                    <a:pt x="395" y="529"/>
                  </a:lnTo>
                  <a:lnTo>
                    <a:pt x="540" y="529"/>
                  </a:lnTo>
                  <a:lnTo>
                    <a:pt x="540" y="529"/>
                  </a:lnTo>
                  <a:lnTo>
                    <a:pt x="560" y="530"/>
                  </a:lnTo>
                  <a:lnTo>
                    <a:pt x="577" y="535"/>
                  </a:lnTo>
                  <a:lnTo>
                    <a:pt x="592" y="543"/>
                  </a:lnTo>
                  <a:lnTo>
                    <a:pt x="605" y="555"/>
                  </a:lnTo>
                  <a:lnTo>
                    <a:pt x="615" y="568"/>
                  </a:lnTo>
                  <a:lnTo>
                    <a:pt x="623" y="586"/>
                  </a:lnTo>
                  <a:lnTo>
                    <a:pt x="628" y="605"/>
                  </a:lnTo>
                  <a:lnTo>
                    <a:pt x="630" y="628"/>
                  </a:lnTo>
                  <a:lnTo>
                    <a:pt x="630" y="628"/>
                  </a:lnTo>
                  <a:lnTo>
                    <a:pt x="628" y="646"/>
                  </a:lnTo>
                  <a:lnTo>
                    <a:pt x="625" y="661"/>
                  </a:lnTo>
                  <a:lnTo>
                    <a:pt x="620" y="675"/>
                  </a:lnTo>
                  <a:lnTo>
                    <a:pt x="613" y="688"/>
                  </a:lnTo>
                  <a:lnTo>
                    <a:pt x="604" y="700"/>
                  </a:lnTo>
                  <a:lnTo>
                    <a:pt x="592" y="710"/>
                  </a:lnTo>
                  <a:lnTo>
                    <a:pt x="577" y="716"/>
                  </a:lnTo>
                  <a:lnTo>
                    <a:pt x="560" y="721"/>
                  </a:lnTo>
                  <a:lnTo>
                    <a:pt x="560" y="721"/>
                  </a:lnTo>
                  <a:lnTo>
                    <a:pt x="560" y="721"/>
                  </a:lnTo>
                  <a:lnTo>
                    <a:pt x="577" y="724"/>
                  </a:lnTo>
                  <a:lnTo>
                    <a:pt x="589" y="728"/>
                  </a:lnTo>
                  <a:lnTo>
                    <a:pt x="600" y="734"/>
                  </a:lnTo>
                  <a:lnTo>
                    <a:pt x="610" y="742"/>
                  </a:lnTo>
                  <a:lnTo>
                    <a:pt x="615" y="749"/>
                  </a:lnTo>
                  <a:lnTo>
                    <a:pt x="620" y="755"/>
                  </a:lnTo>
                  <a:lnTo>
                    <a:pt x="623" y="763"/>
                  </a:lnTo>
                  <a:lnTo>
                    <a:pt x="625" y="773"/>
                  </a:lnTo>
                  <a:lnTo>
                    <a:pt x="626" y="783"/>
                  </a:lnTo>
                  <a:lnTo>
                    <a:pt x="628" y="796"/>
                  </a:lnTo>
                  <a:lnTo>
                    <a:pt x="628" y="796"/>
                  </a:lnTo>
                  <a:lnTo>
                    <a:pt x="630" y="853"/>
                  </a:lnTo>
                  <a:lnTo>
                    <a:pt x="631" y="886"/>
                  </a:lnTo>
                  <a:lnTo>
                    <a:pt x="635" y="897"/>
                  </a:lnTo>
                  <a:lnTo>
                    <a:pt x="636" y="905"/>
                  </a:lnTo>
                  <a:lnTo>
                    <a:pt x="560" y="905"/>
                  </a:lnTo>
                  <a:close/>
                  <a:moveTo>
                    <a:pt x="788" y="912"/>
                  </a:moveTo>
                  <a:lnTo>
                    <a:pt x="788" y="912"/>
                  </a:lnTo>
                  <a:lnTo>
                    <a:pt x="765" y="912"/>
                  </a:lnTo>
                  <a:lnTo>
                    <a:pt x="745" y="909"/>
                  </a:lnTo>
                  <a:lnTo>
                    <a:pt x="728" y="902"/>
                  </a:lnTo>
                  <a:lnTo>
                    <a:pt x="713" y="896"/>
                  </a:lnTo>
                  <a:lnTo>
                    <a:pt x="700" y="887"/>
                  </a:lnTo>
                  <a:lnTo>
                    <a:pt x="690" y="876"/>
                  </a:lnTo>
                  <a:lnTo>
                    <a:pt x="682" y="865"/>
                  </a:lnTo>
                  <a:lnTo>
                    <a:pt x="674" y="851"/>
                  </a:lnTo>
                  <a:lnTo>
                    <a:pt x="669" y="838"/>
                  </a:lnTo>
                  <a:lnTo>
                    <a:pt x="666" y="822"/>
                  </a:lnTo>
                  <a:lnTo>
                    <a:pt x="662" y="806"/>
                  </a:lnTo>
                  <a:lnTo>
                    <a:pt x="661" y="790"/>
                  </a:lnTo>
                  <a:lnTo>
                    <a:pt x="659" y="754"/>
                  </a:lnTo>
                  <a:lnTo>
                    <a:pt x="657" y="718"/>
                  </a:lnTo>
                  <a:lnTo>
                    <a:pt x="657" y="718"/>
                  </a:lnTo>
                  <a:lnTo>
                    <a:pt x="659" y="680"/>
                  </a:lnTo>
                  <a:lnTo>
                    <a:pt x="661" y="644"/>
                  </a:lnTo>
                  <a:lnTo>
                    <a:pt x="662" y="628"/>
                  </a:lnTo>
                  <a:lnTo>
                    <a:pt x="666" y="612"/>
                  </a:lnTo>
                  <a:lnTo>
                    <a:pt x="669" y="597"/>
                  </a:lnTo>
                  <a:lnTo>
                    <a:pt x="674" y="582"/>
                  </a:lnTo>
                  <a:lnTo>
                    <a:pt x="682" y="569"/>
                  </a:lnTo>
                  <a:lnTo>
                    <a:pt x="690" y="558"/>
                  </a:lnTo>
                  <a:lnTo>
                    <a:pt x="700" y="548"/>
                  </a:lnTo>
                  <a:lnTo>
                    <a:pt x="713" y="540"/>
                  </a:lnTo>
                  <a:lnTo>
                    <a:pt x="728" y="532"/>
                  </a:lnTo>
                  <a:lnTo>
                    <a:pt x="745" y="527"/>
                  </a:lnTo>
                  <a:lnTo>
                    <a:pt x="765" y="524"/>
                  </a:lnTo>
                  <a:lnTo>
                    <a:pt x="788" y="524"/>
                  </a:lnTo>
                  <a:lnTo>
                    <a:pt x="788" y="524"/>
                  </a:lnTo>
                  <a:lnTo>
                    <a:pt x="811" y="524"/>
                  </a:lnTo>
                  <a:lnTo>
                    <a:pt x="830" y="527"/>
                  </a:lnTo>
                  <a:lnTo>
                    <a:pt x="848" y="532"/>
                  </a:lnTo>
                  <a:lnTo>
                    <a:pt x="863" y="540"/>
                  </a:lnTo>
                  <a:lnTo>
                    <a:pt x="876" y="548"/>
                  </a:lnTo>
                  <a:lnTo>
                    <a:pt x="886" y="558"/>
                  </a:lnTo>
                  <a:lnTo>
                    <a:pt x="896" y="569"/>
                  </a:lnTo>
                  <a:lnTo>
                    <a:pt x="902" y="582"/>
                  </a:lnTo>
                  <a:lnTo>
                    <a:pt x="907" y="597"/>
                  </a:lnTo>
                  <a:lnTo>
                    <a:pt x="912" y="612"/>
                  </a:lnTo>
                  <a:lnTo>
                    <a:pt x="913" y="628"/>
                  </a:lnTo>
                  <a:lnTo>
                    <a:pt x="915" y="644"/>
                  </a:lnTo>
                  <a:lnTo>
                    <a:pt x="918" y="680"/>
                  </a:lnTo>
                  <a:lnTo>
                    <a:pt x="918" y="718"/>
                  </a:lnTo>
                  <a:lnTo>
                    <a:pt x="918" y="718"/>
                  </a:lnTo>
                  <a:lnTo>
                    <a:pt x="918" y="754"/>
                  </a:lnTo>
                  <a:lnTo>
                    <a:pt x="915" y="790"/>
                  </a:lnTo>
                  <a:lnTo>
                    <a:pt x="913" y="806"/>
                  </a:lnTo>
                  <a:lnTo>
                    <a:pt x="912" y="822"/>
                  </a:lnTo>
                  <a:lnTo>
                    <a:pt x="907" y="838"/>
                  </a:lnTo>
                  <a:lnTo>
                    <a:pt x="902" y="851"/>
                  </a:lnTo>
                  <a:lnTo>
                    <a:pt x="896" y="865"/>
                  </a:lnTo>
                  <a:lnTo>
                    <a:pt x="886" y="876"/>
                  </a:lnTo>
                  <a:lnTo>
                    <a:pt x="876" y="887"/>
                  </a:lnTo>
                  <a:lnTo>
                    <a:pt x="863" y="896"/>
                  </a:lnTo>
                  <a:lnTo>
                    <a:pt x="848" y="902"/>
                  </a:lnTo>
                  <a:lnTo>
                    <a:pt x="830" y="909"/>
                  </a:lnTo>
                  <a:lnTo>
                    <a:pt x="811" y="912"/>
                  </a:lnTo>
                  <a:lnTo>
                    <a:pt x="788" y="912"/>
                  </a:lnTo>
                  <a:lnTo>
                    <a:pt x="788" y="912"/>
                  </a:lnTo>
                  <a:close/>
                  <a:moveTo>
                    <a:pt x="1034" y="905"/>
                  </a:moveTo>
                  <a:lnTo>
                    <a:pt x="956" y="905"/>
                  </a:lnTo>
                  <a:lnTo>
                    <a:pt x="956" y="529"/>
                  </a:lnTo>
                  <a:lnTo>
                    <a:pt x="1034" y="529"/>
                  </a:lnTo>
                  <a:lnTo>
                    <a:pt x="1034" y="9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2" name="Group 61"/>
          <p:cNvGrpSpPr/>
          <p:nvPr userDrawn="1"/>
        </p:nvGrpSpPr>
        <p:grpSpPr>
          <a:xfrm>
            <a:off x="1745602" y="3994458"/>
            <a:ext cx="1080000" cy="1080000"/>
            <a:chOff x="236538" y="1984253"/>
            <a:chExt cx="1676400" cy="1676400"/>
          </a:xfrm>
          <a:solidFill>
            <a:srgbClr val="000000"/>
          </a:solidFill>
        </p:grpSpPr>
        <p:sp>
          <p:nvSpPr>
            <p:cNvPr id="63" name="Freeform 38">
              <a:extLst>
                <a:ext uri="{FF2B5EF4-FFF2-40B4-BE49-F238E27FC236}">
                  <a16:creationId xmlns:a16="http://schemas.microsoft.com/office/drawing/2014/main" id="{45C5CCCE-3B62-48F4-947B-EAEB938D6BE0}"/>
                </a:ext>
              </a:extLst>
            </p:cNvPr>
            <p:cNvSpPr>
              <a:spLocks/>
            </p:cNvSpPr>
            <p:nvPr/>
          </p:nvSpPr>
          <p:spPr bwMode="auto">
            <a:xfrm>
              <a:off x="1360488" y="2538413"/>
              <a:ext cx="122238" cy="90488"/>
            </a:xfrm>
            <a:custGeom>
              <a:avLst/>
              <a:gdLst>
                <a:gd name="T0" fmla="*/ 0 w 538"/>
                <a:gd name="T1" fmla="*/ 0 h 397"/>
                <a:gd name="T2" fmla="*/ 0 w 538"/>
                <a:gd name="T3" fmla="*/ 0 h 397"/>
                <a:gd name="T4" fmla="*/ 39 w 538"/>
                <a:gd name="T5" fmla="*/ 397 h 397"/>
                <a:gd name="T6" fmla="*/ 39 w 538"/>
                <a:gd name="T7" fmla="*/ 397 h 397"/>
                <a:gd name="T8" fmla="*/ 538 w 538"/>
                <a:gd name="T9" fmla="*/ 397 h 397"/>
                <a:gd name="T10" fmla="*/ 538 w 538"/>
                <a:gd name="T11" fmla="*/ 397 h 397"/>
                <a:gd name="T12" fmla="*/ 531 w 538"/>
                <a:gd name="T13" fmla="*/ 347 h 397"/>
                <a:gd name="T14" fmla="*/ 522 w 538"/>
                <a:gd name="T15" fmla="*/ 298 h 397"/>
                <a:gd name="T16" fmla="*/ 511 w 538"/>
                <a:gd name="T17" fmla="*/ 249 h 397"/>
                <a:gd name="T18" fmla="*/ 498 w 538"/>
                <a:gd name="T19" fmla="*/ 202 h 397"/>
                <a:gd name="T20" fmla="*/ 483 w 538"/>
                <a:gd name="T21" fmla="*/ 155 h 397"/>
                <a:gd name="T22" fmla="*/ 465 w 538"/>
                <a:gd name="T23" fmla="*/ 109 h 397"/>
                <a:gd name="T24" fmla="*/ 446 w 538"/>
                <a:gd name="T25" fmla="*/ 64 h 397"/>
                <a:gd name="T26" fmla="*/ 423 w 538"/>
                <a:gd name="T27" fmla="*/ 20 h 397"/>
                <a:gd name="T28" fmla="*/ 423 w 538"/>
                <a:gd name="T29" fmla="*/ 20 h 397"/>
                <a:gd name="T30" fmla="*/ 418 w 538"/>
                <a:gd name="T31" fmla="*/ 13 h 397"/>
                <a:gd name="T32" fmla="*/ 411 w 538"/>
                <a:gd name="T33" fmla="*/ 7 h 397"/>
                <a:gd name="T34" fmla="*/ 403 w 538"/>
                <a:gd name="T35" fmla="*/ 3 h 397"/>
                <a:gd name="T36" fmla="*/ 399 w 538"/>
                <a:gd name="T37" fmla="*/ 1 h 397"/>
                <a:gd name="T38" fmla="*/ 395 w 538"/>
                <a:gd name="T39" fmla="*/ 1 h 397"/>
                <a:gd name="T40" fmla="*/ 395 w 538"/>
                <a:gd name="T41" fmla="*/ 1 h 397"/>
                <a:gd name="T42" fmla="*/ 197 w 538"/>
                <a:gd name="T43" fmla="*/ 0 h 397"/>
                <a:gd name="T44" fmla="*/ 0 w 538"/>
                <a:gd name="T45" fmla="*/ 0 h 397"/>
                <a:gd name="T46" fmla="*/ 0 w 538"/>
                <a:gd name="T4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8" h="397">
                  <a:moveTo>
                    <a:pt x="0" y="0"/>
                  </a:moveTo>
                  <a:lnTo>
                    <a:pt x="0" y="0"/>
                  </a:lnTo>
                  <a:lnTo>
                    <a:pt x="39" y="397"/>
                  </a:lnTo>
                  <a:lnTo>
                    <a:pt x="39" y="397"/>
                  </a:lnTo>
                  <a:lnTo>
                    <a:pt x="538" y="397"/>
                  </a:lnTo>
                  <a:lnTo>
                    <a:pt x="538" y="397"/>
                  </a:lnTo>
                  <a:lnTo>
                    <a:pt x="531" y="347"/>
                  </a:lnTo>
                  <a:lnTo>
                    <a:pt x="522" y="298"/>
                  </a:lnTo>
                  <a:lnTo>
                    <a:pt x="511" y="249"/>
                  </a:lnTo>
                  <a:lnTo>
                    <a:pt x="498" y="202"/>
                  </a:lnTo>
                  <a:lnTo>
                    <a:pt x="483" y="155"/>
                  </a:lnTo>
                  <a:lnTo>
                    <a:pt x="465" y="109"/>
                  </a:lnTo>
                  <a:lnTo>
                    <a:pt x="446" y="64"/>
                  </a:lnTo>
                  <a:lnTo>
                    <a:pt x="423" y="20"/>
                  </a:lnTo>
                  <a:lnTo>
                    <a:pt x="423" y="20"/>
                  </a:lnTo>
                  <a:lnTo>
                    <a:pt x="418" y="13"/>
                  </a:lnTo>
                  <a:lnTo>
                    <a:pt x="411" y="7"/>
                  </a:lnTo>
                  <a:lnTo>
                    <a:pt x="403" y="3"/>
                  </a:lnTo>
                  <a:lnTo>
                    <a:pt x="399" y="1"/>
                  </a:lnTo>
                  <a:lnTo>
                    <a:pt x="395" y="1"/>
                  </a:lnTo>
                  <a:lnTo>
                    <a:pt x="395" y="1"/>
                  </a:lnTo>
                  <a:lnTo>
                    <a:pt x="197"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39">
              <a:extLst>
                <a:ext uri="{FF2B5EF4-FFF2-40B4-BE49-F238E27FC236}">
                  <a16:creationId xmlns:a16="http://schemas.microsoft.com/office/drawing/2014/main" id="{CB931B0C-644D-4B73-929C-802DFE04273E}"/>
                </a:ext>
              </a:extLst>
            </p:cNvPr>
            <p:cNvSpPr>
              <a:spLocks/>
            </p:cNvSpPr>
            <p:nvPr/>
          </p:nvSpPr>
          <p:spPr bwMode="auto">
            <a:xfrm>
              <a:off x="1187451" y="2414588"/>
              <a:ext cx="123825" cy="85725"/>
            </a:xfrm>
            <a:custGeom>
              <a:avLst/>
              <a:gdLst>
                <a:gd name="T0" fmla="*/ 549 w 549"/>
                <a:gd name="T1" fmla="*/ 380 h 380"/>
                <a:gd name="T2" fmla="*/ 549 w 549"/>
                <a:gd name="T3" fmla="*/ 380 h 380"/>
                <a:gd name="T4" fmla="*/ 532 w 549"/>
                <a:gd name="T5" fmla="*/ 334 h 380"/>
                <a:gd name="T6" fmla="*/ 515 w 549"/>
                <a:gd name="T7" fmla="*/ 289 h 380"/>
                <a:gd name="T8" fmla="*/ 505 w 549"/>
                <a:gd name="T9" fmla="*/ 267 h 380"/>
                <a:gd name="T10" fmla="*/ 497 w 549"/>
                <a:gd name="T11" fmla="*/ 246 h 380"/>
                <a:gd name="T12" fmla="*/ 487 w 549"/>
                <a:gd name="T13" fmla="*/ 224 h 380"/>
                <a:gd name="T14" fmla="*/ 476 w 549"/>
                <a:gd name="T15" fmla="*/ 204 h 380"/>
                <a:gd name="T16" fmla="*/ 476 w 549"/>
                <a:gd name="T17" fmla="*/ 204 h 380"/>
                <a:gd name="T18" fmla="*/ 451 w 549"/>
                <a:gd name="T19" fmla="*/ 161 h 380"/>
                <a:gd name="T20" fmla="*/ 438 w 549"/>
                <a:gd name="T21" fmla="*/ 140 h 380"/>
                <a:gd name="T22" fmla="*/ 423 w 549"/>
                <a:gd name="T23" fmla="*/ 120 h 380"/>
                <a:gd name="T24" fmla="*/ 409 w 549"/>
                <a:gd name="T25" fmla="*/ 99 h 380"/>
                <a:gd name="T26" fmla="*/ 394 w 549"/>
                <a:gd name="T27" fmla="*/ 80 h 380"/>
                <a:gd name="T28" fmla="*/ 377 w 549"/>
                <a:gd name="T29" fmla="*/ 60 h 380"/>
                <a:gd name="T30" fmla="*/ 361 w 549"/>
                <a:gd name="T31" fmla="*/ 42 h 380"/>
                <a:gd name="T32" fmla="*/ 361 w 549"/>
                <a:gd name="T33" fmla="*/ 42 h 380"/>
                <a:gd name="T34" fmla="*/ 352 w 549"/>
                <a:gd name="T35" fmla="*/ 33 h 380"/>
                <a:gd name="T36" fmla="*/ 341 w 549"/>
                <a:gd name="T37" fmla="*/ 25 h 380"/>
                <a:gd name="T38" fmla="*/ 331 w 549"/>
                <a:gd name="T39" fmla="*/ 17 h 380"/>
                <a:gd name="T40" fmla="*/ 320 w 549"/>
                <a:gd name="T41" fmla="*/ 11 h 380"/>
                <a:gd name="T42" fmla="*/ 310 w 549"/>
                <a:gd name="T43" fmla="*/ 7 h 380"/>
                <a:gd name="T44" fmla="*/ 298 w 549"/>
                <a:gd name="T45" fmla="*/ 3 h 380"/>
                <a:gd name="T46" fmla="*/ 287 w 549"/>
                <a:gd name="T47" fmla="*/ 1 h 380"/>
                <a:gd name="T48" fmla="*/ 276 w 549"/>
                <a:gd name="T49" fmla="*/ 0 h 380"/>
                <a:gd name="T50" fmla="*/ 265 w 549"/>
                <a:gd name="T51" fmla="*/ 1 h 380"/>
                <a:gd name="T52" fmla="*/ 252 w 549"/>
                <a:gd name="T53" fmla="*/ 2 h 380"/>
                <a:gd name="T54" fmla="*/ 241 w 549"/>
                <a:gd name="T55" fmla="*/ 5 h 380"/>
                <a:gd name="T56" fmla="*/ 230 w 549"/>
                <a:gd name="T57" fmla="*/ 9 h 380"/>
                <a:gd name="T58" fmla="*/ 219 w 549"/>
                <a:gd name="T59" fmla="*/ 14 h 380"/>
                <a:gd name="T60" fmla="*/ 207 w 549"/>
                <a:gd name="T61" fmla="*/ 20 h 380"/>
                <a:gd name="T62" fmla="*/ 196 w 549"/>
                <a:gd name="T63" fmla="*/ 28 h 380"/>
                <a:gd name="T64" fmla="*/ 185 w 549"/>
                <a:gd name="T65" fmla="*/ 36 h 380"/>
                <a:gd name="T66" fmla="*/ 185 w 549"/>
                <a:gd name="T67" fmla="*/ 36 h 380"/>
                <a:gd name="T68" fmla="*/ 163 w 549"/>
                <a:gd name="T69" fmla="*/ 55 h 380"/>
                <a:gd name="T70" fmla="*/ 152 w 549"/>
                <a:gd name="T71" fmla="*/ 65 h 380"/>
                <a:gd name="T72" fmla="*/ 142 w 549"/>
                <a:gd name="T73" fmla="*/ 77 h 380"/>
                <a:gd name="T74" fmla="*/ 132 w 549"/>
                <a:gd name="T75" fmla="*/ 88 h 380"/>
                <a:gd name="T76" fmla="*/ 122 w 549"/>
                <a:gd name="T77" fmla="*/ 100 h 380"/>
                <a:gd name="T78" fmla="*/ 114 w 549"/>
                <a:gd name="T79" fmla="*/ 113 h 380"/>
                <a:gd name="T80" fmla="*/ 107 w 549"/>
                <a:gd name="T81" fmla="*/ 125 h 380"/>
                <a:gd name="T82" fmla="*/ 107 w 549"/>
                <a:gd name="T83" fmla="*/ 125 h 380"/>
                <a:gd name="T84" fmla="*/ 93 w 549"/>
                <a:gd name="T85" fmla="*/ 154 h 380"/>
                <a:gd name="T86" fmla="*/ 79 w 549"/>
                <a:gd name="T87" fmla="*/ 182 h 380"/>
                <a:gd name="T88" fmla="*/ 53 w 549"/>
                <a:gd name="T89" fmla="*/ 242 h 380"/>
                <a:gd name="T90" fmla="*/ 1 w 549"/>
                <a:gd name="T91" fmla="*/ 360 h 380"/>
                <a:gd name="T92" fmla="*/ 1 w 549"/>
                <a:gd name="T93" fmla="*/ 360 h 380"/>
                <a:gd name="T94" fmla="*/ 0 w 549"/>
                <a:gd name="T95" fmla="*/ 364 h 380"/>
                <a:gd name="T96" fmla="*/ 0 w 549"/>
                <a:gd name="T97" fmla="*/ 370 h 380"/>
                <a:gd name="T98" fmla="*/ 0 w 549"/>
                <a:gd name="T99" fmla="*/ 380 h 380"/>
                <a:gd name="T100" fmla="*/ 0 w 549"/>
                <a:gd name="T101" fmla="*/ 380 h 380"/>
                <a:gd name="T102" fmla="*/ 549 w 549"/>
                <a:gd name="T103" fmla="*/ 380 h 380"/>
                <a:gd name="T104" fmla="*/ 549 w 549"/>
                <a:gd name="T105"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9" h="380">
                  <a:moveTo>
                    <a:pt x="549" y="380"/>
                  </a:moveTo>
                  <a:lnTo>
                    <a:pt x="549" y="380"/>
                  </a:lnTo>
                  <a:lnTo>
                    <a:pt x="532" y="334"/>
                  </a:lnTo>
                  <a:lnTo>
                    <a:pt x="515" y="289"/>
                  </a:lnTo>
                  <a:lnTo>
                    <a:pt x="505" y="267"/>
                  </a:lnTo>
                  <a:lnTo>
                    <a:pt x="497" y="246"/>
                  </a:lnTo>
                  <a:lnTo>
                    <a:pt x="487" y="224"/>
                  </a:lnTo>
                  <a:lnTo>
                    <a:pt x="476" y="204"/>
                  </a:lnTo>
                  <a:lnTo>
                    <a:pt x="476" y="204"/>
                  </a:lnTo>
                  <a:lnTo>
                    <a:pt x="451" y="161"/>
                  </a:lnTo>
                  <a:lnTo>
                    <a:pt x="438" y="140"/>
                  </a:lnTo>
                  <a:lnTo>
                    <a:pt x="423" y="120"/>
                  </a:lnTo>
                  <a:lnTo>
                    <a:pt x="409" y="99"/>
                  </a:lnTo>
                  <a:lnTo>
                    <a:pt x="394" y="80"/>
                  </a:lnTo>
                  <a:lnTo>
                    <a:pt x="377" y="60"/>
                  </a:lnTo>
                  <a:lnTo>
                    <a:pt x="361" y="42"/>
                  </a:lnTo>
                  <a:lnTo>
                    <a:pt x="361" y="42"/>
                  </a:lnTo>
                  <a:lnTo>
                    <a:pt x="352" y="33"/>
                  </a:lnTo>
                  <a:lnTo>
                    <a:pt x="341" y="25"/>
                  </a:lnTo>
                  <a:lnTo>
                    <a:pt x="331" y="17"/>
                  </a:lnTo>
                  <a:lnTo>
                    <a:pt x="320" y="11"/>
                  </a:lnTo>
                  <a:lnTo>
                    <a:pt x="310" y="7"/>
                  </a:lnTo>
                  <a:lnTo>
                    <a:pt x="298" y="3"/>
                  </a:lnTo>
                  <a:lnTo>
                    <a:pt x="287" y="1"/>
                  </a:lnTo>
                  <a:lnTo>
                    <a:pt x="276" y="0"/>
                  </a:lnTo>
                  <a:lnTo>
                    <a:pt x="265" y="1"/>
                  </a:lnTo>
                  <a:lnTo>
                    <a:pt x="252" y="2"/>
                  </a:lnTo>
                  <a:lnTo>
                    <a:pt x="241" y="5"/>
                  </a:lnTo>
                  <a:lnTo>
                    <a:pt x="230" y="9"/>
                  </a:lnTo>
                  <a:lnTo>
                    <a:pt x="219" y="14"/>
                  </a:lnTo>
                  <a:lnTo>
                    <a:pt x="207" y="20"/>
                  </a:lnTo>
                  <a:lnTo>
                    <a:pt x="196" y="28"/>
                  </a:lnTo>
                  <a:lnTo>
                    <a:pt x="185" y="36"/>
                  </a:lnTo>
                  <a:lnTo>
                    <a:pt x="185" y="36"/>
                  </a:lnTo>
                  <a:lnTo>
                    <a:pt x="163" y="55"/>
                  </a:lnTo>
                  <a:lnTo>
                    <a:pt x="152" y="65"/>
                  </a:lnTo>
                  <a:lnTo>
                    <a:pt x="142" y="77"/>
                  </a:lnTo>
                  <a:lnTo>
                    <a:pt x="132" y="88"/>
                  </a:lnTo>
                  <a:lnTo>
                    <a:pt x="122" y="100"/>
                  </a:lnTo>
                  <a:lnTo>
                    <a:pt x="114" y="113"/>
                  </a:lnTo>
                  <a:lnTo>
                    <a:pt x="107" y="125"/>
                  </a:lnTo>
                  <a:lnTo>
                    <a:pt x="107" y="125"/>
                  </a:lnTo>
                  <a:lnTo>
                    <a:pt x="93" y="154"/>
                  </a:lnTo>
                  <a:lnTo>
                    <a:pt x="79" y="182"/>
                  </a:lnTo>
                  <a:lnTo>
                    <a:pt x="53" y="242"/>
                  </a:lnTo>
                  <a:lnTo>
                    <a:pt x="1" y="360"/>
                  </a:lnTo>
                  <a:lnTo>
                    <a:pt x="1" y="360"/>
                  </a:lnTo>
                  <a:lnTo>
                    <a:pt x="0" y="364"/>
                  </a:lnTo>
                  <a:lnTo>
                    <a:pt x="0" y="370"/>
                  </a:lnTo>
                  <a:lnTo>
                    <a:pt x="0" y="380"/>
                  </a:lnTo>
                  <a:lnTo>
                    <a:pt x="0" y="380"/>
                  </a:lnTo>
                  <a:lnTo>
                    <a:pt x="549" y="380"/>
                  </a:lnTo>
                  <a:lnTo>
                    <a:pt x="549"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40">
              <a:extLst>
                <a:ext uri="{FF2B5EF4-FFF2-40B4-BE49-F238E27FC236}">
                  <a16:creationId xmlns:a16="http://schemas.microsoft.com/office/drawing/2014/main" id="{41EC8197-A09D-4057-92A0-C7CEDD008EF6}"/>
                </a:ext>
              </a:extLst>
            </p:cNvPr>
            <p:cNvSpPr>
              <a:spLocks/>
            </p:cNvSpPr>
            <p:nvPr/>
          </p:nvSpPr>
          <p:spPr bwMode="auto">
            <a:xfrm>
              <a:off x="1360488" y="2667001"/>
              <a:ext cx="123825" cy="85725"/>
            </a:xfrm>
            <a:custGeom>
              <a:avLst/>
              <a:gdLst>
                <a:gd name="T0" fmla="*/ 0 w 544"/>
                <a:gd name="T1" fmla="*/ 376 h 379"/>
                <a:gd name="T2" fmla="*/ 0 w 544"/>
                <a:gd name="T3" fmla="*/ 376 h 379"/>
                <a:gd name="T4" fmla="*/ 7 w 544"/>
                <a:gd name="T5" fmla="*/ 377 h 379"/>
                <a:gd name="T6" fmla="*/ 15 w 544"/>
                <a:gd name="T7" fmla="*/ 378 h 379"/>
                <a:gd name="T8" fmla="*/ 15 w 544"/>
                <a:gd name="T9" fmla="*/ 378 h 379"/>
                <a:gd name="T10" fmla="*/ 212 w 544"/>
                <a:gd name="T11" fmla="*/ 379 h 379"/>
                <a:gd name="T12" fmla="*/ 312 w 544"/>
                <a:gd name="T13" fmla="*/ 379 h 379"/>
                <a:gd name="T14" fmla="*/ 411 w 544"/>
                <a:gd name="T15" fmla="*/ 378 h 379"/>
                <a:gd name="T16" fmla="*/ 411 w 544"/>
                <a:gd name="T17" fmla="*/ 378 h 379"/>
                <a:gd name="T18" fmla="*/ 416 w 544"/>
                <a:gd name="T19" fmla="*/ 377 h 379"/>
                <a:gd name="T20" fmla="*/ 421 w 544"/>
                <a:gd name="T21" fmla="*/ 375 h 379"/>
                <a:gd name="T22" fmla="*/ 426 w 544"/>
                <a:gd name="T23" fmla="*/ 373 h 379"/>
                <a:gd name="T24" fmla="*/ 431 w 544"/>
                <a:gd name="T25" fmla="*/ 368 h 379"/>
                <a:gd name="T26" fmla="*/ 437 w 544"/>
                <a:gd name="T27" fmla="*/ 364 h 379"/>
                <a:gd name="T28" fmla="*/ 441 w 544"/>
                <a:gd name="T29" fmla="*/ 360 h 379"/>
                <a:gd name="T30" fmla="*/ 444 w 544"/>
                <a:gd name="T31" fmla="*/ 355 h 379"/>
                <a:gd name="T32" fmla="*/ 447 w 544"/>
                <a:gd name="T33" fmla="*/ 351 h 379"/>
                <a:gd name="T34" fmla="*/ 447 w 544"/>
                <a:gd name="T35" fmla="*/ 351 h 379"/>
                <a:gd name="T36" fmla="*/ 465 w 544"/>
                <a:gd name="T37" fmla="*/ 304 h 379"/>
                <a:gd name="T38" fmla="*/ 483 w 544"/>
                <a:gd name="T39" fmla="*/ 256 h 379"/>
                <a:gd name="T40" fmla="*/ 500 w 544"/>
                <a:gd name="T41" fmla="*/ 208 h 379"/>
                <a:gd name="T42" fmla="*/ 514 w 544"/>
                <a:gd name="T43" fmla="*/ 160 h 379"/>
                <a:gd name="T44" fmla="*/ 514 w 544"/>
                <a:gd name="T45" fmla="*/ 160 h 379"/>
                <a:gd name="T46" fmla="*/ 519 w 544"/>
                <a:gd name="T47" fmla="*/ 140 h 379"/>
                <a:gd name="T48" fmla="*/ 524 w 544"/>
                <a:gd name="T49" fmla="*/ 121 h 379"/>
                <a:gd name="T50" fmla="*/ 531 w 544"/>
                <a:gd name="T51" fmla="*/ 81 h 379"/>
                <a:gd name="T52" fmla="*/ 538 w 544"/>
                <a:gd name="T53" fmla="*/ 41 h 379"/>
                <a:gd name="T54" fmla="*/ 544 w 544"/>
                <a:gd name="T55" fmla="*/ 0 h 379"/>
                <a:gd name="T56" fmla="*/ 544 w 544"/>
                <a:gd name="T57" fmla="*/ 0 h 379"/>
                <a:gd name="T58" fmla="*/ 39 w 544"/>
                <a:gd name="T59" fmla="*/ 0 h 379"/>
                <a:gd name="T60" fmla="*/ 39 w 544"/>
                <a:gd name="T61" fmla="*/ 0 h 379"/>
                <a:gd name="T62" fmla="*/ 0 w 544"/>
                <a:gd name="T63" fmla="*/ 376 h 379"/>
                <a:gd name="T64" fmla="*/ 0 w 544"/>
                <a:gd name="T65" fmla="*/ 37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4" h="379">
                  <a:moveTo>
                    <a:pt x="0" y="376"/>
                  </a:moveTo>
                  <a:lnTo>
                    <a:pt x="0" y="376"/>
                  </a:lnTo>
                  <a:lnTo>
                    <a:pt x="7" y="377"/>
                  </a:lnTo>
                  <a:lnTo>
                    <a:pt x="15" y="378"/>
                  </a:lnTo>
                  <a:lnTo>
                    <a:pt x="15" y="378"/>
                  </a:lnTo>
                  <a:lnTo>
                    <a:pt x="212" y="379"/>
                  </a:lnTo>
                  <a:lnTo>
                    <a:pt x="312" y="379"/>
                  </a:lnTo>
                  <a:lnTo>
                    <a:pt x="411" y="378"/>
                  </a:lnTo>
                  <a:lnTo>
                    <a:pt x="411" y="378"/>
                  </a:lnTo>
                  <a:lnTo>
                    <a:pt x="416" y="377"/>
                  </a:lnTo>
                  <a:lnTo>
                    <a:pt x="421" y="375"/>
                  </a:lnTo>
                  <a:lnTo>
                    <a:pt x="426" y="373"/>
                  </a:lnTo>
                  <a:lnTo>
                    <a:pt x="431" y="368"/>
                  </a:lnTo>
                  <a:lnTo>
                    <a:pt x="437" y="364"/>
                  </a:lnTo>
                  <a:lnTo>
                    <a:pt x="441" y="360"/>
                  </a:lnTo>
                  <a:lnTo>
                    <a:pt x="444" y="355"/>
                  </a:lnTo>
                  <a:lnTo>
                    <a:pt x="447" y="351"/>
                  </a:lnTo>
                  <a:lnTo>
                    <a:pt x="447" y="351"/>
                  </a:lnTo>
                  <a:lnTo>
                    <a:pt x="465" y="304"/>
                  </a:lnTo>
                  <a:lnTo>
                    <a:pt x="483" y="256"/>
                  </a:lnTo>
                  <a:lnTo>
                    <a:pt x="500" y="208"/>
                  </a:lnTo>
                  <a:lnTo>
                    <a:pt x="514" y="160"/>
                  </a:lnTo>
                  <a:lnTo>
                    <a:pt x="514" y="160"/>
                  </a:lnTo>
                  <a:lnTo>
                    <a:pt x="519" y="140"/>
                  </a:lnTo>
                  <a:lnTo>
                    <a:pt x="524" y="121"/>
                  </a:lnTo>
                  <a:lnTo>
                    <a:pt x="531" y="81"/>
                  </a:lnTo>
                  <a:lnTo>
                    <a:pt x="538" y="41"/>
                  </a:lnTo>
                  <a:lnTo>
                    <a:pt x="544" y="0"/>
                  </a:lnTo>
                  <a:lnTo>
                    <a:pt x="544" y="0"/>
                  </a:lnTo>
                  <a:lnTo>
                    <a:pt x="39" y="0"/>
                  </a:lnTo>
                  <a:lnTo>
                    <a:pt x="39" y="0"/>
                  </a:lnTo>
                  <a:lnTo>
                    <a:pt x="0" y="376"/>
                  </a:lnTo>
                  <a:lnTo>
                    <a:pt x="0"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41">
              <a:extLst>
                <a:ext uri="{FF2B5EF4-FFF2-40B4-BE49-F238E27FC236}">
                  <a16:creationId xmlns:a16="http://schemas.microsoft.com/office/drawing/2014/main" id="{E41E291E-444B-4FE1-899B-EA56EC988BD7}"/>
                </a:ext>
              </a:extLst>
            </p:cNvPr>
            <p:cNvSpPr>
              <a:spLocks/>
            </p:cNvSpPr>
            <p:nvPr/>
          </p:nvSpPr>
          <p:spPr bwMode="auto">
            <a:xfrm>
              <a:off x="1323976" y="2427288"/>
              <a:ext cx="106363" cy="74613"/>
            </a:xfrm>
            <a:custGeom>
              <a:avLst/>
              <a:gdLst>
                <a:gd name="T0" fmla="*/ 149 w 466"/>
                <a:gd name="T1" fmla="*/ 326 h 327"/>
                <a:gd name="T2" fmla="*/ 149 w 466"/>
                <a:gd name="T3" fmla="*/ 326 h 327"/>
                <a:gd name="T4" fmla="*/ 187 w 466"/>
                <a:gd name="T5" fmla="*/ 327 h 327"/>
                <a:gd name="T6" fmla="*/ 224 w 466"/>
                <a:gd name="T7" fmla="*/ 327 h 327"/>
                <a:gd name="T8" fmla="*/ 299 w 466"/>
                <a:gd name="T9" fmla="*/ 327 h 327"/>
                <a:gd name="T10" fmla="*/ 299 w 466"/>
                <a:gd name="T11" fmla="*/ 327 h 327"/>
                <a:gd name="T12" fmla="*/ 466 w 466"/>
                <a:gd name="T13" fmla="*/ 327 h 327"/>
                <a:gd name="T14" fmla="*/ 466 w 466"/>
                <a:gd name="T15" fmla="*/ 327 h 327"/>
                <a:gd name="T16" fmla="*/ 442 w 466"/>
                <a:gd name="T17" fmla="*/ 298 h 327"/>
                <a:gd name="T18" fmla="*/ 416 w 466"/>
                <a:gd name="T19" fmla="*/ 271 h 327"/>
                <a:gd name="T20" fmla="*/ 390 w 466"/>
                <a:gd name="T21" fmla="*/ 244 h 327"/>
                <a:gd name="T22" fmla="*/ 364 w 466"/>
                <a:gd name="T23" fmla="*/ 218 h 327"/>
                <a:gd name="T24" fmla="*/ 336 w 466"/>
                <a:gd name="T25" fmla="*/ 194 h 327"/>
                <a:gd name="T26" fmla="*/ 309 w 466"/>
                <a:gd name="T27" fmla="*/ 171 h 327"/>
                <a:gd name="T28" fmla="*/ 281 w 466"/>
                <a:gd name="T29" fmla="*/ 149 h 327"/>
                <a:gd name="T30" fmla="*/ 252 w 466"/>
                <a:gd name="T31" fmla="*/ 128 h 327"/>
                <a:gd name="T32" fmla="*/ 223 w 466"/>
                <a:gd name="T33" fmla="*/ 108 h 327"/>
                <a:gd name="T34" fmla="*/ 193 w 466"/>
                <a:gd name="T35" fmla="*/ 89 h 327"/>
                <a:gd name="T36" fmla="*/ 162 w 466"/>
                <a:gd name="T37" fmla="*/ 72 h 327"/>
                <a:gd name="T38" fmla="*/ 132 w 466"/>
                <a:gd name="T39" fmla="*/ 56 h 327"/>
                <a:gd name="T40" fmla="*/ 100 w 466"/>
                <a:gd name="T41" fmla="*/ 40 h 327"/>
                <a:gd name="T42" fmla="*/ 67 w 466"/>
                <a:gd name="T43" fmla="*/ 26 h 327"/>
                <a:gd name="T44" fmla="*/ 34 w 466"/>
                <a:gd name="T45" fmla="*/ 13 h 327"/>
                <a:gd name="T46" fmla="*/ 0 w 466"/>
                <a:gd name="T47" fmla="*/ 0 h 327"/>
                <a:gd name="T48" fmla="*/ 0 w 466"/>
                <a:gd name="T49" fmla="*/ 0 h 327"/>
                <a:gd name="T50" fmla="*/ 58 w 466"/>
                <a:gd name="T51" fmla="*/ 155 h 327"/>
                <a:gd name="T52" fmla="*/ 87 w 466"/>
                <a:gd name="T53" fmla="*/ 231 h 327"/>
                <a:gd name="T54" fmla="*/ 115 w 466"/>
                <a:gd name="T55" fmla="*/ 305 h 327"/>
                <a:gd name="T56" fmla="*/ 115 w 466"/>
                <a:gd name="T57" fmla="*/ 305 h 327"/>
                <a:gd name="T58" fmla="*/ 117 w 466"/>
                <a:gd name="T59" fmla="*/ 309 h 327"/>
                <a:gd name="T60" fmla="*/ 120 w 466"/>
                <a:gd name="T61" fmla="*/ 313 h 327"/>
                <a:gd name="T62" fmla="*/ 124 w 466"/>
                <a:gd name="T63" fmla="*/ 317 h 327"/>
                <a:gd name="T64" fmla="*/ 130 w 466"/>
                <a:gd name="T65" fmla="*/ 320 h 327"/>
                <a:gd name="T66" fmla="*/ 140 w 466"/>
                <a:gd name="T67" fmla="*/ 324 h 327"/>
                <a:gd name="T68" fmla="*/ 145 w 466"/>
                <a:gd name="T69" fmla="*/ 326 h 327"/>
                <a:gd name="T70" fmla="*/ 149 w 466"/>
                <a:gd name="T71" fmla="*/ 326 h 327"/>
                <a:gd name="T72" fmla="*/ 149 w 466"/>
                <a:gd name="T73" fmla="*/ 32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6" h="327">
                  <a:moveTo>
                    <a:pt x="149" y="326"/>
                  </a:moveTo>
                  <a:lnTo>
                    <a:pt x="149" y="326"/>
                  </a:lnTo>
                  <a:lnTo>
                    <a:pt x="187" y="327"/>
                  </a:lnTo>
                  <a:lnTo>
                    <a:pt x="224" y="327"/>
                  </a:lnTo>
                  <a:lnTo>
                    <a:pt x="299" y="327"/>
                  </a:lnTo>
                  <a:lnTo>
                    <a:pt x="299" y="327"/>
                  </a:lnTo>
                  <a:lnTo>
                    <a:pt x="466" y="327"/>
                  </a:lnTo>
                  <a:lnTo>
                    <a:pt x="466" y="327"/>
                  </a:lnTo>
                  <a:lnTo>
                    <a:pt x="442" y="298"/>
                  </a:lnTo>
                  <a:lnTo>
                    <a:pt x="416" y="271"/>
                  </a:lnTo>
                  <a:lnTo>
                    <a:pt x="390" y="244"/>
                  </a:lnTo>
                  <a:lnTo>
                    <a:pt x="364" y="218"/>
                  </a:lnTo>
                  <a:lnTo>
                    <a:pt x="336" y="194"/>
                  </a:lnTo>
                  <a:lnTo>
                    <a:pt x="309" y="171"/>
                  </a:lnTo>
                  <a:lnTo>
                    <a:pt x="281" y="149"/>
                  </a:lnTo>
                  <a:lnTo>
                    <a:pt x="252" y="128"/>
                  </a:lnTo>
                  <a:lnTo>
                    <a:pt x="223" y="108"/>
                  </a:lnTo>
                  <a:lnTo>
                    <a:pt x="193" y="89"/>
                  </a:lnTo>
                  <a:lnTo>
                    <a:pt x="162" y="72"/>
                  </a:lnTo>
                  <a:lnTo>
                    <a:pt x="132" y="56"/>
                  </a:lnTo>
                  <a:lnTo>
                    <a:pt x="100" y="40"/>
                  </a:lnTo>
                  <a:lnTo>
                    <a:pt x="67" y="26"/>
                  </a:lnTo>
                  <a:lnTo>
                    <a:pt x="34" y="13"/>
                  </a:lnTo>
                  <a:lnTo>
                    <a:pt x="0" y="0"/>
                  </a:lnTo>
                  <a:lnTo>
                    <a:pt x="0" y="0"/>
                  </a:lnTo>
                  <a:lnTo>
                    <a:pt x="58" y="155"/>
                  </a:lnTo>
                  <a:lnTo>
                    <a:pt x="87" y="231"/>
                  </a:lnTo>
                  <a:lnTo>
                    <a:pt x="115" y="305"/>
                  </a:lnTo>
                  <a:lnTo>
                    <a:pt x="115" y="305"/>
                  </a:lnTo>
                  <a:lnTo>
                    <a:pt x="117" y="309"/>
                  </a:lnTo>
                  <a:lnTo>
                    <a:pt x="120" y="313"/>
                  </a:lnTo>
                  <a:lnTo>
                    <a:pt x="124" y="317"/>
                  </a:lnTo>
                  <a:lnTo>
                    <a:pt x="130" y="320"/>
                  </a:lnTo>
                  <a:lnTo>
                    <a:pt x="140" y="324"/>
                  </a:lnTo>
                  <a:lnTo>
                    <a:pt x="145" y="326"/>
                  </a:lnTo>
                  <a:lnTo>
                    <a:pt x="149" y="326"/>
                  </a:lnTo>
                  <a:lnTo>
                    <a:pt x="149"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2">
              <a:extLst>
                <a:ext uri="{FF2B5EF4-FFF2-40B4-BE49-F238E27FC236}">
                  <a16:creationId xmlns:a16="http://schemas.microsoft.com/office/drawing/2014/main" id="{417C9A63-061A-436F-BF62-66A0D82B6889}"/>
                </a:ext>
              </a:extLst>
            </p:cNvPr>
            <p:cNvSpPr>
              <a:spLocks/>
            </p:cNvSpPr>
            <p:nvPr/>
          </p:nvSpPr>
          <p:spPr bwMode="auto">
            <a:xfrm>
              <a:off x="1166813" y="2538413"/>
              <a:ext cx="165100" cy="90488"/>
            </a:xfrm>
            <a:custGeom>
              <a:avLst/>
              <a:gdLst>
                <a:gd name="T0" fmla="*/ 16 w 730"/>
                <a:gd name="T1" fmla="*/ 189 h 397"/>
                <a:gd name="T2" fmla="*/ 16 w 730"/>
                <a:gd name="T3" fmla="*/ 189 h 397"/>
                <a:gd name="T4" fmla="*/ 11 w 730"/>
                <a:gd name="T5" fmla="*/ 241 h 397"/>
                <a:gd name="T6" fmla="*/ 8 w 730"/>
                <a:gd name="T7" fmla="*/ 292 h 397"/>
                <a:gd name="T8" fmla="*/ 0 w 730"/>
                <a:gd name="T9" fmla="*/ 397 h 397"/>
                <a:gd name="T10" fmla="*/ 0 w 730"/>
                <a:gd name="T11" fmla="*/ 397 h 397"/>
                <a:gd name="T12" fmla="*/ 730 w 730"/>
                <a:gd name="T13" fmla="*/ 397 h 397"/>
                <a:gd name="T14" fmla="*/ 730 w 730"/>
                <a:gd name="T15" fmla="*/ 397 h 397"/>
                <a:gd name="T16" fmla="*/ 684 w 730"/>
                <a:gd name="T17" fmla="*/ 0 h 397"/>
                <a:gd name="T18" fmla="*/ 684 w 730"/>
                <a:gd name="T19" fmla="*/ 0 h 397"/>
                <a:gd name="T20" fmla="*/ 372 w 730"/>
                <a:gd name="T21" fmla="*/ 0 h 397"/>
                <a:gd name="T22" fmla="*/ 219 w 730"/>
                <a:gd name="T23" fmla="*/ 0 h 397"/>
                <a:gd name="T24" fmla="*/ 66 w 730"/>
                <a:gd name="T25" fmla="*/ 1 h 397"/>
                <a:gd name="T26" fmla="*/ 66 w 730"/>
                <a:gd name="T27" fmla="*/ 1 h 397"/>
                <a:gd name="T28" fmla="*/ 63 w 730"/>
                <a:gd name="T29" fmla="*/ 2 h 397"/>
                <a:gd name="T30" fmla="*/ 59 w 730"/>
                <a:gd name="T31" fmla="*/ 4 h 397"/>
                <a:gd name="T32" fmla="*/ 55 w 730"/>
                <a:gd name="T33" fmla="*/ 7 h 397"/>
                <a:gd name="T34" fmla="*/ 51 w 730"/>
                <a:gd name="T35" fmla="*/ 11 h 397"/>
                <a:gd name="T36" fmla="*/ 43 w 730"/>
                <a:gd name="T37" fmla="*/ 20 h 397"/>
                <a:gd name="T38" fmla="*/ 41 w 730"/>
                <a:gd name="T39" fmla="*/ 25 h 397"/>
                <a:gd name="T40" fmla="*/ 40 w 730"/>
                <a:gd name="T41" fmla="*/ 29 h 397"/>
                <a:gd name="T42" fmla="*/ 40 w 730"/>
                <a:gd name="T43" fmla="*/ 29 h 397"/>
                <a:gd name="T44" fmla="*/ 32 w 730"/>
                <a:gd name="T45" fmla="*/ 69 h 397"/>
                <a:gd name="T46" fmla="*/ 26 w 730"/>
                <a:gd name="T47" fmla="*/ 109 h 397"/>
                <a:gd name="T48" fmla="*/ 20 w 730"/>
                <a:gd name="T49" fmla="*/ 149 h 397"/>
                <a:gd name="T50" fmla="*/ 16 w 730"/>
                <a:gd name="T51" fmla="*/ 189 h 397"/>
                <a:gd name="T52" fmla="*/ 16 w 730"/>
                <a:gd name="T53" fmla="*/ 18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30" h="397">
                  <a:moveTo>
                    <a:pt x="16" y="189"/>
                  </a:moveTo>
                  <a:lnTo>
                    <a:pt x="16" y="189"/>
                  </a:lnTo>
                  <a:lnTo>
                    <a:pt x="11" y="241"/>
                  </a:lnTo>
                  <a:lnTo>
                    <a:pt x="8" y="292"/>
                  </a:lnTo>
                  <a:lnTo>
                    <a:pt x="0" y="397"/>
                  </a:lnTo>
                  <a:lnTo>
                    <a:pt x="0" y="397"/>
                  </a:lnTo>
                  <a:lnTo>
                    <a:pt x="730" y="397"/>
                  </a:lnTo>
                  <a:lnTo>
                    <a:pt x="730" y="397"/>
                  </a:lnTo>
                  <a:lnTo>
                    <a:pt x="684" y="0"/>
                  </a:lnTo>
                  <a:lnTo>
                    <a:pt x="684" y="0"/>
                  </a:lnTo>
                  <a:lnTo>
                    <a:pt x="372" y="0"/>
                  </a:lnTo>
                  <a:lnTo>
                    <a:pt x="219" y="0"/>
                  </a:lnTo>
                  <a:lnTo>
                    <a:pt x="66" y="1"/>
                  </a:lnTo>
                  <a:lnTo>
                    <a:pt x="66" y="1"/>
                  </a:lnTo>
                  <a:lnTo>
                    <a:pt x="63" y="2"/>
                  </a:lnTo>
                  <a:lnTo>
                    <a:pt x="59" y="4"/>
                  </a:lnTo>
                  <a:lnTo>
                    <a:pt x="55" y="7"/>
                  </a:lnTo>
                  <a:lnTo>
                    <a:pt x="51" y="11"/>
                  </a:lnTo>
                  <a:lnTo>
                    <a:pt x="43" y="20"/>
                  </a:lnTo>
                  <a:lnTo>
                    <a:pt x="41" y="25"/>
                  </a:lnTo>
                  <a:lnTo>
                    <a:pt x="40" y="29"/>
                  </a:lnTo>
                  <a:lnTo>
                    <a:pt x="40" y="29"/>
                  </a:lnTo>
                  <a:lnTo>
                    <a:pt x="32" y="69"/>
                  </a:lnTo>
                  <a:lnTo>
                    <a:pt x="26" y="109"/>
                  </a:lnTo>
                  <a:lnTo>
                    <a:pt x="20" y="149"/>
                  </a:lnTo>
                  <a:lnTo>
                    <a:pt x="16" y="189"/>
                  </a:lnTo>
                  <a:lnTo>
                    <a:pt x="16"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3">
              <a:extLst>
                <a:ext uri="{FF2B5EF4-FFF2-40B4-BE49-F238E27FC236}">
                  <a16:creationId xmlns:a16="http://schemas.microsoft.com/office/drawing/2014/main" id="{04690E18-B0CF-4787-9746-B5D2CF19A136}"/>
                </a:ext>
              </a:extLst>
            </p:cNvPr>
            <p:cNvSpPr>
              <a:spLocks/>
            </p:cNvSpPr>
            <p:nvPr/>
          </p:nvSpPr>
          <p:spPr bwMode="auto">
            <a:xfrm>
              <a:off x="1065213" y="2789238"/>
              <a:ext cx="109538" cy="79375"/>
            </a:xfrm>
            <a:custGeom>
              <a:avLst/>
              <a:gdLst>
                <a:gd name="T0" fmla="*/ 323 w 479"/>
                <a:gd name="T1" fmla="*/ 1 h 347"/>
                <a:gd name="T2" fmla="*/ 323 w 479"/>
                <a:gd name="T3" fmla="*/ 1 h 347"/>
                <a:gd name="T4" fmla="*/ 267 w 479"/>
                <a:gd name="T5" fmla="*/ 0 h 347"/>
                <a:gd name="T6" fmla="*/ 212 w 479"/>
                <a:gd name="T7" fmla="*/ 0 h 347"/>
                <a:gd name="T8" fmla="*/ 101 w 479"/>
                <a:gd name="T9" fmla="*/ 0 h 347"/>
                <a:gd name="T10" fmla="*/ 101 w 479"/>
                <a:gd name="T11" fmla="*/ 0 h 347"/>
                <a:gd name="T12" fmla="*/ 0 w 479"/>
                <a:gd name="T13" fmla="*/ 0 h 347"/>
                <a:gd name="T14" fmla="*/ 0 w 479"/>
                <a:gd name="T15" fmla="*/ 0 h 347"/>
                <a:gd name="T16" fmla="*/ 26 w 479"/>
                <a:gd name="T17" fmla="*/ 31 h 347"/>
                <a:gd name="T18" fmla="*/ 51 w 479"/>
                <a:gd name="T19" fmla="*/ 61 h 347"/>
                <a:gd name="T20" fmla="*/ 78 w 479"/>
                <a:gd name="T21" fmla="*/ 90 h 347"/>
                <a:gd name="T22" fmla="*/ 104 w 479"/>
                <a:gd name="T23" fmla="*/ 117 h 347"/>
                <a:gd name="T24" fmla="*/ 132 w 479"/>
                <a:gd name="T25" fmla="*/ 143 h 347"/>
                <a:gd name="T26" fmla="*/ 161 w 479"/>
                <a:gd name="T27" fmla="*/ 167 h 347"/>
                <a:gd name="T28" fmla="*/ 189 w 479"/>
                <a:gd name="T29" fmla="*/ 190 h 347"/>
                <a:gd name="T30" fmla="*/ 219 w 479"/>
                <a:gd name="T31" fmla="*/ 212 h 347"/>
                <a:gd name="T32" fmla="*/ 249 w 479"/>
                <a:gd name="T33" fmla="*/ 233 h 347"/>
                <a:gd name="T34" fmla="*/ 280 w 479"/>
                <a:gd name="T35" fmla="*/ 252 h 347"/>
                <a:gd name="T36" fmla="*/ 311 w 479"/>
                <a:gd name="T37" fmla="*/ 271 h 347"/>
                <a:gd name="T38" fmla="*/ 344 w 479"/>
                <a:gd name="T39" fmla="*/ 288 h 347"/>
                <a:gd name="T40" fmla="*/ 377 w 479"/>
                <a:gd name="T41" fmla="*/ 305 h 347"/>
                <a:gd name="T42" fmla="*/ 410 w 479"/>
                <a:gd name="T43" fmla="*/ 320 h 347"/>
                <a:gd name="T44" fmla="*/ 444 w 479"/>
                <a:gd name="T45" fmla="*/ 333 h 347"/>
                <a:gd name="T46" fmla="*/ 479 w 479"/>
                <a:gd name="T47" fmla="*/ 347 h 347"/>
                <a:gd name="T48" fmla="*/ 479 w 479"/>
                <a:gd name="T49" fmla="*/ 347 h 347"/>
                <a:gd name="T50" fmla="*/ 419 w 479"/>
                <a:gd name="T51" fmla="*/ 183 h 347"/>
                <a:gd name="T52" fmla="*/ 389 w 479"/>
                <a:gd name="T53" fmla="*/ 102 h 347"/>
                <a:gd name="T54" fmla="*/ 357 w 479"/>
                <a:gd name="T55" fmla="*/ 21 h 347"/>
                <a:gd name="T56" fmla="*/ 357 w 479"/>
                <a:gd name="T57" fmla="*/ 21 h 347"/>
                <a:gd name="T58" fmla="*/ 355 w 479"/>
                <a:gd name="T59" fmla="*/ 17 h 347"/>
                <a:gd name="T60" fmla="*/ 352 w 479"/>
                <a:gd name="T61" fmla="*/ 14 h 347"/>
                <a:gd name="T62" fmla="*/ 348 w 479"/>
                <a:gd name="T63" fmla="*/ 11 h 347"/>
                <a:gd name="T64" fmla="*/ 343 w 479"/>
                <a:gd name="T65" fmla="*/ 8 h 347"/>
                <a:gd name="T66" fmla="*/ 333 w 479"/>
                <a:gd name="T67" fmla="*/ 4 h 347"/>
                <a:gd name="T68" fmla="*/ 328 w 479"/>
                <a:gd name="T69" fmla="*/ 3 h 347"/>
                <a:gd name="T70" fmla="*/ 323 w 479"/>
                <a:gd name="T71" fmla="*/ 1 h 347"/>
                <a:gd name="T72" fmla="*/ 323 w 479"/>
                <a:gd name="T73" fmla="*/ 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9" h="347">
                  <a:moveTo>
                    <a:pt x="323" y="1"/>
                  </a:moveTo>
                  <a:lnTo>
                    <a:pt x="323" y="1"/>
                  </a:lnTo>
                  <a:lnTo>
                    <a:pt x="267" y="0"/>
                  </a:lnTo>
                  <a:lnTo>
                    <a:pt x="212" y="0"/>
                  </a:lnTo>
                  <a:lnTo>
                    <a:pt x="101" y="0"/>
                  </a:lnTo>
                  <a:lnTo>
                    <a:pt x="101" y="0"/>
                  </a:lnTo>
                  <a:lnTo>
                    <a:pt x="0" y="0"/>
                  </a:lnTo>
                  <a:lnTo>
                    <a:pt x="0" y="0"/>
                  </a:lnTo>
                  <a:lnTo>
                    <a:pt x="26" y="31"/>
                  </a:lnTo>
                  <a:lnTo>
                    <a:pt x="51" y="61"/>
                  </a:lnTo>
                  <a:lnTo>
                    <a:pt x="78" y="90"/>
                  </a:lnTo>
                  <a:lnTo>
                    <a:pt x="104" y="117"/>
                  </a:lnTo>
                  <a:lnTo>
                    <a:pt x="132" y="143"/>
                  </a:lnTo>
                  <a:lnTo>
                    <a:pt x="161" y="167"/>
                  </a:lnTo>
                  <a:lnTo>
                    <a:pt x="189" y="190"/>
                  </a:lnTo>
                  <a:lnTo>
                    <a:pt x="219" y="212"/>
                  </a:lnTo>
                  <a:lnTo>
                    <a:pt x="249" y="233"/>
                  </a:lnTo>
                  <a:lnTo>
                    <a:pt x="280" y="252"/>
                  </a:lnTo>
                  <a:lnTo>
                    <a:pt x="311" y="271"/>
                  </a:lnTo>
                  <a:lnTo>
                    <a:pt x="344" y="288"/>
                  </a:lnTo>
                  <a:lnTo>
                    <a:pt x="377" y="305"/>
                  </a:lnTo>
                  <a:lnTo>
                    <a:pt x="410" y="320"/>
                  </a:lnTo>
                  <a:lnTo>
                    <a:pt x="444" y="333"/>
                  </a:lnTo>
                  <a:lnTo>
                    <a:pt x="479" y="347"/>
                  </a:lnTo>
                  <a:lnTo>
                    <a:pt x="479" y="347"/>
                  </a:lnTo>
                  <a:lnTo>
                    <a:pt x="419" y="183"/>
                  </a:lnTo>
                  <a:lnTo>
                    <a:pt x="389" y="102"/>
                  </a:lnTo>
                  <a:lnTo>
                    <a:pt x="357" y="21"/>
                  </a:lnTo>
                  <a:lnTo>
                    <a:pt x="357" y="21"/>
                  </a:lnTo>
                  <a:lnTo>
                    <a:pt x="355" y="17"/>
                  </a:lnTo>
                  <a:lnTo>
                    <a:pt x="352" y="14"/>
                  </a:lnTo>
                  <a:lnTo>
                    <a:pt x="348" y="11"/>
                  </a:lnTo>
                  <a:lnTo>
                    <a:pt x="343" y="8"/>
                  </a:lnTo>
                  <a:lnTo>
                    <a:pt x="333" y="4"/>
                  </a:lnTo>
                  <a:lnTo>
                    <a:pt x="328" y="3"/>
                  </a:lnTo>
                  <a:lnTo>
                    <a:pt x="323" y="1"/>
                  </a:lnTo>
                  <a:lnTo>
                    <a:pt x="32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44">
              <a:extLst>
                <a:ext uri="{FF2B5EF4-FFF2-40B4-BE49-F238E27FC236}">
                  <a16:creationId xmlns:a16="http://schemas.microsoft.com/office/drawing/2014/main" id="{F111907D-C699-4F84-8A4A-E346EAEBEF88}"/>
                </a:ext>
              </a:extLst>
            </p:cNvPr>
            <p:cNvSpPr>
              <a:spLocks/>
            </p:cNvSpPr>
            <p:nvPr/>
          </p:nvSpPr>
          <p:spPr bwMode="auto">
            <a:xfrm>
              <a:off x="1165226" y="2667001"/>
              <a:ext cx="166688" cy="85725"/>
            </a:xfrm>
            <a:custGeom>
              <a:avLst/>
              <a:gdLst>
                <a:gd name="T0" fmla="*/ 734 w 734"/>
                <a:gd name="T1" fmla="*/ 0 h 376"/>
                <a:gd name="T2" fmla="*/ 734 w 734"/>
                <a:gd name="T3" fmla="*/ 0 h 376"/>
                <a:gd name="T4" fmla="*/ 0 w 734"/>
                <a:gd name="T5" fmla="*/ 0 h 376"/>
                <a:gd name="T6" fmla="*/ 0 w 734"/>
                <a:gd name="T7" fmla="*/ 0 h 376"/>
                <a:gd name="T8" fmla="*/ 41 w 734"/>
                <a:gd name="T9" fmla="*/ 376 h 376"/>
                <a:gd name="T10" fmla="*/ 41 w 734"/>
                <a:gd name="T11" fmla="*/ 376 h 376"/>
                <a:gd name="T12" fmla="*/ 697 w 734"/>
                <a:gd name="T13" fmla="*/ 376 h 376"/>
                <a:gd name="T14" fmla="*/ 697 w 734"/>
                <a:gd name="T15" fmla="*/ 376 h 376"/>
                <a:gd name="T16" fmla="*/ 734 w 734"/>
                <a:gd name="T17" fmla="*/ 0 h 376"/>
                <a:gd name="T18" fmla="*/ 734 w 734"/>
                <a:gd name="T19"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4" h="376">
                  <a:moveTo>
                    <a:pt x="734" y="0"/>
                  </a:moveTo>
                  <a:lnTo>
                    <a:pt x="734" y="0"/>
                  </a:lnTo>
                  <a:lnTo>
                    <a:pt x="0" y="0"/>
                  </a:lnTo>
                  <a:lnTo>
                    <a:pt x="0" y="0"/>
                  </a:lnTo>
                  <a:lnTo>
                    <a:pt x="41" y="376"/>
                  </a:lnTo>
                  <a:lnTo>
                    <a:pt x="41" y="376"/>
                  </a:lnTo>
                  <a:lnTo>
                    <a:pt x="697" y="376"/>
                  </a:lnTo>
                  <a:lnTo>
                    <a:pt x="697" y="376"/>
                  </a:lnTo>
                  <a:lnTo>
                    <a:pt x="734" y="0"/>
                  </a:lnTo>
                  <a:lnTo>
                    <a:pt x="7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45">
              <a:extLst>
                <a:ext uri="{FF2B5EF4-FFF2-40B4-BE49-F238E27FC236}">
                  <a16:creationId xmlns:a16="http://schemas.microsoft.com/office/drawing/2014/main" id="{7AA81D99-9A4B-489F-B362-5C642DC53512}"/>
                </a:ext>
              </a:extLst>
            </p:cNvPr>
            <p:cNvSpPr>
              <a:spLocks/>
            </p:cNvSpPr>
            <p:nvPr/>
          </p:nvSpPr>
          <p:spPr bwMode="auto">
            <a:xfrm>
              <a:off x="1185863" y="2790826"/>
              <a:ext cx="127000" cy="90488"/>
            </a:xfrm>
            <a:custGeom>
              <a:avLst/>
              <a:gdLst>
                <a:gd name="T0" fmla="*/ 174 w 560"/>
                <a:gd name="T1" fmla="*/ 343 h 398"/>
                <a:gd name="T2" fmla="*/ 174 w 560"/>
                <a:gd name="T3" fmla="*/ 343 h 398"/>
                <a:gd name="T4" fmla="*/ 187 w 560"/>
                <a:gd name="T5" fmla="*/ 354 h 398"/>
                <a:gd name="T6" fmla="*/ 198 w 560"/>
                <a:gd name="T7" fmla="*/ 364 h 398"/>
                <a:gd name="T8" fmla="*/ 210 w 560"/>
                <a:gd name="T9" fmla="*/ 373 h 398"/>
                <a:gd name="T10" fmla="*/ 222 w 560"/>
                <a:gd name="T11" fmla="*/ 381 h 398"/>
                <a:gd name="T12" fmla="*/ 234 w 560"/>
                <a:gd name="T13" fmla="*/ 388 h 398"/>
                <a:gd name="T14" fmla="*/ 246 w 560"/>
                <a:gd name="T15" fmla="*/ 392 h 398"/>
                <a:gd name="T16" fmla="*/ 258 w 560"/>
                <a:gd name="T17" fmla="*/ 396 h 398"/>
                <a:gd name="T18" fmla="*/ 270 w 560"/>
                <a:gd name="T19" fmla="*/ 398 h 398"/>
                <a:gd name="T20" fmla="*/ 282 w 560"/>
                <a:gd name="T21" fmla="*/ 398 h 398"/>
                <a:gd name="T22" fmla="*/ 294 w 560"/>
                <a:gd name="T23" fmla="*/ 398 h 398"/>
                <a:gd name="T24" fmla="*/ 307 w 560"/>
                <a:gd name="T25" fmla="*/ 396 h 398"/>
                <a:gd name="T26" fmla="*/ 319 w 560"/>
                <a:gd name="T27" fmla="*/ 392 h 398"/>
                <a:gd name="T28" fmla="*/ 331 w 560"/>
                <a:gd name="T29" fmla="*/ 387 h 398"/>
                <a:gd name="T30" fmla="*/ 343 w 560"/>
                <a:gd name="T31" fmla="*/ 380 h 398"/>
                <a:gd name="T32" fmla="*/ 355 w 560"/>
                <a:gd name="T33" fmla="*/ 373 h 398"/>
                <a:gd name="T34" fmla="*/ 367 w 560"/>
                <a:gd name="T35" fmla="*/ 364 h 398"/>
                <a:gd name="T36" fmla="*/ 367 w 560"/>
                <a:gd name="T37" fmla="*/ 364 h 398"/>
                <a:gd name="T38" fmla="*/ 389 w 560"/>
                <a:gd name="T39" fmla="*/ 346 h 398"/>
                <a:gd name="T40" fmla="*/ 400 w 560"/>
                <a:gd name="T41" fmla="*/ 335 h 398"/>
                <a:gd name="T42" fmla="*/ 410 w 560"/>
                <a:gd name="T43" fmla="*/ 325 h 398"/>
                <a:gd name="T44" fmla="*/ 419 w 560"/>
                <a:gd name="T45" fmla="*/ 314 h 398"/>
                <a:gd name="T46" fmla="*/ 428 w 560"/>
                <a:gd name="T47" fmla="*/ 303 h 398"/>
                <a:gd name="T48" fmla="*/ 437 w 560"/>
                <a:gd name="T49" fmla="*/ 291 h 398"/>
                <a:gd name="T50" fmla="*/ 443 w 560"/>
                <a:gd name="T51" fmla="*/ 279 h 398"/>
                <a:gd name="T52" fmla="*/ 443 w 560"/>
                <a:gd name="T53" fmla="*/ 279 h 398"/>
                <a:gd name="T54" fmla="*/ 458 w 560"/>
                <a:gd name="T55" fmla="*/ 248 h 398"/>
                <a:gd name="T56" fmla="*/ 473 w 560"/>
                <a:gd name="T57" fmla="*/ 218 h 398"/>
                <a:gd name="T58" fmla="*/ 502 w 560"/>
                <a:gd name="T59" fmla="*/ 154 h 398"/>
                <a:gd name="T60" fmla="*/ 556 w 560"/>
                <a:gd name="T61" fmla="*/ 28 h 398"/>
                <a:gd name="T62" fmla="*/ 556 w 560"/>
                <a:gd name="T63" fmla="*/ 28 h 398"/>
                <a:gd name="T64" fmla="*/ 558 w 560"/>
                <a:gd name="T65" fmla="*/ 22 h 398"/>
                <a:gd name="T66" fmla="*/ 559 w 560"/>
                <a:gd name="T67" fmla="*/ 15 h 398"/>
                <a:gd name="T68" fmla="*/ 560 w 560"/>
                <a:gd name="T69" fmla="*/ 0 h 398"/>
                <a:gd name="T70" fmla="*/ 560 w 560"/>
                <a:gd name="T71" fmla="*/ 0 h 398"/>
                <a:gd name="T72" fmla="*/ 0 w 560"/>
                <a:gd name="T73" fmla="*/ 0 h 398"/>
                <a:gd name="T74" fmla="*/ 0 w 560"/>
                <a:gd name="T75" fmla="*/ 0 h 398"/>
                <a:gd name="T76" fmla="*/ 16 w 560"/>
                <a:gd name="T77" fmla="*/ 47 h 398"/>
                <a:gd name="T78" fmla="*/ 32 w 560"/>
                <a:gd name="T79" fmla="*/ 94 h 398"/>
                <a:gd name="T80" fmla="*/ 50 w 560"/>
                <a:gd name="T81" fmla="*/ 139 h 398"/>
                <a:gd name="T82" fmla="*/ 60 w 560"/>
                <a:gd name="T83" fmla="*/ 161 h 398"/>
                <a:gd name="T84" fmla="*/ 69 w 560"/>
                <a:gd name="T85" fmla="*/ 183 h 398"/>
                <a:gd name="T86" fmla="*/ 79 w 560"/>
                <a:gd name="T87" fmla="*/ 204 h 398"/>
                <a:gd name="T88" fmla="*/ 90 w 560"/>
                <a:gd name="T89" fmla="*/ 226 h 398"/>
                <a:gd name="T90" fmla="*/ 103 w 560"/>
                <a:gd name="T91" fmla="*/ 246 h 398"/>
                <a:gd name="T92" fmla="*/ 115 w 560"/>
                <a:gd name="T93" fmla="*/ 267 h 398"/>
                <a:gd name="T94" fmla="*/ 128 w 560"/>
                <a:gd name="T95" fmla="*/ 286 h 398"/>
                <a:gd name="T96" fmla="*/ 143 w 560"/>
                <a:gd name="T97" fmla="*/ 306 h 398"/>
                <a:gd name="T98" fmla="*/ 158 w 560"/>
                <a:gd name="T99" fmla="*/ 324 h 398"/>
                <a:gd name="T100" fmla="*/ 174 w 560"/>
                <a:gd name="T101" fmla="*/ 343 h 398"/>
                <a:gd name="T102" fmla="*/ 174 w 560"/>
                <a:gd name="T103" fmla="*/ 343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0" h="398">
                  <a:moveTo>
                    <a:pt x="174" y="343"/>
                  </a:moveTo>
                  <a:lnTo>
                    <a:pt x="174" y="343"/>
                  </a:lnTo>
                  <a:lnTo>
                    <a:pt x="187" y="354"/>
                  </a:lnTo>
                  <a:lnTo>
                    <a:pt x="198" y="364"/>
                  </a:lnTo>
                  <a:lnTo>
                    <a:pt x="210" y="373"/>
                  </a:lnTo>
                  <a:lnTo>
                    <a:pt x="222" y="381"/>
                  </a:lnTo>
                  <a:lnTo>
                    <a:pt x="234" y="388"/>
                  </a:lnTo>
                  <a:lnTo>
                    <a:pt x="246" y="392"/>
                  </a:lnTo>
                  <a:lnTo>
                    <a:pt x="258" y="396"/>
                  </a:lnTo>
                  <a:lnTo>
                    <a:pt x="270" y="398"/>
                  </a:lnTo>
                  <a:lnTo>
                    <a:pt x="282" y="398"/>
                  </a:lnTo>
                  <a:lnTo>
                    <a:pt x="294" y="398"/>
                  </a:lnTo>
                  <a:lnTo>
                    <a:pt x="307" y="396"/>
                  </a:lnTo>
                  <a:lnTo>
                    <a:pt x="319" y="392"/>
                  </a:lnTo>
                  <a:lnTo>
                    <a:pt x="331" y="387"/>
                  </a:lnTo>
                  <a:lnTo>
                    <a:pt x="343" y="380"/>
                  </a:lnTo>
                  <a:lnTo>
                    <a:pt x="355" y="373"/>
                  </a:lnTo>
                  <a:lnTo>
                    <a:pt x="367" y="364"/>
                  </a:lnTo>
                  <a:lnTo>
                    <a:pt x="367" y="364"/>
                  </a:lnTo>
                  <a:lnTo>
                    <a:pt x="389" y="346"/>
                  </a:lnTo>
                  <a:lnTo>
                    <a:pt x="400" y="335"/>
                  </a:lnTo>
                  <a:lnTo>
                    <a:pt x="410" y="325"/>
                  </a:lnTo>
                  <a:lnTo>
                    <a:pt x="419" y="314"/>
                  </a:lnTo>
                  <a:lnTo>
                    <a:pt x="428" y="303"/>
                  </a:lnTo>
                  <a:lnTo>
                    <a:pt x="437" y="291"/>
                  </a:lnTo>
                  <a:lnTo>
                    <a:pt x="443" y="279"/>
                  </a:lnTo>
                  <a:lnTo>
                    <a:pt x="443" y="279"/>
                  </a:lnTo>
                  <a:lnTo>
                    <a:pt x="458" y="248"/>
                  </a:lnTo>
                  <a:lnTo>
                    <a:pt x="473" y="218"/>
                  </a:lnTo>
                  <a:lnTo>
                    <a:pt x="502" y="154"/>
                  </a:lnTo>
                  <a:lnTo>
                    <a:pt x="556" y="28"/>
                  </a:lnTo>
                  <a:lnTo>
                    <a:pt x="556" y="28"/>
                  </a:lnTo>
                  <a:lnTo>
                    <a:pt x="558" y="22"/>
                  </a:lnTo>
                  <a:lnTo>
                    <a:pt x="559" y="15"/>
                  </a:lnTo>
                  <a:lnTo>
                    <a:pt x="560" y="0"/>
                  </a:lnTo>
                  <a:lnTo>
                    <a:pt x="560" y="0"/>
                  </a:lnTo>
                  <a:lnTo>
                    <a:pt x="0" y="0"/>
                  </a:lnTo>
                  <a:lnTo>
                    <a:pt x="0" y="0"/>
                  </a:lnTo>
                  <a:lnTo>
                    <a:pt x="16" y="47"/>
                  </a:lnTo>
                  <a:lnTo>
                    <a:pt x="32" y="94"/>
                  </a:lnTo>
                  <a:lnTo>
                    <a:pt x="50" y="139"/>
                  </a:lnTo>
                  <a:lnTo>
                    <a:pt x="60" y="161"/>
                  </a:lnTo>
                  <a:lnTo>
                    <a:pt x="69" y="183"/>
                  </a:lnTo>
                  <a:lnTo>
                    <a:pt x="79" y="204"/>
                  </a:lnTo>
                  <a:lnTo>
                    <a:pt x="90" y="226"/>
                  </a:lnTo>
                  <a:lnTo>
                    <a:pt x="103" y="246"/>
                  </a:lnTo>
                  <a:lnTo>
                    <a:pt x="115" y="267"/>
                  </a:lnTo>
                  <a:lnTo>
                    <a:pt x="128" y="286"/>
                  </a:lnTo>
                  <a:lnTo>
                    <a:pt x="143" y="306"/>
                  </a:lnTo>
                  <a:lnTo>
                    <a:pt x="158" y="324"/>
                  </a:lnTo>
                  <a:lnTo>
                    <a:pt x="174" y="343"/>
                  </a:lnTo>
                  <a:lnTo>
                    <a:pt x="174" y="3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46">
              <a:extLst>
                <a:ext uri="{FF2B5EF4-FFF2-40B4-BE49-F238E27FC236}">
                  <a16:creationId xmlns:a16="http://schemas.microsoft.com/office/drawing/2014/main" id="{ABCD1128-A8BB-497F-8418-E4B9C9F1C4A2}"/>
                </a:ext>
              </a:extLst>
            </p:cNvPr>
            <p:cNvSpPr>
              <a:spLocks/>
            </p:cNvSpPr>
            <p:nvPr/>
          </p:nvSpPr>
          <p:spPr bwMode="auto">
            <a:xfrm>
              <a:off x="1319213" y="2789238"/>
              <a:ext cx="115888" cy="80963"/>
            </a:xfrm>
            <a:custGeom>
              <a:avLst/>
              <a:gdLst>
                <a:gd name="T0" fmla="*/ 163 w 514"/>
                <a:gd name="T1" fmla="*/ 1 h 355"/>
                <a:gd name="T2" fmla="*/ 163 w 514"/>
                <a:gd name="T3" fmla="*/ 1 h 355"/>
                <a:gd name="T4" fmla="*/ 159 w 514"/>
                <a:gd name="T5" fmla="*/ 3 h 355"/>
                <a:gd name="T6" fmla="*/ 155 w 514"/>
                <a:gd name="T7" fmla="*/ 5 h 355"/>
                <a:gd name="T8" fmla="*/ 151 w 514"/>
                <a:gd name="T9" fmla="*/ 8 h 355"/>
                <a:gd name="T10" fmla="*/ 147 w 514"/>
                <a:gd name="T11" fmla="*/ 11 h 355"/>
                <a:gd name="T12" fmla="*/ 140 w 514"/>
                <a:gd name="T13" fmla="*/ 19 h 355"/>
                <a:gd name="T14" fmla="*/ 136 w 514"/>
                <a:gd name="T15" fmla="*/ 27 h 355"/>
                <a:gd name="T16" fmla="*/ 136 w 514"/>
                <a:gd name="T17" fmla="*/ 27 h 355"/>
                <a:gd name="T18" fmla="*/ 125 w 514"/>
                <a:gd name="T19" fmla="*/ 58 h 355"/>
                <a:gd name="T20" fmla="*/ 115 w 514"/>
                <a:gd name="T21" fmla="*/ 90 h 355"/>
                <a:gd name="T22" fmla="*/ 104 w 514"/>
                <a:gd name="T23" fmla="*/ 120 h 355"/>
                <a:gd name="T24" fmla="*/ 92 w 514"/>
                <a:gd name="T25" fmla="*/ 151 h 355"/>
                <a:gd name="T26" fmla="*/ 92 w 514"/>
                <a:gd name="T27" fmla="*/ 151 h 355"/>
                <a:gd name="T28" fmla="*/ 71 w 514"/>
                <a:gd name="T29" fmla="*/ 201 h 355"/>
                <a:gd name="T30" fmla="*/ 48 w 514"/>
                <a:gd name="T31" fmla="*/ 251 h 355"/>
                <a:gd name="T32" fmla="*/ 0 w 514"/>
                <a:gd name="T33" fmla="*/ 355 h 355"/>
                <a:gd name="T34" fmla="*/ 0 w 514"/>
                <a:gd name="T35" fmla="*/ 355 h 355"/>
                <a:gd name="T36" fmla="*/ 38 w 514"/>
                <a:gd name="T37" fmla="*/ 341 h 355"/>
                <a:gd name="T38" fmla="*/ 76 w 514"/>
                <a:gd name="T39" fmla="*/ 327 h 355"/>
                <a:gd name="T40" fmla="*/ 112 w 514"/>
                <a:gd name="T41" fmla="*/ 313 h 355"/>
                <a:gd name="T42" fmla="*/ 147 w 514"/>
                <a:gd name="T43" fmla="*/ 296 h 355"/>
                <a:gd name="T44" fmla="*/ 182 w 514"/>
                <a:gd name="T45" fmla="*/ 278 h 355"/>
                <a:gd name="T46" fmla="*/ 216 w 514"/>
                <a:gd name="T47" fmla="*/ 260 h 355"/>
                <a:gd name="T48" fmla="*/ 249 w 514"/>
                <a:gd name="T49" fmla="*/ 239 h 355"/>
                <a:gd name="T50" fmla="*/ 282 w 514"/>
                <a:gd name="T51" fmla="*/ 219 h 355"/>
                <a:gd name="T52" fmla="*/ 312 w 514"/>
                <a:gd name="T53" fmla="*/ 196 h 355"/>
                <a:gd name="T54" fmla="*/ 344 w 514"/>
                <a:gd name="T55" fmla="*/ 171 h 355"/>
                <a:gd name="T56" fmla="*/ 374 w 514"/>
                <a:gd name="T57" fmla="*/ 147 h 355"/>
                <a:gd name="T58" fmla="*/ 403 w 514"/>
                <a:gd name="T59" fmla="*/ 120 h 355"/>
                <a:gd name="T60" fmla="*/ 432 w 514"/>
                <a:gd name="T61" fmla="*/ 93 h 355"/>
                <a:gd name="T62" fmla="*/ 460 w 514"/>
                <a:gd name="T63" fmla="*/ 63 h 355"/>
                <a:gd name="T64" fmla="*/ 487 w 514"/>
                <a:gd name="T65" fmla="*/ 32 h 355"/>
                <a:gd name="T66" fmla="*/ 514 w 514"/>
                <a:gd name="T67" fmla="*/ 0 h 355"/>
                <a:gd name="T68" fmla="*/ 514 w 514"/>
                <a:gd name="T69" fmla="*/ 0 h 355"/>
                <a:gd name="T70" fmla="*/ 334 w 514"/>
                <a:gd name="T71" fmla="*/ 0 h 355"/>
                <a:gd name="T72" fmla="*/ 248 w 514"/>
                <a:gd name="T73" fmla="*/ 1 h 355"/>
                <a:gd name="T74" fmla="*/ 163 w 514"/>
                <a:gd name="T75" fmla="*/ 1 h 355"/>
                <a:gd name="T76" fmla="*/ 163 w 514"/>
                <a:gd name="T77" fmla="*/ 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4" h="355">
                  <a:moveTo>
                    <a:pt x="163" y="1"/>
                  </a:moveTo>
                  <a:lnTo>
                    <a:pt x="163" y="1"/>
                  </a:lnTo>
                  <a:lnTo>
                    <a:pt x="159" y="3"/>
                  </a:lnTo>
                  <a:lnTo>
                    <a:pt x="155" y="5"/>
                  </a:lnTo>
                  <a:lnTo>
                    <a:pt x="151" y="8"/>
                  </a:lnTo>
                  <a:lnTo>
                    <a:pt x="147" y="11"/>
                  </a:lnTo>
                  <a:lnTo>
                    <a:pt x="140" y="19"/>
                  </a:lnTo>
                  <a:lnTo>
                    <a:pt x="136" y="27"/>
                  </a:lnTo>
                  <a:lnTo>
                    <a:pt x="136" y="27"/>
                  </a:lnTo>
                  <a:lnTo>
                    <a:pt x="125" y="58"/>
                  </a:lnTo>
                  <a:lnTo>
                    <a:pt x="115" y="90"/>
                  </a:lnTo>
                  <a:lnTo>
                    <a:pt x="104" y="120"/>
                  </a:lnTo>
                  <a:lnTo>
                    <a:pt x="92" y="151"/>
                  </a:lnTo>
                  <a:lnTo>
                    <a:pt x="92" y="151"/>
                  </a:lnTo>
                  <a:lnTo>
                    <a:pt x="71" y="201"/>
                  </a:lnTo>
                  <a:lnTo>
                    <a:pt x="48" y="251"/>
                  </a:lnTo>
                  <a:lnTo>
                    <a:pt x="0" y="355"/>
                  </a:lnTo>
                  <a:lnTo>
                    <a:pt x="0" y="355"/>
                  </a:lnTo>
                  <a:lnTo>
                    <a:pt x="38" y="341"/>
                  </a:lnTo>
                  <a:lnTo>
                    <a:pt x="76" y="327"/>
                  </a:lnTo>
                  <a:lnTo>
                    <a:pt x="112" y="313"/>
                  </a:lnTo>
                  <a:lnTo>
                    <a:pt x="147" y="296"/>
                  </a:lnTo>
                  <a:lnTo>
                    <a:pt x="182" y="278"/>
                  </a:lnTo>
                  <a:lnTo>
                    <a:pt x="216" y="260"/>
                  </a:lnTo>
                  <a:lnTo>
                    <a:pt x="249" y="239"/>
                  </a:lnTo>
                  <a:lnTo>
                    <a:pt x="282" y="219"/>
                  </a:lnTo>
                  <a:lnTo>
                    <a:pt x="312" y="196"/>
                  </a:lnTo>
                  <a:lnTo>
                    <a:pt x="344" y="171"/>
                  </a:lnTo>
                  <a:lnTo>
                    <a:pt x="374" y="147"/>
                  </a:lnTo>
                  <a:lnTo>
                    <a:pt x="403" y="120"/>
                  </a:lnTo>
                  <a:lnTo>
                    <a:pt x="432" y="93"/>
                  </a:lnTo>
                  <a:lnTo>
                    <a:pt x="460" y="63"/>
                  </a:lnTo>
                  <a:lnTo>
                    <a:pt x="487" y="32"/>
                  </a:lnTo>
                  <a:lnTo>
                    <a:pt x="514" y="0"/>
                  </a:lnTo>
                  <a:lnTo>
                    <a:pt x="514" y="0"/>
                  </a:lnTo>
                  <a:lnTo>
                    <a:pt x="334" y="0"/>
                  </a:lnTo>
                  <a:lnTo>
                    <a:pt x="248" y="1"/>
                  </a:lnTo>
                  <a:lnTo>
                    <a:pt x="163" y="1"/>
                  </a:lnTo>
                  <a:lnTo>
                    <a:pt x="16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47">
              <a:extLst>
                <a:ext uri="{FF2B5EF4-FFF2-40B4-BE49-F238E27FC236}">
                  <a16:creationId xmlns:a16="http://schemas.microsoft.com/office/drawing/2014/main" id="{54E68BC6-D917-4CCB-9F16-88D20B6AE7AE}"/>
                </a:ext>
              </a:extLst>
            </p:cNvPr>
            <p:cNvSpPr>
              <a:spLocks/>
            </p:cNvSpPr>
            <p:nvPr/>
          </p:nvSpPr>
          <p:spPr bwMode="auto">
            <a:xfrm>
              <a:off x="795338" y="2963863"/>
              <a:ext cx="685800" cy="252413"/>
            </a:xfrm>
            <a:custGeom>
              <a:avLst/>
              <a:gdLst>
                <a:gd name="T0" fmla="*/ 2930 w 3026"/>
                <a:gd name="T1" fmla="*/ 124 h 1110"/>
                <a:gd name="T2" fmla="*/ 2863 w 3026"/>
                <a:gd name="T3" fmla="*/ 134 h 1110"/>
                <a:gd name="T4" fmla="*/ 2529 w 3026"/>
                <a:gd name="T5" fmla="*/ 284 h 1110"/>
                <a:gd name="T6" fmla="*/ 2117 w 3026"/>
                <a:gd name="T7" fmla="*/ 470 h 1110"/>
                <a:gd name="T8" fmla="*/ 2007 w 3026"/>
                <a:gd name="T9" fmla="*/ 525 h 1110"/>
                <a:gd name="T10" fmla="*/ 1938 w 3026"/>
                <a:gd name="T11" fmla="*/ 548 h 1110"/>
                <a:gd name="T12" fmla="*/ 1754 w 3026"/>
                <a:gd name="T13" fmla="*/ 578 h 1110"/>
                <a:gd name="T14" fmla="*/ 1369 w 3026"/>
                <a:gd name="T15" fmla="*/ 635 h 1110"/>
                <a:gd name="T16" fmla="*/ 1146 w 3026"/>
                <a:gd name="T17" fmla="*/ 669 h 1110"/>
                <a:gd name="T18" fmla="*/ 1105 w 3026"/>
                <a:gd name="T19" fmla="*/ 654 h 1110"/>
                <a:gd name="T20" fmla="*/ 1080 w 3026"/>
                <a:gd name="T21" fmla="*/ 628 h 1110"/>
                <a:gd name="T22" fmla="*/ 1073 w 3026"/>
                <a:gd name="T23" fmla="*/ 591 h 1110"/>
                <a:gd name="T24" fmla="*/ 1081 w 3026"/>
                <a:gd name="T25" fmla="*/ 561 h 1110"/>
                <a:gd name="T26" fmla="*/ 1105 w 3026"/>
                <a:gd name="T27" fmla="*/ 523 h 1110"/>
                <a:gd name="T28" fmla="*/ 1137 w 3026"/>
                <a:gd name="T29" fmla="*/ 497 h 1110"/>
                <a:gd name="T30" fmla="*/ 1195 w 3026"/>
                <a:gd name="T31" fmla="*/ 477 h 1110"/>
                <a:gd name="T32" fmla="*/ 1389 w 3026"/>
                <a:gd name="T33" fmla="*/ 455 h 1110"/>
                <a:gd name="T34" fmla="*/ 1662 w 3026"/>
                <a:gd name="T35" fmla="*/ 430 h 1110"/>
                <a:gd name="T36" fmla="*/ 1863 w 3026"/>
                <a:gd name="T37" fmla="*/ 399 h 1110"/>
                <a:gd name="T38" fmla="*/ 1962 w 3026"/>
                <a:gd name="T39" fmla="*/ 370 h 1110"/>
                <a:gd name="T40" fmla="*/ 2005 w 3026"/>
                <a:gd name="T41" fmla="*/ 349 h 1110"/>
                <a:gd name="T42" fmla="*/ 2037 w 3026"/>
                <a:gd name="T43" fmla="*/ 317 h 1110"/>
                <a:gd name="T44" fmla="*/ 2050 w 3026"/>
                <a:gd name="T45" fmla="*/ 284 h 1110"/>
                <a:gd name="T46" fmla="*/ 2057 w 3026"/>
                <a:gd name="T47" fmla="*/ 243 h 1110"/>
                <a:gd name="T48" fmla="*/ 2050 w 3026"/>
                <a:gd name="T49" fmla="*/ 195 h 1110"/>
                <a:gd name="T50" fmla="*/ 2025 w 3026"/>
                <a:gd name="T51" fmla="*/ 159 h 1110"/>
                <a:gd name="T52" fmla="*/ 1981 w 3026"/>
                <a:gd name="T53" fmla="*/ 137 h 1110"/>
                <a:gd name="T54" fmla="*/ 1935 w 3026"/>
                <a:gd name="T55" fmla="*/ 129 h 1110"/>
                <a:gd name="T56" fmla="*/ 1837 w 3026"/>
                <a:gd name="T57" fmla="*/ 132 h 1110"/>
                <a:gd name="T58" fmla="*/ 1640 w 3026"/>
                <a:gd name="T59" fmla="*/ 142 h 1110"/>
                <a:gd name="T60" fmla="*/ 1379 w 3026"/>
                <a:gd name="T61" fmla="*/ 138 h 1110"/>
                <a:gd name="T62" fmla="*/ 1121 w 3026"/>
                <a:gd name="T63" fmla="*/ 113 h 1110"/>
                <a:gd name="T64" fmla="*/ 864 w 3026"/>
                <a:gd name="T65" fmla="*/ 65 h 1110"/>
                <a:gd name="T66" fmla="*/ 707 w 3026"/>
                <a:gd name="T67" fmla="*/ 27 h 1110"/>
                <a:gd name="T68" fmla="*/ 519 w 3026"/>
                <a:gd name="T69" fmla="*/ 3 h 1110"/>
                <a:gd name="T70" fmla="*/ 332 w 3026"/>
                <a:gd name="T71" fmla="*/ 3 h 1110"/>
                <a:gd name="T72" fmla="*/ 146 w 3026"/>
                <a:gd name="T73" fmla="*/ 27 h 1110"/>
                <a:gd name="T74" fmla="*/ 39 w 3026"/>
                <a:gd name="T75" fmla="*/ 52 h 1110"/>
                <a:gd name="T76" fmla="*/ 6 w 3026"/>
                <a:gd name="T77" fmla="*/ 76 h 1110"/>
                <a:gd name="T78" fmla="*/ 0 w 3026"/>
                <a:gd name="T79" fmla="*/ 113 h 1110"/>
                <a:gd name="T80" fmla="*/ 1 w 3026"/>
                <a:gd name="T81" fmla="*/ 509 h 1110"/>
                <a:gd name="T82" fmla="*/ 1 w 3026"/>
                <a:gd name="T83" fmla="*/ 936 h 1110"/>
                <a:gd name="T84" fmla="*/ 14 w 3026"/>
                <a:gd name="T85" fmla="*/ 962 h 1110"/>
                <a:gd name="T86" fmla="*/ 38 w 3026"/>
                <a:gd name="T87" fmla="*/ 969 h 1110"/>
                <a:gd name="T88" fmla="*/ 638 w 3026"/>
                <a:gd name="T89" fmla="*/ 1040 h 1110"/>
                <a:gd name="T90" fmla="*/ 924 w 3026"/>
                <a:gd name="T91" fmla="*/ 1065 h 1110"/>
                <a:gd name="T92" fmla="*/ 1552 w 3026"/>
                <a:gd name="T93" fmla="*/ 1110 h 1110"/>
                <a:gd name="T94" fmla="*/ 1653 w 3026"/>
                <a:gd name="T95" fmla="*/ 1099 h 1110"/>
                <a:gd name="T96" fmla="*/ 1725 w 3026"/>
                <a:gd name="T97" fmla="*/ 1072 h 1110"/>
                <a:gd name="T98" fmla="*/ 1919 w 3026"/>
                <a:gd name="T99" fmla="*/ 981 h 1110"/>
                <a:gd name="T100" fmla="*/ 2219 w 3026"/>
                <a:gd name="T101" fmla="*/ 802 h 1110"/>
                <a:gd name="T102" fmla="*/ 2941 w 3026"/>
                <a:gd name="T103" fmla="*/ 355 h 1110"/>
                <a:gd name="T104" fmla="*/ 2980 w 3026"/>
                <a:gd name="T105" fmla="*/ 322 h 1110"/>
                <a:gd name="T106" fmla="*/ 3004 w 3026"/>
                <a:gd name="T107" fmla="*/ 292 h 1110"/>
                <a:gd name="T108" fmla="*/ 3025 w 3026"/>
                <a:gd name="T109" fmla="*/ 240 h 1110"/>
                <a:gd name="T110" fmla="*/ 3021 w 3026"/>
                <a:gd name="T111" fmla="*/ 190 h 1110"/>
                <a:gd name="T112" fmla="*/ 2994 w 3026"/>
                <a:gd name="T113" fmla="*/ 150 h 1110"/>
                <a:gd name="T114" fmla="*/ 2949 w 3026"/>
                <a:gd name="T115" fmla="*/ 126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6" h="1110">
                  <a:moveTo>
                    <a:pt x="2949" y="126"/>
                  </a:moveTo>
                  <a:lnTo>
                    <a:pt x="2949" y="126"/>
                  </a:lnTo>
                  <a:lnTo>
                    <a:pt x="2940" y="125"/>
                  </a:lnTo>
                  <a:lnTo>
                    <a:pt x="2930" y="124"/>
                  </a:lnTo>
                  <a:lnTo>
                    <a:pt x="2913" y="123"/>
                  </a:lnTo>
                  <a:lnTo>
                    <a:pt x="2896" y="125"/>
                  </a:lnTo>
                  <a:lnTo>
                    <a:pt x="2879" y="129"/>
                  </a:lnTo>
                  <a:lnTo>
                    <a:pt x="2863" y="134"/>
                  </a:lnTo>
                  <a:lnTo>
                    <a:pt x="2847" y="141"/>
                  </a:lnTo>
                  <a:lnTo>
                    <a:pt x="2814" y="155"/>
                  </a:lnTo>
                  <a:lnTo>
                    <a:pt x="2814" y="155"/>
                  </a:lnTo>
                  <a:lnTo>
                    <a:pt x="2529" y="284"/>
                  </a:lnTo>
                  <a:lnTo>
                    <a:pt x="2245" y="413"/>
                  </a:lnTo>
                  <a:lnTo>
                    <a:pt x="2245" y="413"/>
                  </a:lnTo>
                  <a:lnTo>
                    <a:pt x="2117" y="470"/>
                  </a:lnTo>
                  <a:lnTo>
                    <a:pt x="2117" y="470"/>
                  </a:lnTo>
                  <a:lnTo>
                    <a:pt x="2095" y="481"/>
                  </a:lnTo>
                  <a:lnTo>
                    <a:pt x="2073" y="492"/>
                  </a:lnTo>
                  <a:lnTo>
                    <a:pt x="2028" y="514"/>
                  </a:lnTo>
                  <a:lnTo>
                    <a:pt x="2007" y="525"/>
                  </a:lnTo>
                  <a:lnTo>
                    <a:pt x="1984" y="534"/>
                  </a:lnTo>
                  <a:lnTo>
                    <a:pt x="1962" y="542"/>
                  </a:lnTo>
                  <a:lnTo>
                    <a:pt x="1938" y="548"/>
                  </a:lnTo>
                  <a:lnTo>
                    <a:pt x="1938" y="548"/>
                  </a:lnTo>
                  <a:lnTo>
                    <a:pt x="1892" y="556"/>
                  </a:lnTo>
                  <a:lnTo>
                    <a:pt x="1846" y="564"/>
                  </a:lnTo>
                  <a:lnTo>
                    <a:pt x="1800" y="572"/>
                  </a:lnTo>
                  <a:lnTo>
                    <a:pt x="1754" y="578"/>
                  </a:lnTo>
                  <a:lnTo>
                    <a:pt x="1662" y="590"/>
                  </a:lnTo>
                  <a:lnTo>
                    <a:pt x="1569" y="603"/>
                  </a:lnTo>
                  <a:lnTo>
                    <a:pt x="1569" y="603"/>
                  </a:lnTo>
                  <a:lnTo>
                    <a:pt x="1369" y="635"/>
                  </a:lnTo>
                  <a:lnTo>
                    <a:pt x="1171" y="668"/>
                  </a:lnTo>
                  <a:lnTo>
                    <a:pt x="1171" y="668"/>
                  </a:lnTo>
                  <a:lnTo>
                    <a:pt x="1158" y="669"/>
                  </a:lnTo>
                  <a:lnTo>
                    <a:pt x="1146" y="669"/>
                  </a:lnTo>
                  <a:lnTo>
                    <a:pt x="1135" y="667"/>
                  </a:lnTo>
                  <a:lnTo>
                    <a:pt x="1124" y="664"/>
                  </a:lnTo>
                  <a:lnTo>
                    <a:pt x="1114" y="660"/>
                  </a:lnTo>
                  <a:lnTo>
                    <a:pt x="1105" y="654"/>
                  </a:lnTo>
                  <a:lnTo>
                    <a:pt x="1096" y="646"/>
                  </a:lnTo>
                  <a:lnTo>
                    <a:pt x="1088" y="637"/>
                  </a:lnTo>
                  <a:lnTo>
                    <a:pt x="1088" y="637"/>
                  </a:lnTo>
                  <a:lnTo>
                    <a:pt x="1080" y="628"/>
                  </a:lnTo>
                  <a:lnTo>
                    <a:pt x="1076" y="619"/>
                  </a:lnTo>
                  <a:lnTo>
                    <a:pt x="1073" y="610"/>
                  </a:lnTo>
                  <a:lnTo>
                    <a:pt x="1072" y="600"/>
                  </a:lnTo>
                  <a:lnTo>
                    <a:pt x="1073" y="591"/>
                  </a:lnTo>
                  <a:lnTo>
                    <a:pt x="1075" y="582"/>
                  </a:lnTo>
                  <a:lnTo>
                    <a:pt x="1077" y="572"/>
                  </a:lnTo>
                  <a:lnTo>
                    <a:pt x="1081" y="561"/>
                  </a:lnTo>
                  <a:lnTo>
                    <a:pt x="1081" y="561"/>
                  </a:lnTo>
                  <a:lnTo>
                    <a:pt x="1087" y="550"/>
                  </a:lnTo>
                  <a:lnTo>
                    <a:pt x="1092" y="540"/>
                  </a:lnTo>
                  <a:lnTo>
                    <a:pt x="1098" y="531"/>
                  </a:lnTo>
                  <a:lnTo>
                    <a:pt x="1105" y="523"/>
                  </a:lnTo>
                  <a:lnTo>
                    <a:pt x="1112" y="515"/>
                  </a:lnTo>
                  <a:lnTo>
                    <a:pt x="1119" y="508"/>
                  </a:lnTo>
                  <a:lnTo>
                    <a:pt x="1128" y="502"/>
                  </a:lnTo>
                  <a:lnTo>
                    <a:pt x="1137" y="497"/>
                  </a:lnTo>
                  <a:lnTo>
                    <a:pt x="1146" y="493"/>
                  </a:lnTo>
                  <a:lnTo>
                    <a:pt x="1155" y="489"/>
                  </a:lnTo>
                  <a:lnTo>
                    <a:pt x="1175" y="483"/>
                  </a:lnTo>
                  <a:lnTo>
                    <a:pt x="1195" y="477"/>
                  </a:lnTo>
                  <a:lnTo>
                    <a:pt x="1217" y="474"/>
                  </a:lnTo>
                  <a:lnTo>
                    <a:pt x="1217" y="474"/>
                  </a:lnTo>
                  <a:lnTo>
                    <a:pt x="1303" y="464"/>
                  </a:lnTo>
                  <a:lnTo>
                    <a:pt x="1389" y="455"/>
                  </a:lnTo>
                  <a:lnTo>
                    <a:pt x="1474" y="447"/>
                  </a:lnTo>
                  <a:lnTo>
                    <a:pt x="1560" y="440"/>
                  </a:lnTo>
                  <a:lnTo>
                    <a:pt x="1560" y="440"/>
                  </a:lnTo>
                  <a:lnTo>
                    <a:pt x="1662" y="430"/>
                  </a:lnTo>
                  <a:lnTo>
                    <a:pt x="1712" y="424"/>
                  </a:lnTo>
                  <a:lnTo>
                    <a:pt x="1763" y="417"/>
                  </a:lnTo>
                  <a:lnTo>
                    <a:pt x="1813" y="409"/>
                  </a:lnTo>
                  <a:lnTo>
                    <a:pt x="1863" y="399"/>
                  </a:lnTo>
                  <a:lnTo>
                    <a:pt x="1888" y="392"/>
                  </a:lnTo>
                  <a:lnTo>
                    <a:pt x="1913" y="385"/>
                  </a:lnTo>
                  <a:lnTo>
                    <a:pt x="1937" y="378"/>
                  </a:lnTo>
                  <a:lnTo>
                    <a:pt x="1962" y="370"/>
                  </a:lnTo>
                  <a:lnTo>
                    <a:pt x="1962" y="370"/>
                  </a:lnTo>
                  <a:lnTo>
                    <a:pt x="1977" y="364"/>
                  </a:lnTo>
                  <a:lnTo>
                    <a:pt x="1992" y="358"/>
                  </a:lnTo>
                  <a:lnTo>
                    <a:pt x="2005" y="349"/>
                  </a:lnTo>
                  <a:lnTo>
                    <a:pt x="2017" y="340"/>
                  </a:lnTo>
                  <a:lnTo>
                    <a:pt x="2027" y="329"/>
                  </a:lnTo>
                  <a:lnTo>
                    <a:pt x="2033" y="323"/>
                  </a:lnTo>
                  <a:lnTo>
                    <a:pt x="2037" y="317"/>
                  </a:lnTo>
                  <a:lnTo>
                    <a:pt x="2041" y="310"/>
                  </a:lnTo>
                  <a:lnTo>
                    <a:pt x="2044" y="301"/>
                  </a:lnTo>
                  <a:lnTo>
                    <a:pt x="2048" y="293"/>
                  </a:lnTo>
                  <a:lnTo>
                    <a:pt x="2050" y="284"/>
                  </a:lnTo>
                  <a:lnTo>
                    <a:pt x="2050" y="284"/>
                  </a:lnTo>
                  <a:lnTo>
                    <a:pt x="2054" y="270"/>
                  </a:lnTo>
                  <a:lnTo>
                    <a:pt x="2056" y="255"/>
                  </a:lnTo>
                  <a:lnTo>
                    <a:pt x="2057" y="243"/>
                  </a:lnTo>
                  <a:lnTo>
                    <a:pt x="2057" y="230"/>
                  </a:lnTo>
                  <a:lnTo>
                    <a:pt x="2056" y="217"/>
                  </a:lnTo>
                  <a:lnTo>
                    <a:pt x="2054" y="206"/>
                  </a:lnTo>
                  <a:lnTo>
                    <a:pt x="2050" y="195"/>
                  </a:lnTo>
                  <a:lnTo>
                    <a:pt x="2046" y="185"/>
                  </a:lnTo>
                  <a:lnTo>
                    <a:pt x="2040" y="175"/>
                  </a:lnTo>
                  <a:lnTo>
                    <a:pt x="2034" y="166"/>
                  </a:lnTo>
                  <a:lnTo>
                    <a:pt x="2025" y="159"/>
                  </a:lnTo>
                  <a:lnTo>
                    <a:pt x="2016" y="152"/>
                  </a:lnTo>
                  <a:lnTo>
                    <a:pt x="2006" y="146"/>
                  </a:lnTo>
                  <a:lnTo>
                    <a:pt x="1994" y="141"/>
                  </a:lnTo>
                  <a:lnTo>
                    <a:pt x="1981" y="137"/>
                  </a:lnTo>
                  <a:lnTo>
                    <a:pt x="1967" y="133"/>
                  </a:lnTo>
                  <a:lnTo>
                    <a:pt x="1967" y="133"/>
                  </a:lnTo>
                  <a:lnTo>
                    <a:pt x="1951" y="130"/>
                  </a:lnTo>
                  <a:lnTo>
                    <a:pt x="1935" y="129"/>
                  </a:lnTo>
                  <a:lnTo>
                    <a:pt x="1919" y="129"/>
                  </a:lnTo>
                  <a:lnTo>
                    <a:pt x="1903" y="129"/>
                  </a:lnTo>
                  <a:lnTo>
                    <a:pt x="1870" y="130"/>
                  </a:lnTo>
                  <a:lnTo>
                    <a:pt x="1837" y="132"/>
                  </a:lnTo>
                  <a:lnTo>
                    <a:pt x="1837" y="132"/>
                  </a:lnTo>
                  <a:lnTo>
                    <a:pt x="1772" y="137"/>
                  </a:lnTo>
                  <a:lnTo>
                    <a:pt x="1706" y="140"/>
                  </a:lnTo>
                  <a:lnTo>
                    <a:pt x="1640" y="142"/>
                  </a:lnTo>
                  <a:lnTo>
                    <a:pt x="1575" y="143"/>
                  </a:lnTo>
                  <a:lnTo>
                    <a:pt x="1509" y="143"/>
                  </a:lnTo>
                  <a:lnTo>
                    <a:pt x="1445" y="141"/>
                  </a:lnTo>
                  <a:lnTo>
                    <a:pt x="1379" y="138"/>
                  </a:lnTo>
                  <a:lnTo>
                    <a:pt x="1315" y="133"/>
                  </a:lnTo>
                  <a:lnTo>
                    <a:pt x="1250" y="128"/>
                  </a:lnTo>
                  <a:lnTo>
                    <a:pt x="1186" y="121"/>
                  </a:lnTo>
                  <a:lnTo>
                    <a:pt x="1121" y="113"/>
                  </a:lnTo>
                  <a:lnTo>
                    <a:pt x="1057" y="104"/>
                  </a:lnTo>
                  <a:lnTo>
                    <a:pt x="992" y="93"/>
                  </a:lnTo>
                  <a:lnTo>
                    <a:pt x="929" y="79"/>
                  </a:lnTo>
                  <a:lnTo>
                    <a:pt x="864" y="65"/>
                  </a:lnTo>
                  <a:lnTo>
                    <a:pt x="801" y="48"/>
                  </a:lnTo>
                  <a:lnTo>
                    <a:pt x="801" y="48"/>
                  </a:lnTo>
                  <a:lnTo>
                    <a:pt x="754" y="37"/>
                  </a:lnTo>
                  <a:lnTo>
                    <a:pt x="707" y="27"/>
                  </a:lnTo>
                  <a:lnTo>
                    <a:pt x="660" y="19"/>
                  </a:lnTo>
                  <a:lnTo>
                    <a:pt x="613" y="12"/>
                  </a:lnTo>
                  <a:lnTo>
                    <a:pt x="565" y="7"/>
                  </a:lnTo>
                  <a:lnTo>
                    <a:pt x="519" y="3"/>
                  </a:lnTo>
                  <a:lnTo>
                    <a:pt x="472" y="0"/>
                  </a:lnTo>
                  <a:lnTo>
                    <a:pt x="426" y="0"/>
                  </a:lnTo>
                  <a:lnTo>
                    <a:pt x="379" y="1"/>
                  </a:lnTo>
                  <a:lnTo>
                    <a:pt x="332" y="3"/>
                  </a:lnTo>
                  <a:lnTo>
                    <a:pt x="286" y="8"/>
                  </a:lnTo>
                  <a:lnTo>
                    <a:pt x="239" y="13"/>
                  </a:lnTo>
                  <a:lnTo>
                    <a:pt x="193" y="19"/>
                  </a:lnTo>
                  <a:lnTo>
                    <a:pt x="146" y="27"/>
                  </a:lnTo>
                  <a:lnTo>
                    <a:pt x="99" y="37"/>
                  </a:lnTo>
                  <a:lnTo>
                    <a:pt x="53" y="47"/>
                  </a:lnTo>
                  <a:lnTo>
                    <a:pt x="53" y="47"/>
                  </a:lnTo>
                  <a:lnTo>
                    <a:pt x="39" y="52"/>
                  </a:lnTo>
                  <a:lnTo>
                    <a:pt x="28" y="56"/>
                  </a:lnTo>
                  <a:lnTo>
                    <a:pt x="19" y="61"/>
                  </a:lnTo>
                  <a:lnTo>
                    <a:pt x="12" y="68"/>
                  </a:lnTo>
                  <a:lnTo>
                    <a:pt x="6" y="76"/>
                  </a:lnTo>
                  <a:lnTo>
                    <a:pt x="2" y="85"/>
                  </a:lnTo>
                  <a:lnTo>
                    <a:pt x="0" y="98"/>
                  </a:lnTo>
                  <a:lnTo>
                    <a:pt x="0" y="113"/>
                  </a:lnTo>
                  <a:lnTo>
                    <a:pt x="0" y="113"/>
                  </a:lnTo>
                  <a:lnTo>
                    <a:pt x="1" y="211"/>
                  </a:lnTo>
                  <a:lnTo>
                    <a:pt x="2" y="311"/>
                  </a:lnTo>
                  <a:lnTo>
                    <a:pt x="1" y="509"/>
                  </a:lnTo>
                  <a:lnTo>
                    <a:pt x="1" y="509"/>
                  </a:lnTo>
                  <a:lnTo>
                    <a:pt x="1" y="718"/>
                  </a:lnTo>
                  <a:lnTo>
                    <a:pt x="0" y="927"/>
                  </a:lnTo>
                  <a:lnTo>
                    <a:pt x="0" y="927"/>
                  </a:lnTo>
                  <a:lnTo>
                    <a:pt x="1" y="936"/>
                  </a:lnTo>
                  <a:lnTo>
                    <a:pt x="2" y="945"/>
                  </a:lnTo>
                  <a:lnTo>
                    <a:pt x="4" y="951"/>
                  </a:lnTo>
                  <a:lnTo>
                    <a:pt x="8" y="958"/>
                  </a:lnTo>
                  <a:lnTo>
                    <a:pt x="14" y="962"/>
                  </a:lnTo>
                  <a:lnTo>
                    <a:pt x="21" y="965"/>
                  </a:lnTo>
                  <a:lnTo>
                    <a:pt x="29" y="967"/>
                  </a:lnTo>
                  <a:lnTo>
                    <a:pt x="38" y="969"/>
                  </a:lnTo>
                  <a:lnTo>
                    <a:pt x="38" y="969"/>
                  </a:lnTo>
                  <a:lnTo>
                    <a:pt x="210" y="988"/>
                  </a:lnTo>
                  <a:lnTo>
                    <a:pt x="381" y="1010"/>
                  </a:lnTo>
                  <a:lnTo>
                    <a:pt x="552" y="1030"/>
                  </a:lnTo>
                  <a:lnTo>
                    <a:pt x="638" y="1040"/>
                  </a:lnTo>
                  <a:lnTo>
                    <a:pt x="723" y="1048"/>
                  </a:lnTo>
                  <a:lnTo>
                    <a:pt x="723" y="1048"/>
                  </a:lnTo>
                  <a:lnTo>
                    <a:pt x="823" y="1057"/>
                  </a:lnTo>
                  <a:lnTo>
                    <a:pt x="924" y="1065"/>
                  </a:lnTo>
                  <a:lnTo>
                    <a:pt x="1124" y="1080"/>
                  </a:lnTo>
                  <a:lnTo>
                    <a:pt x="1527" y="1109"/>
                  </a:lnTo>
                  <a:lnTo>
                    <a:pt x="1527" y="1109"/>
                  </a:lnTo>
                  <a:lnTo>
                    <a:pt x="1552" y="1110"/>
                  </a:lnTo>
                  <a:lnTo>
                    <a:pt x="1578" y="1110"/>
                  </a:lnTo>
                  <a:lnTo>
                    <a:pt x="1603" y="1108"/>
                  </a:lnTo>
                  <a:lnTo>
                    <a:pt x="1628" y="1104"/>
                  </a:lnTo>
                  <a:lnTo>
                    <a:pt x="1653" y="1099"/>
                  </a:lnTo>
                  <a:lnTo>
                    <a:pt x="1677" y="1092"/>
                  </a:lnTo>
                  <a:lnTo>
                    <a:pt x="1702" y="1083"/>
                  </a:lnTo>
                  <a:lnTo>
                    <a:pt x="1725" y="1072"/>
                  </a:lnTo>
                  <a:lnTo>
                    <a:pt x="1725" y="1072"/>
                  </a:lnTo>
                  <a:lnTo>
                    <a:pt x="1790" y="1043"/>
                  </a:lnTo>
                  <a:lnTo>
                    <a:pt x="1854" y="1013"/>
                  </a:lnTo>
                  <a:lnTo>
                    <a:pt x="1887" y="998"/>
                  </a:lnTo>
                  <a:lnTo>
                    <a:pt x="1919" y="981"/>
                  </a:lnTo>
                  <a:lnTo>
                    <a:pt x="1951" y="965"/>
                  </a:lnTo>
                  <a:lnTo>
                    <a:pt x="1981" y="946"/>
                  </a:lnTo>
                  <a:lnTo>
                    <a:pt x="1981" y="946"/>
                  </a:lnTo>
                  <a:lnTo>
                    <a:pt x="2219" y="802"/>
                  </a:lnTo>
                  <a:lnTo>
                    <a:pt x="2456" y="656"/>
                  </a:lnTo>
                  <a:lnTo>
                    <a:pt x="2930" y="362"/>
                  </a:lnTo>
                  <a:lnTo>
                    <a:pt x="2930" y="362"/>
                  </a:lnTo>
                  <a:lnTo>
                    <a:pt x="2941" y="355"/>
                  </a:lnTo>
                  <a:lnTo>
                    <a:pt x="2951" y="347"/>
                  </a:lnTo>
                  <a:lnTo>
                    <a:pt x="2961" y="339"/>
                  </a:lnTo>
                  <a:lnTo>
                    <a:pt x="2970" y="331"/>
                  </a:lnTo>
                  <a:lnTo>
                    <a:pt x="2980" y="322"/>
                  </a:lnTo>
                  <a:lnTo>
                    <a:pt x="2989" y="312"/>
                  </a:lnTo>
                  <a:lnTo>
                    <a:pt x="2996" y="302"/>
                  </a:lnTo>
                  <a:lnTo>
                    <a:pt x="3004" y="292"/>
                  </a:lnTo>
                  <a:lnTo>
                    <a:pt x="3004" y="292"/>
                  </a:lnTo>
                  <a:lnTo>
                    <a:pt x="3011" y="279"/>
                  </a:lnTo>
                  <a:lnTo>
                    <a:pt x="3017" y="266"/>
                  </a:lnTo>
                  <a:lnTo>
                    <a:pt x="3022" y="252"/>
                  </a:lnTo>
                  <a:lnTo>
                    <a:pt x="3025" y="240"/>
                  </a:lnTo>
                  <a:lnTo>
                    <a:pt x="3026" y="227"/>
                  </a:lnTo>
                  <a:lnTo>
                    <a:pt x="3026" y="214"/>
                  </a:lnTo>
                  <a:lnTo>
                    <a:pt x="3024" y="201"/>
                  </a:lnTo>
                  <a:lnTo>
                    <a:pt x="3021" y="190"/>
                  </a:lnTo>
                  <a:lnTo>
                    <a:pt x="3016" y="179"/>
                  </a:lnTo>
                  <a:lnTo>
                    <a:pt x="3010" y="168"/>
                  </a:lnTo>
                  <a:lnTo>
                    <a:pt x="3003" y="158"/>
                  </a:lnTo>
                  <a:lnTo>
                    <a:pt x="2994" y="150"/>
                  </a:lnTo>
                  <a:lnTo>
                    <a:pt x="2985" y="142"/>
                  </a:lnTo>
                  <a:lnTo>
                    <a:pt x="2973" y="136"/>
                  </a:lnTo>
                  <a:lnTo>
                    <a:pt x="2961" y="130"/>
                  </a:lnTo>
                  <a:lnTo>
                    <a:pt x="2949" y="126"/>
                  </a:lnTo>
                  <a:lnTo>
                    <a:pt x="2949"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48">
              <a:extLst>
                <a:ext uri="{FF2B5EF4-FFF2-40B4-BE49-F238E27FC236}">
                  <a16:creationId xmlns:a16="http://schemas.microsoft.com/office/drawing/2014/main" id="{E7849DE5-DCF9-4EBD-B67B-59B8F0C772FA}"/>
                </a:ext>
              </a:extLst>
            </p:cNvPr>
            <p:cNvSpPr>
              <a:spLocks noEditPoints="1"/>
            </p:cNvSpPr>
            <p:nvPr/>
          </p:nvSpPr>
          <p:spPr bwMode="auto">
            <a:xfrm>
              <a:off x="236538" y="1984253"/>
              <a:ext cx="1676400" cy="1676400"/>
            </a:xfrm>
            <a:custGeom>
              <a:avLst/>
              <a:gdLst>
                <a:gd name="T0" fmla="*/ 2684 w 7392"/>
                <a:gd name="T1" fmla="*/ 140 h 7392"/>
                <a:gd name="T2" fmla="*/ 1630 w 7392"/>
                <a:gd name="T3" fmla="*/ 632 h 7392"/>
                <a:gd name="T4" fmla="*/ 788 w 7392"/>
                <a:gd name="T5" fmla="*/ 1414 h 7392"/>
                <a:gd name="T6" fmla="*/ 225 w 7392"/>
                <a:gd name="T7" fmla="*/ 2425 h 7392"/>
                <a:gd name="T8" fmla="*/ 2 w 7392"/>
                <a:gd name="T9" fmla="*/ 3601 h 7392"/>
                <a:gd name="T10" fmla="*/ 140 w 7392"/>
                <a:gd name="T11" fmla="*/ 4708 h 7392"/>
                <a:gd name="T12" fmla="*/ 632 w 7392"/>
                <a:gd name="T13" fmla="*/ 5763 h 7392"/>
                <a:gd name="T14" fmla="*/ 1415 w 7392"/>
                <a:gd name="T15" fmla="*/ 6604 h 7392"/>
                <a:gd name="T16" fmla="*/ 2425 w 7392"/>
                <a:gd name="T17" fmla="*/ 7168 h 7392"/>
                <a:gd name="T18" fmla="*/ 3601 w 7392"/>
                <a:gd name="T19" fmla="*/ 7391 h 7392"/>
                <a:gd name="T20" fmla="*/ 4709 w 7392"/>
                <a:gd name="T21" fmla="*/ 7252 h 7392"/>
                <a:gd name="T22" fmla="*/ 5763 w 7392"/>
                <a:gd name="T23" fmla="*/ 6761 h 7392"/>
                <a:gd name="T24" fmla="*/ 6605 w 7392"/>
                <a:gd name="T25" fmla="*/ 5978 h 7392"/>
                <a:gd name="T26" fmla="*/ 7168 w 7392"/>
                <a:gd name="T27" fmla="*/ 4967 h 7392"/>
                <a:gd name="T28" fmla="*/ 7391 w 7392"/>
                <a:gd name="T29" fmla="*/ 3791 h 7392"/>
                <a:gd name="T30" fmla="*/ 7253 w 7392"/>
                <a:gd name="T31" fmla="*/ 2684 h 7392"/>
                <a:gd name="T32" fmla="*/ 6761 w 7392"/>
                <a:gd name="T33" fmla="*/ 1630 h 7392"/>
                <a:gd name="T34" fmla="*/ 5978 w 7392"/>
                <a:gd name="T35" fmla="*/ 788 h 7392"/>
                <a:gd name="T36" fmla="*/ 4968 w 7392"/>
                <a:gd name="T37" fmla="*/ 224 h 7392"/>
                <a:gd name="T38" fmla="*/ 3792 w 7392"/>
                <a:gd name="T39" fmla="*/ 1 h 7392"/>
                <a:gd name="T40" fmla="*/ 4739 w 7392"/>
                <a:gd name="T41" fmla="*/ 1801 h 7392"/>
                <a:gd name="T42" fmla="*/ 5090 w 7392"/>
                <a:gd name="T43" fmla="*/ 1942 h 7392"/>
                <a:gd name="T44" fmla="*/ 5376 w 7392"/>
                <a:gd name="T45" fmla="*/ 2180 h 7392"/>
                <a:gd name="T46" fmla="*/ 5573 w 7392"/>
                <a:gd name="T47" fmla="*/ 2494 h 7392"/>
                <a:gd name="T48" fmla="*/ 5662 w 7392"/>
                <a:gd name="T49" fmla="*/ 2868 h 7392"/>
                <a:gd name="T50" fmla="*/ 5633 w 7392"/>
                <a:gd name="T51" fmla="*/ 3224 h 7392"/>
                <a:gd name="T52" fmla="*/ 5491 w 7392"/>
                <a:gd name="T53" fmla="*/ 3571 h 7392"/>
                <a:gd name="T54" fmla="*/ 5251 w 7392"/>
                <a:gd name="T55" fmla="*/ 3856 h 7392"/>
                <a:gd name="T56" fmla="*/ 4934 w 7392"/>
                <a:gd name="T57" fmla="*/ 4056 h 7392"/>
                <a:gd name="T58" fmla="*/ 4557 w 7392"/>
                <a:gd name="T59" fmla="*/ 4149 h 7392"/>
                <a:gd name="T60" fmla="*/ 4193 w 7392"/>
                <a:gd name="T61" fmla="*/ 4122 h 7392"/>
                <a:gd name="T62" fmla="*/ 3844 w 7392"/>
                <a:gd name="T63" fmla="*/ 3982 h 7392"/>
                <a:gd name="T64" fmla="*/ 3565 w 7392"/>
                <a:gd name="T65" fmla="*/ 3744 h 7392"/>
                <a:gd name="T66" fmla="*/ 3372 w 7392"/>
                <a:gd name="T67" fmla="*/ 3430 h 7392"/>
                <a:gd name="T68" fmla="*/ 3285 w 7392"/>
                <a:gd name="T69" fmla="*/ 3057 h 7392"/>
                <a:gd name="T70" fmla="*/ 3314 w 7392"/>
                <a:gd name="T71" fmla="*/ 2692 h 7392"/>
                <a:gd name="T72" fmla="*/ 3456 w 7392"/>
                <a:gd name="T73" fmla="*/ 2339 h 7392"/>
                <a:gd name="T74" fmla="*/ 3695 w 7392"/>
                <a:gd name="T75" fmla="*/ 2057 h 7392"/>
                <a:gd name="T76" fmla="*/ 4009 w 7392"/>
                <a:gd name="T77" fmla="*/ 1862 h 7392"/>
                <a:gd name="T78" fmla="*/ 4378 w 7392"/>
                <a:gd name="T79" fmla="*/ 1771 h 7392"/>
                <a:gd name="T80" fmla="*/ 4773 w 7392"/>
                <a:gd name="T81" fmla="*/ 5280 h 7392"/>
                <a:gd name="T82" fmla="*/ 4127 w 7392"/>
                <a:gd name="T83" fmla="*/ 5609 h 7392"/>
                <a:gd name="T84" fmla="*/ 3190 w 7392"/>
                <a:gd name="T85" fmla="*/ 5560 h 7392"/>
                <a:gd name="T86" fmla="*/ 2425 w 7392"/>
                <a:gd name="T87" fmla="*/ 5537 h 7392"/>
                <a:gd name="T88" fmla="*/ 2306 w 7392"/>
                <a:gd name="T89" fmla="*/ 5606 h 7392"/>
                <a:gd name="T90" fmla="*/ 1757 w 7392"/>
                <a:gd name="T91" fmla="*/ 5593 h 7392"/>
                <a:gd name="T92" fmla="*/ 1719 w 7392"/>
                <a:gd name="T93" fmla="*/ 4185 h 7392"/>
                <a:gd name="T94" fmla="*/ 1786 w 7392"/>
                <a:gd name="T95" fmla="*/ 4082 h 7392"/>
                <a:gd name="T96" fmla="*/ 2394 w 7392"/>
                <a:gd name="T97" fmla="*/ 4098 h 7392"/>
                <a:gd name="T98" fmla="*/ 2684 w 7392"/>
                <a:gd name="T99" fmla="*/ 4173 h 7392"/>
                <a:gd name="T100" fmla="*/ 3173 w 7392"/>
                <a:gd name="T101" fmla="*/ 4177 h 7392"/>
                <a:gd name="T102" fmla="*/ 3790 w 7392"/>
                <a:gd name="T103" fmla="*/ 4286 h 7392"/>
                <a:gd name="T104" fmla="*/ 4363 w 7392"/>
                <a:gd name="T105" fmla="*/ 4279 h 7392"/>
                <a:gd name="T106" fmla="*/ 4589 w 7392"/>
                <a:gd name="T107" fmla="*/ 4340 h 7392"/>
                <a:gd name="T108" fmla="*/ 4678 w 7392"/>
                <a:gd name="T109" fmla="*/ 4481 h 7392"/>
                <a:gd name="T110" fmla="*/ 4955 w 7392"/>
                <a:gd name="T111" fmla="*/ 4458 h 7392"/>
                <a:gd name="T112" fmla="*/ 5393 w 7392"/>
                <a:gd name="T113" fmla="*/ 4298 h 7392"/>
                <a:gd name="T114" fmla="*/ 5598 w 7392"/>
                <a:gd name="T115" fmla="*/ 4380 h 7392"/>
                <a:gd name="T116" fmla="*/ 5674 w 7392"/>
                <a:gd name="T117" fmla="*/ 4576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92" h="7392">
                  <a:moveTo>
                    <a:pt x="3696" y="0"/>
                  </a:moveTo>
                  <a:lnTo>
                    <a:pt x="3696" y="0"/>
                  </a:lnTo>
                  <a:lnTo>
                    <a:pt x="3601" y="1"/>
                  </a:lnTo>
                  <a:lnTo>
                    <a:pt x="3507" y="5"/>
                  </a:lnTo>
                  <a:lnTo>
                    <a:pt x="3412" y="11"/>
                  </a:lnTo>
                  <a:lnTo>
                    <a:pt x="3318" y="19"/>
                  </a:lnTo>
                  <a:lnTo>
                    <a:pt x="3226" y="30"/>
                  </a:lnTo>
                  <a:lnTo>
                    <a:pt x="3134" y="43"/>
                  </a:lnTo>
                  <a:lnTo>
                    <a:pt x="3042" y="58"/>
                  </a:lnTo>
                  <a:lnTo>
                    <a:pt x="2952" y="76"/>
                  </a:lnTo>
                  <a:lnTo>
                    <a:pt x="2862" y="95"/>
                  </a:lnTo>
                  <a:lnTo>
                    <a:pt x="2773" y="117"/>
                  </a:lnTo>
                  <a:lnTo>
                    <a:pt x="2684" y="140"/>
                  </a:lnTo>
                  <a:lnTo>
                    <a:pt x="2597" y="167"/>
                  </a:lnTo>
                  <a:lnTo>
                    <a:pt x="2511" y="195"/>
                  </a:lnTo>
                  <a:lnTo>
                    <a:pt x="2425" y="224"/>
                  </a:lnTo>
                  <a:lnTo>
                    <a:pt x="2341" y="257"/>
                  </a:lnTo>
                  <a:lnTo>
                    <a:pt x="2258" y="291"/>
                  </a:lnTo>
                  <a:lnTo>
                    <a:pt x="2176" y="327"/>
                  </a:lnTo>
                  <a:lnTo>
                    <a:pt x="2094" y="364"/>
                  </a:lnTo>
                  <a:lnTo>
                    <a:pt x="2014" y="404"/>
                  </a:lnTo>
                  <a:lnTo>
                    <a:pt x="1935" y="446"/>
                  </a:lnTo>
                  <a:lnTo>
                    <a:pt x="1857" y="489"/>
                  </a:lnTo>
                  <a:lnTo>
                    <a:pt x="1780" y="535"/>
                  </a:lnTo>
                  <a:lnTo>
                    <a:pt x="1705" y="583"/>
                  </a:lnTo>
                  <a:lnTo>
                    <a:pt x="1630" y="632"/>
                  </a:lnTo>
                  <a:lnTo>
                    <a:pt x="1557" y="682"/>
                  </a:lnTo>
                  <a:lnTo>
                    <a:pt x="1486" y="734"/>
                  </a:lnTo>
                  <a:lnTo>
                    <a:pt x="1415" y="788"/>
                  </a:lnTo>
                  <a:lnTo>
                    <a:pt x="1345" y="845"/>
                  </a:lnTo>
                  <a:lnTo>
                    <a:pt x="1278" y="902"/>
                  </a:lnTo>
                  <a:lnTo>
                    <a:pt x="1211" y="960"/>
                  </a:lnTo>
                  <a:lnTo>
                    <a:pt x="1147" y="1021"/>
                  </a:lnTo>
                  <a:lnTo>
                    <a:pt x="1083" y="1083"/>
                  </a:lnTo>
                  <a:lnTo>
                    <a:pt x="1021" y="1147"/>
                  </a:lnTo>
                  <a:lnTo>
                    <a:pt x="960" y="1211"/>
                  </a:lnTo>
                  <a:lnTo>
                    <a:pt x="902" y="1278"/>
                  </a:lnTo>
                  <a:lnTo>
                    <a:pt x="845" y="1345"/>
                  </a:lnTo>
                  <a:lnTo>
                    <a:pt x="788" y="1414"/>
                  </a:lnTo>
                  <a:lnTo>
                    <a:pt x="735" y="1485"/>
                  </a:lnTo>
                  <a:lnTo>
                    <a:pt x="682" y="1556"/>
                  </a:lnTo>
                  <a:lnTo>
                    <a:pt x="632" y="1630"/>
                  </a:lnTo>
                  <a:lnTo>
                    <a:pt x="583" y="1704"/>
                  </a:lnTo>
                  <a:lnTo>
                    <a:pt x="535" y="1779"/>
                  </a:lnTo>
                  <a:lnTo>
                    <a:pt x="490" y="1856"/>
                  </a:lnTo>
                  <a:lnTo>
                    <a:pt x="446" y="1934"/>
                  </a:lnTo>
                  <a:lnTo>
                    <a:pt x="404" y="2014"/>
                  </a:lnTo>
                  <a:lnTo>
                    <a:pt x="364" y="2094"/>
                  </a:lnTo>
                  <a:lnTo>
                    <a:pt x="327" y="2176"/>
                  </a:lnTo>
                  <a:lnTo>
                    <a:pt x="291" y="2258"/>
                  </a:lnTo>
                  <a:lnTo>
                    <a:pt x="257" y="2341"/>
                  </a:lnTo>
                  <a:lnTo>
                    <a:pt x="225" y="2425"/>
                  </a:lnTo>
                  <a:lnTo>
                    <a:pt x="195" y="2510"/>
                  </a:lnTo>
                  <a:lnTo>
                    <a:pt x="167" y="2597"/>
                  </a:lnTo>
                  <a:lnTo>
                    <a:pt x="140" y="2684"/>
                  </a:lnTo>
                  <a:lnTo>
                    <a:pt x="117" y="2773"/>
                  </a:lnTo>
                  <a:lnTo>
                    <a:pt x="95" y="2862"/>
                  </a:lnTo>
                  <a:lnTo>
                    <a:pt x="76" y="2952"/>
                  </a:lnTo>
                  <a:lnTo>
                    <a:pt x="58" y="3042"/>
                  </a:lnTo>
                  <a:lnTo>
                    <a:pt x="43" y="3133"/>
                  </a:lnTo>
                  <a:lnTo>
                    <a:pt x="30" y="3225"/>
                  </a:lnTo>
                  <a:lnTo>
                    <a:pt x="19" y="3318"/>
                  </a:lnTo>
                  <a:lnTo>
                    <a:pt x="11" y="3411"/>
                  </a:lnTo>
                  <a:lnTo>
                    <a:pt x="5" y="3506"/>
                  </a:lnTo>
                  <a:lnTo>
                    <a:pt x="2" y="3601"/>
                  </a:lnTo>
                  <a:lnTo>
                    <a:pt x="0" y="3696"/>
                  </a:lnTo>
                  <a:lnTo>
                    <a:pt x="0" y="3696"/>
                  </a:lnTo>
                  <a:lnTo>
                    <a:pt x="2" y="3791"/>
                  </a:lnTo>
                  <a:lnTo>
                    <a:pt x="5" y="3886"/>
                  </a:lnTo>
                  <a:lnTo>
                    <a:pt x="11" y="3981"/>
                  </a:lnTo>
                  <a:lnTo>
                    <a:pt x="19" y="4074"/>
                  </a:lnTo>
                  <a:lnTo>
                    <a:pt x="30" y="4167"/>
                  </a:lnTo>
                  <a:lnTo>
                    <a:pt x="43" y="4259"/>
                  </a:lnTo>
                  <a:lnTo>
                    <a:pt x="58" y="4350"/>
                  </a:lnTo>
                  <a:lnTo>
                    <a:pt x="76" y="4441"/>
                  </a:lnTo>
                  <a:lnTo>
                    <a:pt x="95" y="4530"/>
                  </a:lnTo>
                  <a:lnTo>
                    <a:pt x="117" y="4619"/>
                  </a:lnTo>
                  <a:lnTo>
                    <a:pt x="140" y="4708"/>
                  </a:lnTo>
                  <a:lnTo>
                    <a:pt x="167" y="4796"/>
                  </a:lnTo>
                  <a:lnTo>
                    <a:pt x="195" y="4882"/>
                  </a:lnTo>
                  <a:lnTo>
                    <a:pt x="225" y="4967"/>
                  </a:lnTo>
                  <a:lnTo>
                    <a:pt x="257" y="5052"/>
                  </a:lnTo>
                  <a:lnTo>
                    <a:pt x="291" y="5134"/>
                  </a:lnTo>
                  <a:lnTo>
                    <a:pt x="327" y="5217"/>
                  </a:lnTo>
                  <a:lnTo>
                    <a:pt x="364" y="5298"/>
                  </a:lnTo>
                  <a:lnTo>
                    <a:pt x="404" y="5379"/>
                  </a:lnTo>
                  <a:lnTo>
                    <a:pt x="446" y="5458"/>
                  </a:lnTo>
                  <a:lnTo>
                    <a:pt x="490" y="5536"/>
                  </a:lnTo>
                  <a:lnTo>
                    <a:pt x="535" y="5613"/>
                  </a:lnTo>
                  <a:lnTo>
                    <a:pt x="583" y="5688"/>
                  </a:lnTo>
                  <a:lnTo>
                    <a:pt x="632" y="5763"/>
                  </a:lnTo>
                  <a:lnTo>
                    <a:pt x="682" y="5836"/>
                  </a:lnTo>
                  <a:lnTo>
                    <a:pt x="735" y="5907"/>
                  </a:lnTo>
                  <a:lnTo>
                    <a:pt x="788" y="5978"/>
                  </a:lnTo>
                  <a:lnTo>
                    <a:pt x="845" y="6048"/>
                  </a:lnTo>
                  <a:lnTo>
                    <a:pt x="902" y="6115"/>
                  </a:lnTo>
                  <a:lnTo>
                    <a:pt x="960" y="6181"/>
                  </a:lnTo>
                  <a:lnTo>
                    <a:pt x="1021" y="6246"/>
                  </a:lnTo>
                  <a:lnTo>
                    <a:pt x="1083" y="6310"/>
                  </a:lnTo>
                  <a:lnTo>
                    <a:pt x="1147" y="6371"/>
                  </a:lnTo>
                  <a:lnTo>
                    <a:pt x="1211" y="6432"/>
                  </a:lnTo>
                  <a:lnTo>
                    <a:pt x="1278" y="6491"/>
                  </a:lnTo>
                  <a:lnTo>
                    <a:pt x="1345" y="6548"/>
                  </a:lnTo>
                  <a:lnTo>
                    <a:pt x="1415" y="6604"/>
                  </a:lnTo>
                  <a:lnTo>
                    <a:pt x="1486" y="6658"/>
                  </a:lnTo>
                  <a:lnTo>
                    <a:pt x="1557" y="6710"/>
                  </a:lnTo>
                  <a:lnTo>
                    <a:pt x="1630" y="6761"/>
                  </a:lnTo>
                  <a:lnTo>
                    <a:pt x="1705" y="6809"/>
                  </a:lnTo>
                  <a:lnTo>
                    <a:pt x="1780" y="6858"/>
                  </a:lnTo>
                  <a:lnTo>
                    <a:pt x="1857" y="6903"/>
                  </a:lnTo>
                  <a:lnTo>
                    <a:pt x="1935" y="6947"/>
                  </a:lnTo>
                  <a:lnTo>
                    <a:pt x="2014" y="6988"/>
                  </a:lnTo>
                  <a:lnTo>
                    <a:pt x="2094" y="7028"/>
                  </a:lnTo>
                  <a:lnTo>
                    <a:pt x="2176" y="7065"/>
                  </a:lnTo>
                  <a:lnTo>
                    <a:pt x="2258" y="7102"/>
                  </a:lnTo>
                  <a:lnTo>
                    <a:pt x="2341" y="7136"/>
                  </a:lnTo>
                  <a:lnTo>
                    <a:pt x="2425" y="7168"/>
                  </a:lnTo>
                  <a:lnTo>
                    <a:pt x="2511" y="7198"/>
                  </a:lnTo>
                  <a:lnTo>
                    <a:pt x="2597" y="7226"/>
                  </a:lnTo>
                  <a:lnTo>
                    <a:pt x="2684" y="7252"/>
                  </a:lnTo>
                  <a:lnTo>
                    <a:pt x="2773" y="7276"/>
                  </a:lnTo>
                  <a:lnTo>
                    <a:pt x="2862" y="7298"/>
                  </a:lnTo>
                  <a:lnTo>
                    <a:pt x="2952" y="7317"/>
                  </a:lnTo>
                  <a:lnTo>
                    <a:pt x="3042" y="7335"/>
                  </a:lnTo>
                  <a:lnTo>
                    <a:pt x="3134" y="7350"/>
                  </a:lnTo>
                  <a:lnTo>
                    <a:pt x="3226" y="7362"/>
                  </a:lnTo>
                  <a:lnTo>
                    <a:pt x="3318" y="7374"/>
                  </a:lnTo>
                  <a:lnTo>
                    <a:pt x="3412" y="7382"/>
                  </a:lnTo>
                  <a:lnTo>
                    <a:pt x="3507" y="7388"/>
                  </a:lnTo>
                  <a:lnTo>
                    <a:pt x="3601" y="7391"/>
                  </a:lnTo>
                  <a:lnTo>
                    <a:pt x="3696" y="7392"/>
                  </a:lnTo>
                  <a:lnTo>
                    <a:pt x="3696" y="7392"/>
                  </a:lnTo>
                  <a:lnTo>
                    <a:pt x="3792" y="7391"/>
                  </a:lnTo>
                  <a:lnTo>
                    <a:pt x="3886" y="7388"/>
                  </a:lnTo>
                  <a:lnTo>
                    <a:pt x="3981" y="7382"/>
                  </a:lnTo>
                  <a:lnTo>
                    <a:pt x="4075" y="7374"/>
                  </a:lnTo>
                  <a:lnTo>
                    <a:pt x="4167" y="7362"/>
                  </a:lnTo>
                  <a:lnTo>
                    <a:pt x="4259" y="7350"/>
                  </a:lnTo>
                  <a:lnTo>
                    <a:pt x="4350" y="7335"/>
                  </a:lnTo>
                  <a:lnTo>
                    <a:pt x="4441" y="7317"/>
                  </a:lnTo>
                  <a:lnTo>
                    <a:pt x="4531" y="7298"/>
                  </a:lnTo>
                  <a:lnTo>
                    <a:pt x="4621" y="7276"/>
                  </a:lnTo>
                  <a:lnTo>
                    <a:pt x="4709" y="7252"/>
                  </a:lnTo>
                  <a:lnTo>
                    <a:pt x="4796" y="7226"/>
                  </a:lnTo>
                  <a:lnTo>
                    <a:pt x="4882" y="7198"/>
                  </a:lnTo>
                  <a:lnTo>
                    <a:pt x="4968" y="7168"/>
                  </a:lnTo>
                  <a:lnTo>
                    <a:pt x="5052" y="7136"/>
                  </a:lnTo>
                  <a:lnTo>
                    <a:pt x="5135" y="7102"/>
                  </a:lnTo>
                  <a:lnTo>
                    <a:pt x="5217" y="7065"/>
                  </a:lnTo>
                  <a:lnTo>
                    <a:pt x="5299" y="7028"/>
                  </a:lnTo>
                  <a:lnTo>
                    <a:pt x="5379" y="6988"/>
                  </a:lnTo>
                  <a:lnTo>
                    <a:pt x="5458" y="6947"/>
                  </a:lnTo>
                  <a:lnTo>
                    <a:pt x="5536" y="6903"/>
                  </a:lnTo>
                  <a:lnTo>
                    <a:pt x="5613" y="6858"/>
                  </a:lnTo>
                  <a:lnTo>
                    <a:pt x="5688" y="6809"/>
                  </a:lnTo>
                  <a:lnTo>
                    <a:pt x="5763" y="6761"/>
                  </a:lnTo>
                  <a:lnTo>
                    <a:pt x="5836" y="6710"/>
                  </a:lnTo>
                  <a:lnTo>
                    <a:pt x="5907" y="6658"/>
                  </a:lnTo>
                  <a:lnTo>
                    <a:pt x="5978" y="6604"/>
                  </a:lnTo>
                  <a:lnTo>
                    <a:pt x="6048" y="6548"/>
                  </a:lnTo>
                  <a:lnTo>
                    <a:pt x="6115" y="6491"/>
                  </a:lnTo>
                  <a:lnTo>
                    <a:pt x="6182" y="6432"/>
                  </a:lnTo>
                  <a:lnTo>
                    <a:pt x="6246" y="6371"/>
                  </a:lnTo>
                  <a:lnTo>
                    <a:pt x="6310" y="6310"/>
                  </a:lnTo>
                  <a:lnTo>
                    <a:pt x="6372" y="6246"/>
                  </a:lnTo>
                  <a:lnTo>
                    <a:pt x="6433" y="6181"/>
                  </a:lnTo>
                  <a:lnTo>
                    <a:pt x="6491" y="6115"/>
                  </a:lnTo>
                  <a:lnTo>
                    <a:pt x="6548" y="6048"/>
                  </a:lnTo>
                  <a:lnTo>
                    <a:pt x="6605" y="5978"/>
                  </a:lnTo>
                  <a:lnTo>
                    <a:pt x="6658" y="5907"/>
                  </a:lnTo>
                  <a:lnTo>
                    <a:pt x="6710" y="5836"/>
                  </a:lnTo>
                  <a:lnTo>
                    <a:pt x="6761" y="5763"/>
                  </a:lnTo>
                  <a:lnTo>
                    <a:pt x="6810" y="5688"/>
                  </a:lnTo>
                  <a:lnTo>
                    <a:pt x="6858" y="5613"/>
                  </a:lnTo>
                  <a:lnTo>
                    <a:pt x="6903" y="5536"/>
                  </a:lnTo>
                  <a:lnTo>
                    <a:pt x="6947" y="5458"/>
                  </a:lnTo>
                  <a:lnTo>
                    <a:pt x="6989" y="5379"/>
                  </a:lnTo>
                  <a:lnTo>
                    <a:pt x="7028" y="5298"/>
                  </a:lnTo>
                  <a:lnTo>
                    <a:pt x="7066" y="5217"/>
                  </a:lnTo>
                  <a:lnTo>
                    <a:pt x="7102" y="5134"/>
                  </a:lnTo>
                  <a:lnTo>
                    <a:pt x="7136" y="5052"/>
                  </a:lnTo>
                  <a:lnTo>
                    <a:pt x="7168" y="4967"/>
                  </a:lnTo>
                  <a:lnTo>
                    <a:pt x="7198" y="4882"/>
                  </a:lnTo>
                  <a:lnTo>
                    <a:pt x="7226" y="4796"/>
                  </a:lnTo>
                  <a:lnTo>
                    <a:pt x="7253" y="4708"/>
                  </a:lnTo>
                  <a:lnTo>
                    <a:pt x="7276" y="4619"/>
                  </a:lnTo>
                  <a:lnTo>
                    <a:pt x="7298" y="4530"/>
                  </a:lnTo>
                  <a:lnTo>
                    <a:pt x="7317" y="4441"/>
                  </a:lnTo>
                  <a:lnTo>
                    <a:pt x="7335" y="4350"/>
                  </a:lnTo>
                  <a:lnTo>
                    <a:pt x="7350" y="4259"/>
                  </a:lnTo>
                  <a:lnTo>
                    <a:pt x="7362" y="4167"/>
                  </a:lnTo>
                  <a:lnTo>
                    <a:pt x="7374" y="4074"/>
                  </a:lnTo>
                  <a:lnTo>
                    <a:pt x="7382" y="3981"/>
                  </a:lnTo>
                  <a:lnTo>
                    <a:pt x="7388" y="3886"/>
                  </a:lnTo>
                  <a:lnTo>
                    <a:pt x="7391" y="3791"/>
                  </a:lnTo>
                  <a:lnTo>
                    <a:pt x="7392" y="3696"/>
                  </a:lnTo>
                  <a:lnTo>
                    <a:pt x="7392" y="3696"/>
                  </a:lnTo>
                  <a:lnTo>
                    <a:pt x="7391" y="3601"/>
                  </a:lnTo>
                  <a:lnTo>
                    <a:pt x="7388" y="3506"/>
                  </a:lnTo>
                  <a:lnTo>
                    <a:pt x="7382" y="3411"/>
                  </a:lnTo>
                  <a:lnTo>
                    <a:pt x="7374" y="3318"/>
                  </a:lnTo>
                  <a:lnTo>
                    <a:pt x="7362" y="3225"/>
                  </a:lnTo>
                  <a:lnTo>
                    <a:pt x="7350" y="3133"/>
                  </a:lnTo>
                  <a:lnTo>
                    <a:pt x="7335" y="3042"/>
                  </a:lnTo>
                  <a:lnTo>
                    <a:pt x="7317" y="2952"/>
                  </a:lnTo>
                  <a:lnTo>
                    <a:pt x="7298" y="2862"/>
                  </a:lnTo>
                  <a:lnTo>
                    <a:pt x="7276" y="2773"/>
                  </a:lnTo>
                  <a:lnTo>
                    <a:pt x="7253" y="2684"/>
                  </a:lnTo>
                  <a:lnTo>
                    <a:pt x="7226" y="2597"/>
                  </a:lnTo>
                  <a:lnTo>
                    <a:pt x="7198" y="2510"/>
                  </a:lnTo>
                  <a:lnTo>
                    <a:pt x="7168" y="2425"/>
                  </a:lnTo>
                  <a:lnTo>
                    <a:pt x="7136" y="2341"/>
                  </a:lnTo>
                  <a:lnTo>
                    <a:pt x="7102" y="2258"/>
                  </a:lnTo>
                  <a:lnTo>
                    <a:pt x="7066" y="2176"/>
                  </a:lnTo>
                  <a:lnTo>
                    <a:pt x="7028" y="2094"/>
                  </a:lnTo>
                  <a:lnTo>
                    <a:pt x="6989" y="2014"/>
                  </a:lnTo>
                  <a:lnTo>
                    <a:pt x="6947" y="1934"/>
                  </a:lnTo>
                  <a:lnTo>
                    <a:pt x="6903" y="1856"/>
                  </a:lnTo>
                  <a:lnTo>
                    <a:pt x="6858" y="1779"/>
                  </a:lnTo>
                  <a:lnTo>
                    <a:pt x="6810" y="1704"/>
                  </a:lnTo>
                  <a:lnTo>
                    <a:pt x="6761" y="1630"/>
                  </a:lnTo>
                  <a:lnTo>
                    <a:pt x="6710" y="1556"/>
                  </a:lnTo>
                  <a:lnTo>
                    <a:pt x="6658" y="1485"/>
                  </a:lnTo>
                  <a:lnTo>
                    <a:pt x="6605" y="1414"/>
                  </a:lnTo>
                  <a:lnTo>
                    <a:pt x="6548" y="1345"/>
                  </a:lnTo>
                  <a:lnTo>
                    <a:pt x="6491" y="1278"/>
                  </a:lnTo>
                  <a:lnTo>
                    <a:pt x="6433" y="1211"/>
                  </a:lnTo>
                  <a:lnTo>
                    <a:pt x="6372" y="1147"/>
                  </a:lnTo>
                  <a:lnTo>
                    <a:pt x="6310" y="1083"/>
                  </a:lnTo>
                  <a:lnTo>
                    <a:pt x="6246" y="1021"/>
                  </a:lnTo>
                  <a:lnTo>
                    <a:pt x="6182" y="960"/>
                  </a:lnTo>
                  <a:lnTo>
                    <a:pt x="6115" y="902"/>
                  </a:lnTo>
                  <a:lnTo>
                    <a:pt x="6048" y="845"/>
                  </a:lnTo>
                  <a:lnTo>
                    <a:pt x="5978" y="788"/>
                  </a:lnTo>
                  <a:lnTo>
                    <a:pt x="5907" y="734"/>
                  </a:lnTo>
                  <a:lnTo>
                    <a:pt x="5836" y="682"/>
                  </a:lnTo>
                  <a:lnTo>
                    <a:pt x="5763" y="632"/>
                  </a:lnTo>
                  <a:lnTo>
                    <a:pt x="5688" y="583"/>
                  </a:lnTo>
                  <a:lnTo>
                    <a:pt x="5613" y="535"/>
                  </a:lnTo>
                  <a:lnTo>
                    <a:pt x="5536" y="489"/>
                  </a:lnTo>
                  <a:lnTo>
                    <a:pt x="5458" y="446"/>
                  </a:lnTo>
                  <a:lnTo>
                    <a:pt x="5379" y="404"/>
                  </a:lnTo>
                  <a:lnTo>
                    <a:pt x="5299" y="364"/>
                  </a:lnTo>
                  <a:lnTo>
                    <a:pt x="5217" y="327"/>
                  </a:lnTo>
                  <a:lnTo>
                    <a:pt x="5135" y="291"/>
                  </a:lnTo>
                  <a:lnTo>
                    <a:pt x="5052" y="257"/>
                  </a:lnTo>
                  <a:lnTo>
                    <a:pt x="4968" y="224"/>
                  </a:lnTo>
                  <a:lnTo>
                    <a:pt x="4882" y="195"/>
                  </a:lnTo>
                  <a:lnTo>
                    <a:pt x="4796" y="167"/>
                  </a:lnTo>
                  <a:lnTo>
                    <a:pt x="4709" y="140"/>
                  </a:lnTo>
                  <a:lnTo>
                    <a:pt x="4621" y="117"/>
                  </a:lnTo>
                  <a:lnTo>
                    <a:pt x="4531" y="95"/>
                  </a:lnTo>
                  <a:lnTo>
                    <a:pt x="4441" y="76"/>
                  </a:lnTo>
                  <a:lnTo>
                    <a:pt x="4350" y="58"/>
                  </a:lnTo>
                  <a:lnTo>
                    <a:pt x="4259" y="43"/>
                  </a:lnTo>
                  <a:lnTo>
                    <a:pt x="4167" y="30"/>
                  </a:lnTo>
                  <a:lnTo>
                    <a:pt x="4075" y="19"/>
                  </a:lnTo>
                  <a:lnTo>
                    <a:pt x="3981" y="11"/>
                  </a:lnTo>
                  <a:lnTo>
                    <a:pt x="3886" y="5"/>
                  </a:lnTo>
                  <a:lnTo>
                    <a:pt x="3792" y="1"/>
                  </a:lnTo>
                  <a:lnTo>
                    <a:pt x="3696" y="0"/>
                  </a:lnTo>
                  <a:lnTo>
                    <a:pt x="3696" y="0"/>
                  </a:lnTo>
                  <a:close/>
                  <a:moveTo>
                    <a:pt x="4469" y="1768"/>
                  </a:moveTo>
                  <a:lnTo>
                    <a:pt x="4469" y="1768"/>
                  </a:lnTo>
                  <a:lnTo>
                    <a:pt x="4500" y="1768"/>
                  </a:lnTo>
                  <a:lnTo>
                    <a:pt x="4530" y="1770"/>
                  </a:lnTo>
                  <a:lnTo>
                    <a:pt x="4561" y="1772"/>
                  </a:lnTo>
                  <a:lnTo>
                    <a:pt x="4591" y="1775"/>
                  </a:lnTo>
                  <a:lnTo>
                    <a:pt x="4622" y="1779"/>
                  </a:lnTo>
                  <a:lnTo>
                    <a:pt x="4651" y="1783"/>
                  </a:lnTo>
                  <a:lnTo>
                    <a:pt x="4681" y="1789"/>
                  </a:lnTo>
                  <a:lnTo>
                    <a:pt x="4711" y="1794"/>
                  </a:lnTo>
                  <a:lnTo>
                    <a:pt x="4739" y="1801"/>
                  </a:lnTo>
                  <a:lnTo>
                    <a:pt x="4769" y="1808"/>
                  </a:lnTo>
                  <a:lnTo>
                    <a:pt x="4798" y="1815"/>
                  </a:lnTo>
                  <a:lnTo>
                    <a:pt x="4825" y="1824"/>
                  </a:lnTo>
                  <a:lnTo>
                    <a:pt x="4854" y="1833"/>
                  </a:lnTo>
                  <a:lnTo>
                    <a:pt x="4882" y="1843"/>
                  </a:lnTo>
                  <a:lnTo>
                    <a:pt x="4908" y="1853"/>
                  </a:lnTo>
                  <a:lnTo>
                    <a:pt x="4936" y="1864"/>
                  </a:lnTo>
                  <a:lnTo>
                    <a:pt x="4962" y="1876"/>
                  </a:lnTo>
                  <a:lnTo>
                    <a:pt x="4989" y="1888"/>
                  </a:lnTo>
                  <a:lnTo>
                    <a:pt x="5015" y="1901"/>
                  </a:lnTo>
                  <a:lnTo>
                    <a:pt x="5040" y="1915"/>
                  </a:lnTo>
                  <a:lnTo>
                    <a:pt x="5066" y="1928"/>
                  </a:lnTo>
                  <a:lnTo>
                    <a:pt x="5090" y="1942"/>
                  </a:lnTo>
                  <a:lnTo>
                    <a:pt x="5115" y="1958"/>
                  </a:lnTo>
                  <a:lnTo>
                    <a:pt x="5140" y="1973"/>
                  </a:lnTo>
                  <a:lnTo>
                    <a:pt x="5163" y="1989"/>
                  </a:lnTo>
                  <a:lnTo>
                    <a:pt x="5187" y="2007"/>
                  </a:lnTo>
                  <a:lnTo>
                    <a:pt x="5209" y="2023"/>
                  </a:lnTo>
                  <a:lnTo>
                    <a:pt x="5232" y="2042"/>
                  </a:lnTo>
                  <a:lnTo>
                    <a:pt x="5254" y="2060"/>
                  </a:lnTo>
                  <a:lnTo>
                    <a:pt x="5276" y="2078"/>
                  </a:lnTo>
                  <a:lnTo>
                    <a:pt x="5296" y="2098"/>
                  </a:lnTo>
                  <a:lnTo>
                    <a:pt x="5317" y="2117"/>
                  </a:lnTo>
                  <a:lnTo>
                    <a:pt x="5337" y="2138"/>
                  </a:lnTo>
                  <a:lnTo>
                    <a:pt x="5357" y="2158"/>
                  </a:lnTo>
                  <a:lnTo>
                    <a:pt x="5376" y="2180"/>
                  </a:lnTo>
                  <a:lnTo>
                    <a:pt x="5395" y="2201"/>
                  </a:lnTo>
                  <a:lnTo>
                    <a:pt x="5412" y="2224"/>
                  </a:lnTo>
                  <a:lnTo>
                    <a:pt x="5429" y="2246"/>
                  </a:lnTo>
                  <a:lnTo>
                    <a:pt x="5447" y="2269"/>
                  </a:lnTo>
                  <a:lnTo>
                    <a:pt x="5463" y="2292"/>
                  </a:lnTo>
                  <a:lnTo>
                    <a:pt x="5478" y="2317"/>
                  </a:lnTo>
                  <a:lnTo>
                    <a:pt x="5494" y="2340"/>
                  </a:lnTo>
                  <a:lnTo>
                    <a:pt x="5509" y="2365"/>
                  </a:lnTo>
                  <a:lnTo>
                    <a:pt x="5522" y="2391"/>
                  </a:lnTo>
                  <a:lnTo>
                    <a:pt x="5536" y="2416"/>
                  </a:lnTo>
                  <a:lnTo>
                    <a:pt x="5549" y="2442"/>
                  </a:lnTo>
                  <a:lnTo>
                    <a:pt x="5561" y="2467"/>
                  </a:lnTo>
                  <a:lnTo>
                    <a:pt x="5573" y="2494"/>
                  </a:lnTo>
                  <a:lnTo>
                    <a:pt x="5584" y="2521"/>
                  </a:lnTo>
                  <a:lnTo>
                    <a:pt x="5594" y="2548"/>
                  </a:lnTo>
                  <a:lnTo>
                    <a:pt x="5603" y="2576"/>
                  </a:lnTo>
                  <a:lnTo>
                    <a:pt x="5613" y="2604"/>
                  </a:lnTo>
                  <a:lnTo>
                    <a:pt x="5621" y="2632"/>
                  </a:lnTo>
                  <a:lnTo>
                    <a:pt x="5629" y="2660"/>
                  </a:lnTo>
                  <a:lnTo>
                    <a:pt x="5635" y="2689"/>
                  </a:lnTo>
                  <a:lnTo>
                    <a:pt x="5641" y="2718"/>
                  </a:lnTo>
                  <a:lnTo>
                    <a:pt x="5647" y="2747"/>
                  </a:lnTo>
                  <a:lnTo>
                    <a:pt x="5652" y="2777"/>
                  </a:lnTo>
                  <a:lnTo>
                    <a:pt x="5656" y="2807"/>
                  </a:lnTo>
                  <a:lnTo>
                    <a:pt x="5659" y="2837"/>
                  </a:lnTo>
                  <a:lnTo>
                    <a:pt x="5662" y="2868"/>
                  </a:lnTo>
                  <a:lnTo>
                    <a:pt x="5664" y="2898"/>
                  </a:lnTo>
                  <a:lnTo>
                    <a:pt x="5664" y="2929"/>
                  </a:lnTo>
                  <a:lnTo>
                    <a:pt x="5665" y="2960"/>
                  </a:lnTo>
                  <a:lnTo>
                    <a:pt x="5665" y="2960"/>
                  </a:lnTo>
                  <a:lnTo>
                    <a:pt x="5664" y="2991"/>
                  </a:lnTo>
                  <a:lnTo>
                    <a:pt x="5663" y="3020"/>
                  </a:lnTo>
                  <a:lnTo>
                    <a:pt x="5661" y="3050"/>
                  </a:lnTo>
                  <a:lnTo>
                    <a:pt x="5658" y="3080"/>
                  </a:lnTo>
                  <a:lnTo>
                    <a:pt x="5654" y="3108"/>
                  </a:lnTo>
                  <a:lnTo>
                    <a:pt x="5649" y="3138"/>
                  </a:lnTo>
                  <a:lnTo>
                    <a:pt x="5644" y="3167"/>
                  </a:lnTo>
                  <a:lnTo>
                    <a:pt x="5639" y="3195"/>
                  </a:lnTo>
                  <a:lnTo>
                    <a:pt x="5633" y="3224"/>
                  </a:lnTo>
                  <a:lnTo>
                    <a:pt x="5626" y="3253"/>
                  </a:lnTo>
                  <a:lnTo>
                    <a:pt x="5618" y="3280"/>
                  </a:lnTo>
                  <a:lnTo>
                    <a:pt x="5610" y="3308"/>
                  </a:lnTo>
                  <a:lnTo>
                    <a:pt x="5600" y="3336"/>
                  </a:lnTo>
                  <a:lnTo>
                    <a:pt x="5591" y="3363"/>
                  </a:lnTo>
                  <a:lnTo>
                    <a:pt x="5580" y="3390"/>
                  </a:lnTo>
                  <a:lnTo>
                    <a:pt x="5570" y="3418"/>
                  </a:lnTo>
                  <a:lnTo>
                    <a:pt x="5557" y="3443"/>
                  </a:lnTo>
                  <a:lnTo>
                    <a:pt x="5545" y="3470"/>
                  </a:lnTo>
                  <a:lnTo>
                    <a:pt x="5533" y="3495"/>
                  </a:lnTo>
                  <a:lnTo>
                    <a:pt x="5519" y="3521"/>
                  </a:lnTo>
                  <a:lnTo>
                    <a:pt x="5505" y="3547"/>
                  </a:lnTo>
                  <a:lnTo>
                    <a:pt x="5491" y="3571"/>
                  </a:lnTo>
                  <a:lnTo>
                    <a:pt x="5475" y="3596"/>
                  </a:lnTo>
                  <a:lnTo>
                    <a:pt x="5460" y="3619"/>
                  </a:lnTo>
                  <a:lnTo>
                    <a:pt x="5444" y="3643"/>
                  </a:lnTo>
                  <a:lnTo>
                    <a:pt x="5426" y="3666"/>
                  </a:lnTo>
                  <a:lnTo>
                    <a:pt x="5409" y="3689"/>
                  </a:lnTo>
                  <a:lnTo>
                    <a:pt x="5391" y="3711"/>
                  </a:lnTo>
                  <a:lnTo>
                    <a:pt x="5373" y="3734"/>
                  </a:lnTo>
                  <a:lnTo>
                    <a:pt x="5354" y="3755"/>
                  </a:lnTo>
                  <a:lnTo>
                    <a:pt x="5334" y="3777"/>
                  </a:lnTo>
                  <a:lnTo>
                    <a:pt x="5315" y="3797"/>
                  </a:lnTo>
                  <a:lnTo>
                    <a:pt x="5294" y="3817"/>
                  </a:lnTo>
                  <a:lnTo>
                    <a:pt x="5273" y="3837"/>
                  </a:lnTo>
                  <a:lnTo>
                    <a:pt x="5251" y="3856"/>
                  </a:lnTo>
                  <a:lnTo>
                    <a:pt x="5230" y="3875"/>
                  </a:lnTo>
                  <a:lnTo>
                    <a:pt x="5207" y="3894"/>
                  </a:lnTo>
                  <a:lnTo>
                    <a:pt x="5185" y="3911"/>
                  </a:lnTo>
                  <a:lnTo>
                    <a:pt x="5161" y="3928"/>
                  </a:lnTo>
                  <a:lnTo>
                    <a:pt x="5138" y="3945"/>
                  </a:lnTo>
                  <a:lnTo>
                    <a:pt x="5114" y="3960"/>
                  </a:lnTo>
                  <a:lnTo>
                    <a:pt x="5089" y="3977"/>
                  </a:lnTo>
                  <a:lnTo>
                    <a:pt x="5065" y="3991"/>
                  </a:lnTo>
                  <a:lnTo>
                    <a:pt x="5039" y="4005"/>
                  </a:lnTo>
                  <a:lnTo>
                    <a:pt x="5014" y="4019"/>
                  </a:lnTo>
                  <a:lnTo>
                    <a:pt x="4987" y="4032"/>
                  </a:lnTo>
                  <a:lnTo>
                    <a:pt x="4961" y="4044"/>
                  </a:lnTo>
                  <a:lnTo>
                    <a:pt x="4934" y="4056"/>
                  </a:lnTo>
                  <a:lnTo>
                    <a:pt x="4907" y="4068"/>
                  </a:lnTo>
                  <a:lnTo>
                    <a:pt x="4880" y="4078"/>
                  </a:lnTo>
                  <a:lnTo>
                    <a:pt x="4852" y="4088"/>
                  </a:lnTo>
                  <a:lnTo>
                    <a:pt x="4823" y="4097"/>
                  </a:lnTo>
                  <a:lnTo>
                    <a:pt x="4796" y="4106"/>
                  </a:lnTo>
                  <a:lnTo>
                    <a:pt x="4767" y="4114"/>
                  </a:lnTo>
                  <a:lnTo>
                    <a:pt x="4737" y="4121"/>
                  </a:lnTo>
                  <a:lnTo>
                    <a:pt x="4708" y="4127"/>
                  </a:lnTo>
                  <a:lnTo>
                    <a:pt x="4678" y="4133"/>
                  </a:lnTo>
                  <a:lnTo>
                    <a:pt x="4648" y="4138"/>
                  </a:lnTo>
                  <a:lnTo>
                    <a:pt x="4618" y="4142"/>
                  </a:lnTo>
                  <a:lnTo>
                    <a:pt x="4588" y="4145"/>
                  </a:lnTo>
                  <a:lnTo>
                    <a:pt x="4557" y="4149"/>
                  </a:lnTo>
                  <a:lnTo>
                    <a:pt x="4526" y="4151"/>
                  </a:lnTo>
                  <a:lnTo>
                    <a:pt x="4495" y="4152"/>
                  </a:lnTo>
                  <a:lnTo>
                    <a:pt x="4464" y="4152"/>
                  </a:lnTo>
                  <a:lnTo>
                    <a:pt x="4464" y="4152"/>
                  </a:lnTo>
                  <a:lnTo>
                    <a:pt x="4432" y="4152"/>
                  </a:lnTo>
                  <a:lnTo>
                    <a:pt x="4401" y="4151"/>
                  </a:lnTo>
                  <a:lnTo>
                    <a:pt x="4371" y="4149"/>
                  </a:lnTo>
                  <a:lnTo>
                    <a:pt x="4340" y="4145"/>
                  </a:lnTo>
                  <a:lnTo>
                    <a:pt x="4310" y="4142"/>
                  </a:lnTo>
                  <a:lnTo>
                    <a:pt x="4281" y="4138"/>
                  </a:lnTo>
                  <a:lnTo>
                    <a:pt x="4251" y="4133"/>
                  </a:lnTo>
                  <a:lnTo>
                    <a:pt x="4221" y="4128"/>
                  </a:lnTo>
                  <a:lnTo>
                    <a:pt x="4193" y="4122"/>
                  </a:lnTo>
                  <a:lnTo>
                    <a:pt x="4164" y="4115"/>
                  </a:lnTo>
                  <a:lnTo>
                    <a:pt x="4135" y="4107"/>
                  </a:lnTo>
                  <a:lnTo>
                    <a:pt x="4107" y="4098"/>
                  </a:lnTo>
                  <a:lnTo>
                    <a:pt x="4079" y="4090"/>
                  </a:lnTo>
                  <a:lnTo>
                    <a:pt x="4051" y="4080"/>
                  </a:lnTo>
                  <a:lnTo>
                    <a:pt x="4025" y="4070"/>
                  </a:lnTo>
                  <a:lnTo>
                    <a:pt x="3997" y="4059"/>
                  </a:lnTo>
                  <a:lnTo>
                    <a:pt x="3971" y="4047"/>
                  </a:lnTo>
                  <a:lnTo>
                    <a:pt x="3945" y="4036"/>
                  </a:lnTo>
                  <a:lnTo>
                    <a:pt x="3919" y="4023"/>
                  </a:lnTo>
                  <a:lnTo>
                    <a:pt x="3894" y="4009"/>
                  </a:lnTo>
                  <a:lnTo>
                    <a:pt x="3869" y="3996"/>
                  </a:lnTo>
                  <a:lnTo>
                    <a:pt x="3844" y="3982"/>
                  </a:lnTo>
                  <a:lnTo>
                    <a:pt x="3820" y="3966"/>
                  </a:lnTo>
                  <a:lnTo>
                    <a:pt x="3796" y="3951"/>
                  </a:lnTo>
                  <a:lnTo>
                    <a:pt x="3773" y="3935"/>
                  </a:lnTo>
                  <a:lnTo>
                    <a:pt x="3750" y="3917"/>
                  </a:lnTo>
                  <a:lnTo>
                    <a:pt x="3728" y="3901"/>
                  </a:lnTo>
                  <a:lnTo>
                    <a:pt x="3706" y="3882"/>
                  </a:lnTo>
                  <a:lnTo>
                    <a:pt x="3685" y="3864"/>
                  </a:lnTo>
                  <a:lnTo>
                    <a:pt x="3663" y="3845"/>
                  </a:lnTo>
                  <a:lnTo>
                    <a:pt x="3643" y="3826"/>
                  </a:lnTo>
                  <a:lnTo>
                    <a:pt x="3622" y="3807"/>
                  </a:lnTo>
                  <a:lnTo>
                    <a:pt x="3603" y="3786"/>
                  </a:lnTo>
                  <a:lnTo>
                    <a:pt x="3583" y="3766"/>
                  </a:lnTo>
                  <a:lnTo>
                    <a:pt x="3565" y="3744"/>
                  </a:lnTo>
                  <a:lnTo>
                    <a:pt x="3548" y="3723"/>
                  </a:lnTo>
                  <a:lnTo>
                    <a:pt x="3529" y="3700"/>
                  </a:lnTo>
                  <a:lnTo>
                    <a:pt x="3513" y="3678"/>
                  </a:lnTo>
                  <a:lnTo>
                    <a:pt x="3496" y="3655"/>
                  </a:lnTo>
                  <a:lnTo>
                    <a:pt x="3480" y="3631"/>
                  </a:lnTo>
                  <a:lnTo>
                    <a:pt x="3465" y="3608"/>
                  </a:lnTo>
                  <a:lnTo>
                    <a:pt x="3449" y="3583"/>
                  </a:lnTo>
                  <a:lnTo>
                    <a:pt x="3436" y="3559"/>
                  </a:lnTo>
                  <a:lnTo>
                    <a:pt x="3422" y="3533"/>
                  </a:lnTo>
                  <a:lnTo>
                    <a:pt x="3408" y="3509"/>
                  </a:lnTo>
                  <a:lnTo>
                    <a:pt x="3396" y="3482"/>
                  </a:lnTo>
                  <a:lnTo>
                    <a:pt x="3384" y="3456"/>
                  </a:lnTo>
                  <a:lnTo>
                    <a:pt x="3372" y="3430"/>
                  </a:lnTo>
                  <a:lnTo>
                    <a:pt x="3362" y="3403"/>
                  </a:lnTo>
                  <a:lnTo>
                    <a:pt x="3352" y="3376"/>
                  </a:lnTo>
                  <a:lnTo>
                    <a:pt x="3343" y="3349"/>
                  </a:lnTo>
                  <a:lnTo>
                    <a:pt x="3334" y="3320"/>
                  </a:lnTo>
                  <a:lnTo>
                    <a:pt x="3326" y="3293"/>
                  </a:lnTo>
                  <a:lnTo>
                    <a:pt x="3318" y="3264"/>
                  </a:lnTo>
                  <a:lnTo>
                    <a:pt x="3312" y="3235"/>
                  </a:lnTo>
                  <a:lnTo>
                    <a:pt x="3306" y="3207"/>
                  </a:lnTo>
                  <a:lnTo>
                    <a:pt x="3301" y="3177"/>
                  </a:lnTo>
                  <a:lnTo>
                    <a:pt x="3296" y="3147"/>
                  </a:lnTo>
                  <a:lnTo>
                    <a:pt x="3292" y="3118"/>
                  </a:lnTo>
                  <a:lnTo>
                    <a:pt x="3289" y="3088"/>
                  </a:lnTo>
                  <a:lnTo>
                    <a:pt x="3285" y="3057"/>
                  </a:lnTo>
                  <a:lnTo>
                    <a:pt x="3284" y="3027"/>
                  </a:lnTo>
                  <a:lnTo>
                    <a:pt x="3283" y="2997"/>
                  </a:lnTo>
                  <a:lnTo>
                    <a:pt x="3282" y="2966"/>
                  </a:lnTo>
                  <a:lnTo>
                    <a:pt x="3282" y="2966"/>
                  </a:lnTo>
                  <a:lnTo>
                    <a:pt x="3283" y="2934"/>
                  </a:lnTo>
                  <a:lnTo>
                    <a:pt x="3284" y="2903"/>
                  </a:lnTo>
                  <a:lnTo>
                    <a:pt x="3286" y="2872"/>
                  </a:lnTo>
                  <a:lnTo>
                    <a:pt x="3290" y="2841"/>
                  </a:lnTo>
                  <a:lnTo>
                    <a:pt x="3293" y="2810"/>
                  </a:lnTo>
                  <a:lnTo>
                    <a:pt x="3297" y="2781"/>
                  </a:lnTo>
                  <a:lnTo>
                    <a:pt x="3302" y="2750"/>
                  </a:lnTo>
                  <a:lnTo>
                    <a:pt x="3307" y="2720"/>
                  </a:lnTo>
                  <a:lnTo>
                    <a:pt x="3314" y="2692"/>
                  </a:lnTo>
                  <a:lnTo>
                    <a:pt x="3320" y="2662"/>
                  </a:lnTo>
                  <a:lnTo>
                    <a:pt x="3328" y="2633"/>
                  </a:lnTo>
                  <a:lnTo>
                    <a:pt x="3337" y="2605"/>
                  </a:lnTo>
                  <a:lnTo>
                    <a:pt x="3346" y="2577"/>
                  </a:lnTo>
                  <a:lnTo>
                    <a:pt x="3356" y="2549"/>
                  </a:lnTo>
                  <a:lnTo>
                    <a:pt x="3366" y="2522"/>
                  </a:lnTo>
                  <a:lnTo>
                    <a:pt x="3378" y="2494"/>
                  </a:lnTo>
                  <a:lnTo>
                    <a:pt x="3389" y="2467"/>
                  </a:lnTo>
                  <a:lnTo>
                    <a:pt x="3401" y="2442"/>
                  </a:lnTo>
                  <a:lnTo>
                    <a:pt x="3414" y="2415"/>
                  </a:lnTo>
                  <a:lnTo>
                    <a:pt x="3428" y="2390"/>
                  </a:lnTo>
                  <a:lnTo>
                    <a:pt x="3442" y="2365"/>
                  </a:lnTo>
                  <a:lnTo>
                    <a:pt x="3456" y="2339"/>
                  </a:lnTo>
                  <a:lnTo>
                    <a:pt x="3472" y="2315"/>
                  </a:lnTo>
                  <a:lnTo>
                    <a:pt x="3487" y="2291"/>
                  </a:lnTo>
                  <a:lnTo>
                    <a:pt x="3504" y="2268"/>
                  </a:lnTo>
                  <a:lnTo>
                    <a:pt x="3521" y="2244"/>
                  </a:lnTo>
                  <a:lnTo>
                    <a:pt x="3538" y="2222"/>
                  </a:lnTo>
                  <a:lnTo>
                    <a:pt x="3556" y="2200"/>
                  </a:lnTo>
                  <a:lnTo>
                    <a:pt x="3574" y="2178"/>
                  </a:lnTo>
                  <a:lnTo>
                    <a:pt x="3594" y="2156"/>
                  </a:lnTo>
                  <a:lnTo>
                    <a:pt x="3613" y="2136"/>
                  </a:lnTo>
                  <a:lnTo>
                    <a:pt x="3633" y="2115"/>
                  </a:lnTo>
                  <a:lnTo>
                    <a:pt x="3653" y="2096"/>
                  </a:lnTo>
                  <a:lnTo>
                    <a:pt x="3674" y="2076"/>
                  </a:lnTo>
                  <a:lnTo>
                    <a:pt x="3695" y="2057"/>
                  </a:lnTo>
                  <a:lnTo>
                    <a:pt x="3718" y="2039"/>
                  </a:lnTo>
                  <a:lnTo>
                    <a:pt x="3739" y="2021"/>
                  </a:lnTo>
                  <a:lnTo>
                    <a:pt x="3762" y="2004"/>
                  </a:lnTo>
                  <a:lnTo>
                    <a:pt x="3785" y="1987"/>
                  </a:lnTo>
                  <a:lnTo>
                    <a:pt x="3809" y="1971"/>
                  </a:lnTo>
                  <a:lnTo>
                    <a:pt x="3832" y="1956"/>
                  </a:lnTo>
                  <a:lnTo>
                    <a:pt x="3857" y="1940"/>
                  </a:lnTo>
                  <a:lnTo>
                    <a:pt x="3881" y="1926"/>
                  </a:lnTo>
                  <a:lnTo>
                    <a:pt x="3906" y="1911"/>
                  </a:lnTo>
                  <a:lnTo>
                    <a:pt x="3931" y="1898"/>
                  </a:lnTo>
                  <a:lnTo>
                    <a:pt x="3957" y="1886"/>
                  </a:lnTo>
                  <a:lnTo>
                    <a:pt x="3984" y="1874"/>
                  </a:lnTo>
                  <a:lnTo>
                    <a:pt x="4009" y="1862"/>
                  </a:lnTo>
                  <a:lnTo>
                    <a:pt x="4036" y="1851"/>
                  </a:lnTo>
                  <a:lnTo>
                    <a:pt x="4064" y="1841"/>
                  </a:lnTo>
                  <a:lnTo>
                    <a:pt x="4090" y="1831"/>
                  </a:lnTo>
                  <a:lnTo>
                    <a:pt x="4118" y="1822"/>
                  </a:lnTo>
                  <a:lnTo>
                    <a:pt x="4146" y="1814"/>
                  </a:lnTo>
                  <a:lnTo>
                    <a:pt x="4174" y="1806"/>
                  </a:lnTo>
                  <a:lnTo>
                    <a:pt x="4203" y="1799"/>
                  </a:lnTo>
                  <a:lnTo>
                    <a:pt x="4231" y="1793"/>
                  </a:lnTo>
                  <a:lnTo>
                    <a:pt x="4260" y="1788"/>
                  </a:lnTo>
                  <a:lnTo>
                    <a:pt x="4290" y="1782"/>
                  </a:lnTo>
                  <a:lnTo>
                    <a:pt x="4318" y="1778"/>
                  </a:lnTo>
                  <a:lnTo>
                    <a:pt x="4348" y="1774"/>
                  </a:lnTo>
                  <a:lnTo>
                    <a:pt x="4378" y="1771"/>
                  </a:lnTo>
                  <a:lnTo>
                    <a:pt x="4408" y="1769"/>
                  </a:lnTo>
                  <a:lnTo>
                    <a:pt x="4438" y="1768"/>
                  </a:lnTo>
                  <a:lnTo>
                    <a:pt x="4469" y="1768"/>
                  </a:lnTo>
                  <a:lnTo>
                    <a:pt x="4469" y="1768"/>
                  </a:lnTo>
                  <a:close/>
                  <a:moveTo>
                    <a:pt x="5589" y="4755"/>
                  </a:moveTo>
                  <a:lnTo>
                    <a:pt x="5589" y="4755"/>
                  </a:lnTo>
                  <a:lnTo>
                    <a:pt x="5569" y="4775"/>
                  </a:lnTo>
                  <a:lnTo>
                    <a:pt x="5547" y="4794"/>
                  </a:lnTo>
                  <a:lnTo>
                    <a:pt x="5524" y="4811"/>
                  </a:lnTo>
                  <a:lnTo>
                    <a:pt x="5500" y="4827"/>
                  </a:lnTo>
                  <a:lnTo>
                    <a:pt x="5500" y="4827"/>
                  </a:lnTo>
                  <a:lnTo>
                    <a:pt x="5016" y="5129"/>
                  </a:lnTo>
                  <a:lnTo>
                    <a:pt x="4773" y="5280"/>
                  </a:lnTo>
                  <a:lnTo>
                    <a:pt x="4530" y="5429"/>
                  </a:lnTo>
                  <a:lnTo>
                    <a:pt x="4530" y="5429"/>
                  </a:lnTo>
                  <a:lnTo>
                    <a:pt x="4479" y="5459"/>
                  </a:lnTo>
                  <a:lnTo>
                    <a:pt x="4428" y="5488"/>
                  </a:lnTo>
                  <a:lnTo>
                    <a:pt x="4375" y="5514"/>
                  </a:lnTo>
                  <a:lnTo>
                    <a:pt x="4322" y="5540"/>
                  </a:lnTo>
                  <a:lnTo>
                    <a:pt x="4295" y="5551"/>
                  </a:lnTo>
                  <a:lnTo>
                    <a:pt x="4267" y="5562"/>
                  </a:lnTo>
                  <a:lnTo>
                    <a:pt x="4240" y="5573"/>
                  </a:lnTo>
                  <a:lnTo>
                    <a:pt x="4212" y="5583"/>
                  </a:lnTo>
                  <a:lnTo>
                    <a:pt x="4184" y="5592"/>
                  </a:lnTo>
                  <a:lnTo>
                    <a:pt x="4156" y="5600"/>
                  </a:lnTo>
                  <a:lnTo>
                    <a:pt x="4127" y="5609"/>
                  </a:lnTo>
                  <a:lnTo>
                    <a:pt x="4098" y="5616"/>
                  </a:lnTo>
                  <a:lnTo>
                    <a:pt x="4098" y="5616"/>
                  </a:lnTo>
                  <a:lnTo>
                    <a:pt x="4076" y="5620"/>
                  </a:lnTo>
                  <a:lnTo>
                    <a:pt x="4054" y="5623"/>
                  </a:lnTo>
                  <a:lnTo>
                    <a:pt x="4032" y="5625"/>
                  </a:lnTo>
                  <a:lnTo>
                    <a:pt x="4009" y="5624"/>
                  </a:lnTo>
                  <a:lnTo>
                    <a:pt x="4009" y="5624"/>
                  </a:lnTo>
                  <a:lnTo>
                    <a:pt x="3712" y="5606"/>
                  </a:lnTo>
                  <a:lnTo>
                    <a:pt x="3563" y="5595"/>
                  </a:lnTo>
                  <a:lnTo>
                    <a:pt x="3489" y="5589"/>
                  </a:lnTo>
                  <a:lnTo>
                    <a:pt x="3414" y="5583"/>
                  </a:lnTo>
                  <a:lnTo>
                    <a:pt x="3414" y="5583"/>
                  </a:lnTo>
                  <a:lnTo>
                    <a:pt x="3190" y="5560"/>
                  </a:lnTo>
                  <a:lnTo>
                    <a:pt x="2966" y="5537"/>
                  </a:lnTo>
                  <a:lnTo>
                    <a:pt x="2517" y="5487"/>
                  </a:lnTo>
                  <a:lnTo>
                    <a:pt x="2517" y="5487"/>
                  </a:lnTo>
                  <a:lnTo>
                    <a:pt x="2503" y="5486"/>
                  </a:lnTo>
                  <a:lnTo>
                    <a:pt x="2491" y="5487"/>
                  </a:lnTo>
                  <a:lnTo>
                    <a:pt x="2479" y="5488"/>
                  </a:lnTo>
                  <a:lnTo>
                    <a:pt x="2468" y="5492"/>
                  </a:lnTo>
                  <a:lnTo>
                    <a:pt x="2458" y="5497"/>
                  </a:lnTo>
                  <a:lnTo>
                    <a:pt x="2449" y="5504"/>
                  </a:lnTo>
                  <a:lnTo>
                    <a:pt x="2440" y="5514"/>
                  </a:lnTo>
                  <a:lnTo>
                    <a:pt x="2432" y="5527"/>
                  </a:lnTo>
                  <a:lnTo>
                    <a:pt x="2432" y="5527"/>
                  </a:lnTo>
                  <a:lnTo>
                    <a:pt x="2425" y="5537"/>
                  </a:lnTo>
                  <a:lnTo>
                    <a:pt x="2418" y="5546"/>
                  </a:lnTo>
                  <a:lnTo>
                    <a:pt x="2411" y="5554"/>
                  </a:lnTo>
                  <a:lnTo>
                    <a:pt x="2404" y="5562"/>
                  </a:lnTo>
                  <a:lnTo>
                    <a:pt x="2396" y="5570"/>
                  </a:lnTo>
                  <a:lnTo>
                    <a:pt x="2388" y="5576"/>
                  </a:lnTo>
                  <a:lnTo>
                    <a:pt x="2378" y="5582"/>
                  </a:lnTo>
                  <a:lnTo>
                    <a:pt x="2369" y="5588"/>
                  </a:lnTo>
                  <a:lnTo>
                    <a:pt x="2360" y="5592"/>
                  </a:lnTo>
                  <a:lnTo>
                    <a:pt x="2350" y="5596"/>
                  </a:lnTo>
                  <a:lnTo>
                    <a:pt x="2339" y="5600"/>
                  </a:lnTo>
                  <a:lnTo>
                    <a:pt x="2328" y="5603"/>
                  </a:lnTo>
                  <a:lnTo>
                    <a:pt x="2317" y="5605"/>
                  </a:lnTo>
                  <a:lnTo>
                    <a:pt x="2306" y="5606"/>
                  </a:lnTo>
                  <a:lnTo>
                    <a:pt x="2293" y="5607"/>
                  </a:lnTo>
                  <a:lnTo>
                    <a:pt x="2281" y="5607"/>
                  </a:lnTo>
                  <a:lnTo>
                    <a:pt x="2281" y="5607"/>
                  </a:lnTo>
                  <a:lnTo>
                    <a:pt x="2167" y="5606"/>
                  </a:lnTo>
                  <a:lnTo>
                    <a:pt x="2054" y="5606"/>
                  </a:lnTo>
                  <a:lnTo>
                    <a:pt x="1825" y="5606"/>
                  </a:lnTo>
                  <a:lnTo>
                    <a:pt x="1825" y="5606"/>
                  </a:lnTo>
                  <a:lnTo>
                    <a:pt x="1811" y="5606"/>
                  </a:lnTo>
                  <a:lnTo>
                    <a:pt x="1798" y="5605"/>
                  </a:lnTo>
                  <a:lnTo>
                    <a:pt x="1786" y="5603"/>
                  </a:lnTo>
                  <a:lnTo>
                    <a:pt x="1775" y="5601"/>
                  </a:lnTo>
                  <a:lnTo>
                    <a:pt x="1765" y="5598"/>
                  </a:lnTo>
                  <a:lnTo>
                    <a:pt x="1757" y="5593"/>
                  </a:lnTo>
                  <a:lnTo>
                    <a:pt x="1749" y="5589"/>
                  </a:lnTo>
                  <a:lnTo>
                    <a:pt x="1743" y="5583"/>
                  </a:lnTo>
                  <a:lnTo>
                    <a:pt x="1736" y="5576"/>
                  </a:lnTo>
                  <a:lnTo>
                    <a:pt x="1731" y="5568"/>
                  </a:lnTo>
                  <a:lnTo>
                    <a:pt x="1727" y="5559"/>
                  </a:lnTo>
                  <a:lnTo>
                    <a:pt x="1724" y="5549"/>
                  </a:lnTo>
                  <a:lnTo>
                    <a:pt x="1721" y="5538"/>
                  </a:lnTo>
                  <a:lnTo>
                    <a:pt x="1720" y="5527"/>
                  </a:lnTo>
                  <a:lnTo>
                    <a:pt x="1719" y="5513"/>
                  </a:lnTo>
                  <a:lnTo>
                    <a:pt x="1718" y="5498"/>
                  </a:lnTo>
                  <a:lnTo>
                    <a:pt x="1718" y="5498"/>
                  </a:lnTo>
                  <a:lnTo>
                    <a:pt x="1719" y="4185"/>
                  </a:lnTo>
                  <a:lnTo>
                    <a:pt x="1719" y="4185"/>
                  </a:lnTo>
                  <a:lnTo>
                    <a:pt x="1719" y="4171"/>
                  </a:lnTo>
                  <a:lnTo>
                    <a:pt x="1720" y="4159"/>
                  </a:lnTo>
                  <a:lnTo>
                    <a:pt x="1722" y="4148"/>
                  </a:lnTo>
                  <a:lnTo>
                    <a:pt x="1724" y="4136"/>
                  </a:lnTo>
                  <a:lnTo>
                    <a:pt x="1728" y="4127"/>
                  </a:lnTo>
                  <a:lnTo>
                    <a:pt x="1732" y="4118"/>
                  </a:lnTo>
                  <a:lnTo>
                    <a:pt x="1736" y="4111"/>
                  </a:lnTo>
                  <a:lnTo>
                    <a:pt x="1743" y="4103"/>
                  </a:lnTo>
                  <a:lnTo>
                    <a:pt x="1750" y="4097"/>
                  </a:lnTo>
                  <a:lnTo>
                    <a:pt x="1757" y="4092"/>
                  </a:lnTo>
                  <a:lnTo>
                    <a:pt x="1766" y="4088"/>
                  </a:lnTo>
                  <a:lnTo>
                    <a:pt x="1775" y="4085"/>
                  </a:lnTo>
                  <a:lnTo>
                    <a:pt x="1786" y="4082"/>
                  </a:lnTo>
                  <a:lnTo>
                    <a:pt x="1798" y="4081"/>
                  </a:lnTo>
                  <a:lnTo>
                    <a:pt x="1810" y="4080"/>
                  </a:lnTo>
                  <a:lnTo>
                    <a:pt x="1823" y="4079"/>
                  </a:lnTo>
                  <a:lnTo>
                    <a:pt x="1823" y="4079"/>
                  </a:lnTo>
                  <a:lnTo>
                    <a:pt x="2280" y="4079"/>
                  </a:lnTo>
                  <a:lnTo>
                    <a:pt x="2280" y="4079"/>
                  </a:lnTo>
                  <a:lnTo>
                    <a:pt x="2302" y="4079"/>
                  </a:lnTo>
                  <a:lnTo>
                    <a:pt x="2320" y="4080"/>
                  </a:lnTo>
                  <a:lnTo>
                    <a:pt x="2338" y="4082"/>
                  </a:lnTo>
                  <a:lnTo>
                    <a:pt x="2354" y="4085"/>
                  </a:lnTo>
                  <a:lnTo>
                    <a:pt x="2369" y="4088"/>
                  </a:lnTo>
                  <a:lnTo>
                    <a:pt x="2382" y="4093"/>
                  </a:lnTo>
                  <a:lnTo>
                    <a:pt x="2394" y="4098"/>
                  </a:lnTo>
                  <a:lnTo>
                    <a:pt x="2405" y="4106"/>
                  </a:lnTo>
                  <a:lnTo>
                    <a:pt x="2415" y="4114"/>
                  </a:lnTo>
                  <a:lnTo>
                    <a:pt x="2424" y="4124"/>
                  </a:lnTo>
                  <a:lnTo>
                    <a:pt x="2433" y="4135"/>
                  </a:lnTo>
                  <a:lnTo>
                    <a:pt x="2441" y="4148"/>
                  </a:lnTo>
                  <a:lnTo>
                    <a:pt x="2448" y="4163"/>
                  </a:lnTo>
                  <a:lnTo>
                    <a:pt x="2455" y="4179"/>
                  </a:lnTo>
                  <a:lnTo>
                    <a:pt x="2462" y="4197"/>
                  </a:lnTo>
                  <a:lnTo>
                    <a:pt x="2468" y="4217"/>
                  </a:lnTo>
                  <a:lnTo>
                    <a:pt x="2468" y="4217"/>
                  </a:lnTo>
                  <a:lnTo>
                    <a:pt x="2577" y="4195"/>
                  </a:lnTo>
                  <a:lnTo>
                    <a:pt x="2630" y="4183"/>
                  </a:lnTo>
                  <a:lnTo>
                    <a:pt x="2684" y="4173"/>
                  </a:lnTo>
                  <a:lnTo>
                    <a:pt x="2684" y="4173"/>
                  </a:lnTo>
                  <a:lnTo>
                    <a:pt x="2725" y="4166"/>
                  </a:lnTo>
                  <a:lnTo>
                    <a:pt x="2766" y="4161"/>
                  </a:lnTo>
                  <a:lnTo>
                    <a:pt x="2807" y="4157"/>
                  </a:lnTo>
                  <a:lnTo>
                    <a:pt x="2848" y="4155"/>
                  </a:lnTo>
                  <a:lnTo>
                    <a:pt x="2889" y="4154"/>
                  </a:lnTo>
                  <a:lnTo>
                    <a:pt x="2930" y="4154"/>
                  </a:lnTo>
                  <a:lnTo>
                    <a:pt x="2971" y="4155"/>
                  </a:lnTo>
                  <a:lnTo>
                    <a:pt x="3011" y="4157"/>
                  </a:lnTo>
                  <a:lnTo>
                    <a:pt x="3052" y="4161"/>
                  </a:lnTo>
                  <a:lnTo>
                    <a:pt x="3092" y="4165"/>
                  </a:lnTo>
                  <a:lnTo>
                    <a:pt x="3133" y="4170"/>
                  </a:lnTo>
                  <a:lnTo>
                    <a:pt x="3173" y="4177"/>
                  </a:lnTo>
                  <a:lnTo>
                    <a:pt x="3214" y="4184"/>
                  </a:lnTo>
                  <a:lnTo>
                    <a:pt x="3254" y="4192"/>
                  </a:lnTo>
                  <a:lnTo>
                    <a:pt x="3295" y="4201"/>
                  </a:lnTo>
                  <a:lnTo>
                    <a:pt x="3335" y="4210"/>
                  </a:lnTo>
                  <a:lnTo>
                    <a:pt x="3335" y="4210"/>
                  </a:lnTo>
                  <a:lnTo>
                    <a:pt x="3391" y="4223"/>
                  </a:lnTo>
                  <a:lnTo>
                    <a:pt x="3448" y="4236"/>
                  </a:lnTo>
                  <a:lnTo>
                    <a:pt x="3505" y="4247"/>
                  </a:lnTo>
                  <a:lnTo>
                    <a:pt x="3562" y="4256"/>
                  </a:lnTo>
                  <a:lnTo>
                    <a:pt x="3618" y="4265"/>
                  </a:lnTo>
                  <a:lnTo>
                    <a:pt x="3676" y="4273"/>
                  </a:lnTo>
                  <a:lnTo>
                    <a:pt x="3733" y="4280"/>
                  </a:lnTo>
                  <a:lnTo>
                    <a:pt x="3790" y="4286"/>
                  </a:lnTo>
                  <a:lnTo>
                    <a:pt x="3848" y="4290"/>
                  </a:lnTo>
                  <a:lnTo>
                    <a:pt x="3905" y="4294"/>
                  </a:lnTo>
                  <a:lnTo>
                    <a:pt x="3962" y="4296"/>
                  </a:lnTo>
                  <a:lnTo>
                    <a:pt x="4021" y="4297"/>
                  </a:lnTo>
                  <a:lnTo>
                    <a:pt x="4078" y="4298"/>
                  </a:lnTo>
                  <a:lnTo>
                    <a:pt x="4136" y="4297"/>
                  </a:lnTo>
                  <a:lnTo>
                    <a:pt x="4194" y="4295"/>
                  </a:lnTo>
                  <a:lnTo>
                    <a:pt x="4252" y="4292"/>
                  </a:lnTo>
                  <a:lnTo>
                    <a:pt x="4252" y="4292"/>
                  </a:lnTo>
                  <a:lnTo>
                    <a:pt x="4270" y="4291"/>
                  </a:lnTo>
                  <a:lnTo>
                    <a:pt x="4289" y="4289"/>
                  </a:lnTo>
                  <a:lnTo>
                    <a:pt x="4326" y="4283"/>
                  </a:lnTo>
                  <a:lnTo>
                    <a:pt x="4363" y="4279"/>
                  </a:lnTo>
                  <a:lnTo>
                    <a:pt x="4382" y="4277"/>
                  </a:lnTo>
                  <a:lnTo>
                    <a:pt x="4400" y="4277"/>
                  </a:lnTo>
                  <a:lnTo>
                    <a:pt x="4400" y="4277"/>
                  </a:lnTo>
                  <a:lnTo>
                    <a:pt x="4415" y="4277"/>
                  </a:lnTo>
                  <a:lnTo>
                    <a:pt x="4428" y="4278"/>
                  </a:lnTo>
                  <a:lnTo>
                    <a:pt x="4456" y="4281"/>
                  </a:lnTo>
                  <a:lnTo>
                    <a:pt x="4483" y="4287"/>
                  </a:lnTo>
                  <a:lnTo>
                    <a:pt x="4509" y="4295"/>
                  </a:lnTo>
                  <a:lnTo>
                    <a:pt x="4533" y="4305"/>
                  </a:lnTo>
                  <a:lnTo>
                    <a:pt x="4557" y="4317"/>
                  </a:lnTo>
                  <a:lnTo>
                    <a:pt x="4568" y="4325"/>
                  </a:lnTo>
                  <a:lnTo>
                    <a:pt x="4579" y="4332"/>
                  </a:lnTo>
                  <a:lnTo>
                    <a:pt x="4589" y="4340"/>
                  </a:lnTo>
                  <a:lnTo>
                    <a:pt x="4599" y="4348"/>
                  </a:lnTo>
                  <a:lnTo>
                    <a:pt x="4608" y="4356"/>
                  </a:lnTo>
                  <a:lnTo>
                    <a:pt x="4617" y="4366"/>
                  </a:lnTo>
                  <a:lnTo>
                    <a:pt x="4626" y="4376"/>
                  </a:lnTo>
                  <a:lnTo>
                    <a:pt x="4634" y="4386"/>
                  </a:lnTo>
                  <a:lnTo>
                    <a:pt x="4642" y="4396"/>
                  </a:lnTo>
                  <a:lnTo>
                    <a:pt x="4648" y="4408"/>
                  </a:lnTo>
                  <a:lnTo>
                    <a:pt x="4655" y="4419"/>
                  </a:lnTo>
                  <a:lnTo>
                    <a:pt x="4660" y="4430"/>
                  </a:lnTo>
                  <a:lnTo>
                    <a:pt x="4666" y="4442"/>
                  </a:lnTo>
                  <a:lnTo>
                    <a:pt x="4671" y="4455"/>
                  </a:lnTo>
                  <a:lnTo>
                    <a:pt x="4675" y="4468"/>
                  </a:lnTo>
                  <a:lnTo>
                    <a:pt x="4678" y="4481"/>
                  </a:lnTo>
                  <a:lnTo>
                    <a:pt x="4680" y="4495"/>
                  </a:lnTo>
                  <a:lnTo>
                    <a:pt x="4682" y="4509"/>
                  </a:lnTo>
                  <a:lnTo>
                    <a:pt x="4683" y="4523"/>
                  </a:lnTo>
                  <a:lnTo>
                    <a:pt x="4684" y="4538"/>
                  </a:lnTo>
                  <a:lnTo>
                    <a:pt x="4684" y="4538"/>
                  </a:lnTo>
                  <a:lnTo>
                    <a:pt x="4685" y="4551"/>
                  </a:lnTo>
                  <a:lnTo>
                    <a:pt x="4687" y="4566"/>
                  </a:lnTo>
                  <a:lnTo>
                    <a:pt x="4687" y="4566"/>
                  </a:lnTo>
                  <a:lnTo>
                    <a:pt x="4708" y="4561"/>
                  </a:lnTo>
                  <a:lnTo>
                    <a:pt x="4717" y="4559"/>
                  </a:lnTo>
                  <a:lnTo>
                    <a:pt x="4725" y="4556"/>
                  </a:lnTo>
                  <a:lnTo>
                    <a:pt x="4725" y="4556"/>
                  </a:lnTo>
                  <a:lnTo>
                    <a:pt x="4955" y="4458"/>
                  </a:lnTo>
                  <a:lnTo>
                    <a:pt x="5071" y="4408"/>
                  </a:lnTo>
                  <a:lnTo>
                    <a:pt x="5127" y="4382"/>
                  </a:lnTo>
                  <a:lnTo>
                    <a:pt x="5185" y="4355"/>
                  </a:lnTo>
                  <a:lnTo>
                    <a:pt x="5185" y="4355"/>
                  </a:lnTo>
                  <a:lnTo>
                    <a:pt x="5219" y="4340"/>
                  </a:lnTo>
                  <a:lnTo>
                    <a:pt x="5253" y="4327"/>
                  </a:lnTo>
                  <a:lnTo>
                    <a:pt x="5288" y="4314"/>
                  </a:lnTo>
                  <a:lnTo>
                    <a:pt x="5305" y="4310"/>
                  </a:lnTo>
                  <a:lnTo>
                    <a:pt x="5323" y="4306"/>
                  </a:lnTo>
                  <a:lnTo>
                    <a:pt x="5340" y="4302"/>
                  </a:lnTo>
                  <a:lnTo>
                    <a:pt x="5358" y="4300"/>
                  </a:lnTo>
                  <a:lnTo>
                    <a:pt x="5376" y="4299"/>
                  </a:lnTo>
                  <a:lnTo>
                    <a:pt x="5393" y="4298"/>
                  </a:lnTo>
                  <a:lnTo>
                    <a:pt x="5412" y="4299"/>
                  </a:lnTo>
                  <a:lnTo>
                    <a:pt x="5430" y="4300"/>
                  </a:lnTo>
                  <a:lnTo>
                    <a:pt x="5449" y="4303"/>
                  </a:lnTo>
                  <a:lnTo>
                    <a:pt x="5467" y="4308"/>
                  </a:lnTo>
                  <a:lnTo>
                    <a:pt x="5467" y="4308"/>
                  </a:lnTo>
                  <a:lnTo>
                    <a:pt x="5487" y="4313"/>
                  </a:lnTo>
                  <a:lnTo>
                    <a:pt x="5505" y="4321"/>
                  </a:lnTo>
                  <a:lnTo>
                    <a:pt x="5524" y="4329"/>
                  </a:lnTo>
                  <a:lnTo>
                    <a:pt x="5540" y="4337"/>
                  </a:lnTo>
                  <a:lnTo>
                    <a:pt x="5556" y="4346"/>
                  </a:lnTo>
                  <a:lnTo>
                    <a:pt x="5571" y="4357"/>
                  </a:lnTo>
                  <a:lnTo>
                    <a:pt x="5585" y="4368"/>
                  </a:lnTo>
                  <a:lnTo>
                    <a:pt x="5598" y="4380"/>
                  </a:lnTo>
                  <a:lnTo>
                    <a:pt x="5610" y="4392"/>
                  </a:lnTo>
                  <a:lnTo>
                    <a:pt x="5621" y="4406"/>
                  </a:lnTo>
                  <a:lnTo>
                    <a:pt x="5631" y="4419"/>
                  </a:lnTo>
                  <a:lnTo>
                    <a:pt x="5640" y="4433"/>
                  </a:lnTo>
                  <a:lnTo>
                    <a:pt x="5648" y="4447"/>
                  </a:lnTo>
                  <a:lnTo>
                    <a:pt x="5656" y="4463"/>
                  </a:lnTo>
                  <a:lnTo>
                    <a:pt x="5661" y="4478"/>
                  </a:lnTo>
                  <a:lnTo>
                    <a:pt x="5666" y="4495"/>
                  </a:lnTo>
                  <a:lnTo>
                    <a:pt x="5670" y="4510"/>
                  </a:lnTo>
                  <a:lnTo>
                    <a:pt x="5672" y="4526"/>
                  </a:lnTo>
                  <a:lnTo>
                    <a:pt x="5674" y="4544"/>
                  </a:lnTo>
                  <a:lnTo>
                    <a:pt x="5674" y="4560"/>
                  </a:lnTo>
                  <a:lnTo>
                    <a:pt x="5674" y="4576"/>
                  </a:lnTo>
                  <a:lnTo>
                    <a:pt x="5672" y="4594"/>
                  </a:lnTo>
                  <a:lnTo>
                    <a:pt x="5669" y="4610"/>
                  </a:lnTo>
                  <a:lnTo>
                    <a:pt x="5665" y="4628"/>
                  </a:lnTo>
                  <a:lnTo>
                    <a:pt x="5660" y="4644"/>
                  </a:lnTo>
                  <a:lnTo>
                    <a:pt x="5654" y="4660"/>
                  </a:lnTo>
                  <a:lnTo>
                    <a:pt x="5645" y="4677"/>
                  </a:lnTo>
                  <a:lnTo>
                    <a:pt x="5637" y="4693"/>
                  </a:lnTo>
                  <a:lnTo>
                    <a:pt x="5627" y="4710"/>
                  </a:lnTo>
                  <a:lnTo>
                    <a:pt x="5616" y="4725"/>
                  </a:lnTo>
                  <a:lnTo>
                    <a:pt x="5602" y="4740"/>
                  </a:lnTo>
                  <a:lnTo>
                    <a:pt x="5589" y="4755"/>
                  </a:lnTo>
                  <a:lnTo>
                    <a:pt x="5589" y="47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49">
              <a:extLst>
                <a:ext uri="{FF2B5EF4-FFF2-40B4-BE49-F238E27FC236}">
                  <a16:creationId xmlns:a16="http://schemas.microsoft.com/office/drawing/2014/main" id="{D39D9B3B-5471-4017-9153-1A252EAE6953}"/>
                </a:ext>
              </a:extLst>
            </p:cNvPr>
            <p:cNvSpPr>
              <a:spLocks/>
            </p:cNvSpPr>
            <p:nvPr/>
          </p:nvSpPr>
          <p:spPr bwMode="auto">
            <a:xfrm>
              <a:off x="663576" y="2943226"/>
              <a:ext cx="90488" cy="266700"/>
            </a:xfrm>
            <a:custGeom>
              <a:avLst/>
              <a:gdLst>
                <a:gd name="T0" fmla="*/ 0 w 395"/>
                <a:gd name="T1" fmla="*/ 1179 h 1179"/>
                <a:gd name="T2" fmla="*/ 0 w 395"/>
                <a:gd name="T3" fmla="*/ 1179 h 1179"/>
                <a:gd name="T4" fmla="*/ 395 w 395"/>
                <a:gd name="T5" fmla="*/ 1179 h 1179"/>
                <a:gd name="T6" fmla="*/ 395 w 395"/>
                <a:gd name="T7" fmla="*/ 1179 h 1179"/>
                <a:gd name="T8" fmla="*/ 395 w 395"/>
                <a:gd name="T9" fmla="*/ 0 h 1179"/>
                <a:gd name="T10" fmla="*/ 395 w 395"/>
                <a:gd name="T11" fmla="*/ 0 h 1179"/>
                <a:gd name="T12" fmla="*/ 0 w 395"/>
                <a:gd name="T13" fmla="*/ 0 h 1179"/>
                <a:gd name="T14" fmla="*/ 0 w 395"/>
                <a:gd name="T15" fmla="*/ 0 h 1179"/>
                <a:gd name="T16" fmla="*/ 0 w 395"/>
                <a:gd name="T17" fmla="*/ 1179 h 1179"/>
                <a:gd name="T18" fmla="*/ 0 w 395"/>
                <a:gd name="T19" fmla="*/ 1179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5" h="1179">
                  <a:moveTo>
                    <a:pt x="0" y="1179"/>
                  </a:moveTo>
                  <a:lnTo>
                    <a:pt x="0" y="1179"/>
                  </a:lnTo>
                  <a:lnTo>
                    <a:pt x="395" y="1179"/>
                  </a:lnTo>
                  <a:lnTo>
                    <a:pt x="395" y="1179"/>
                  </a:lnTo>
                  <a:lnTo>
                    <a:pt x="395" y="0"/>
                  </a:lnTo>
                  <a:lnTo>
                    <a:pt x="395" y="0"/>
                  </a:lnTo>
                  <a:lnTo>
                    <a:pt x="0" y="0"/>
                  </a:lnTo>
                  <a:lnTo>
                    <a:pt x="0" y="0"/>
                  </a:lnTo>
                  <a:lnTo>
                    <a:pt x="0" y="1179"/>
                  </a:lnTo>
                  <a:lnTo>
                    <a:pt x="0" y="1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50">
              <a:extLst>
                <a:ext uri="{FF2B5EF4-FFF2-40B4-BE49-F238E27FC236}">
                  <a16:creationId xmlns:a16="http://schemas.microsoft.com/office/drawing/2014/main" id="{71762232-5CD7-4539-90FA-42B64A853C43}"/>
                </a:ext>
              </a:extLst>
            </p:cNvPr>
            <p:cNvSpPr>
              <a:spLocks/>
            </p:cNvSpPr>
            <p:nvPr/>
          </p:nvSpPr>
          <p:spPr bwMode="auto">
            <a:xfrm>
              <a:off x="1019176" y="2538413"/>
              <a:ext cx="119063" cy="90488"/>
            </a:xfrm>
            <a:custGeom>
              <a:avLst/>
              <a:gdLst>
                <a:gd name="T0" fmla="*/ 527 w 527"/>
                <a:gd name="T1" fmla="*/ 0 h 398"/>
                <a:gd name="T2" fmla="*/ 527 w 527"/>
                <a:gd name="T3" fmla="*/ 0 h 398"/>
                <a:gd name="T4" fmla="*/ 330 w 527"/>
                <a:gd name="T5" fmla="*/ 0 h 398"/>
                <a:gd name="T6" fmla="*/ 232 w 527"/>
                <a:gd name="T7" fmla="*/ 0 h 398"/>
                <a:gd name="T8" fmla="*/ 134 w 527"/>
                <a:gd name="T9" fmla="*/ 1 h 398"/>
                <a:gd name="T10" fmla="*/ 134 w 527"/>
                <a:gd name="T11" fmla="*/ 1 h 398"/>
                <a:gd name="T12" fmla="*/ 130 w 527"/>
                <a:gd name="T13" fmla="*/ 2 h 398"/>
                <a:gd name="T14" fmla="*/ 126 w 527"/>
                <a:gd name="T15" fmla="*/ 3 h 398"/>
                <a:gd name="T16" fmla="*/ 117 w 527"/>
                <a:gd name="T17" fmla="*/ 8 h 398"/>
                <a:gd name="T18" fmla="*/ 109 w 527"/>
                <a:gd name="T19" fmla="*/ 15 h 398"/>
                <a:gd name="T20" fmla="*/ 106 w 527"/>
                <a:gd name="T21" fmla="*/ 19 h 398"/>
                <a:gd name="T22" fmla="*/ 104 w 527"/>
                <a:gd name="T23" fmla="*/ 23 h 398"/>
                <a:gd name="T24" fmla="*/ 104 w 527"/>
                <a:gd name="T25" fmla="*/ 23 h 398"/>
                <a:gd name="T26" fmla="*/ 83 w 527"/>
                <a:gd name="T27" fmla="*/ 67 h 398"/>
                <a:gd name="T28" fmla="*/ 65 w 527"/>
                <a:gd name="T29" fmla="*/ 112 h 398"/>
                <a:gd name="T30" fmla="*/ 48 w 527"/>
                <a:gd name="T31" fmla="*/ 157 h 398"/>
                <a:gd name="T32" fmla="*/ 34 w 527"/>
                <a:gd name="T33" fmla="*/ 204 h 398"/>
                <a:gd name="T34" fmla="*/ 23 w 527"/>
                <a:gd name="T35" fmla="*/ 252 h 398"/>
                <a:gd name="T36" fmla="*/ 13 w 527"/>
                <a:gd name="T37" fmla="*/ 299 h 398"/>
                <a:gd name="T38" fmla="*/ 5 w 527"/>
                <a:gd name="T39" fmla="*/ 348 h 398"/>
                <a:gd name="T40" fmla="*/ 0 w 527"/>
                <a:gd name="T41" fmla="*/ 398 h 398"/>
                <a:gd name="T42" fmla="*/ 0 w 527"/>
                <a:gd name="T43" fmla="*/ 398 h 398"/>
                <a:gd name="T44" fmla="*/ 484 w 527"/>
                <a:gd name="T45" fmla="*/ 398 h 398"/>
                <a:gd name="T46" fmla="*/ 484 w 527"/>
                <a:gd name="T47" fmla="*/ 398 h 398"/>
                <a:gd name="T48" fmla="*/ 527 w 527"/>
                <a:gd name="T49" fmla="*/ 0 h 398"/>
                <a:gd name="T50" fmla="*/ 527 w 527"/>
                <a:gd name="T5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7" h="398">
                  <a:moveTo>
                    <a:pt x="527" y="0"/>
                  </a:moveTo>
                  <a:lnTo>
                    <a:pt x="527" y="0"/>
                  </a:lnTo>
                  <a:lnTo>
                    <a:pt x="330" y="0"/>
                  </a:lnTo>
                  <a:lnTo>
                    <a:pt x="232" y="0"/>
                  </a:lnTo>
                  <a:lnTo>
                    <a:pt x="134" y="1"/>
                  </a:lnTo>
                  <a:lnTo>
                    <a:pt x="134" y="1"/>
                  </a:lnTo>
                  <a:lnTo>
                    <a:pt x="130" y="2"/>
                  </a:lnTo>
                  <a:lnTo>
                    <a:pt x="126" y="3"/>
                  </a:lnTo>
                  <a:lnTo>
                    <a:pt x="117" y="8"/>
                  </a:lnTo>
                  <a:lnTo>
                    <a:pt x="109" y="15"/>
                  </a:lnTo>
                  <a:lnTo>
                    <a:pt x="106" y="19"/>
                  </a:lnTo>
                  <a:lnTo>
                    <a:pt x="104" y="23"/>
                  </a:lnTo>
                  <a:lnTo>
                    <a:pt x="104" y="23"/>
                  </a:lnTo>
                  <a:lnTo>
                    <a:pt x="83" y="67"/>
                  </a:lnTo>
                  <a:lnTo>
                    <a:pt x="65" y="112"/>
                  </a:lnTo>
                  <a:lnTo>
                    <a:pt x="48" y="157"/>
                  </a:lnTo>
                  <a:lnTo>
                    <a:pt x="34" y="204"/>
                  </a:lnTo>
                  <a:lnTo>
                    <a:pt x="23" y="252"/>
                  </a:lnTo>
                  <a:lnTo>
                    <a:pt x="13" y="299"/>
                  </a:lnTo>
                  <a:lnTo>
                    <a:pt x="5" y="348"/>
                  </a:lnTo>
                  <a:lnTo>
                    <a:pt x="0" y="398"/>
                  </a:lnTo>
                  <a:lnTo>
                    <a:pt x="0" y="398"/>
                  </a:lnTo>
                  <a:lnTo>
                    <a:pt x="484" y="398"/>
                  </a:lnTo>
                  <a:lnTo>
                    <a:pt x="484" y="398"/>
                  </a:lnTo>
                  <a:lnTo>
                    <a:pt x="527" y="0"/>
                  </a:lnTo>
                  <a:lnTo>
                    <a:pt x="5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51">
              <a:extLst>
                <a:ext uri="{FF2B5EF4-FFF2-40B4-BE49-F238E27FC236}">
                  <a16:creationId xmlns:a16="http://schemas.microsoft.com/office/drawing/2014/main" id="{5B6CC711-4C32-402E-A725-793D5908AE29}"/>
                </a:ext>
              </a:extLst>
            </p:cNvPr>
            <p:cNvSpPr>
              <a:spLocks/>
            </p:cNvSpPr>
            <p:nvPr/>
          </p:nvSpPr>
          <p:spPr bwMode="auto">
            <a:xfrm>
              <a:off x="1019176" y="2667001"/>
              <a:ext cx="117475" cy="85725"/>
            </a:xfrm>
            <a:custGeom>
              <a:avLst/>
              <a:gdLst>
                <a:gd name="T0" fmla="*/ 290 w 519"/>
                <a:gd name="T1" fmla="*/ 379 h 379"/>
                <a:gd name="T2" fmla="*/ 290 w 519"/>
                <a:gd name="T3" fmla="*/ 379 h 379"/>
                <a:gd name="T4" fmla="*/ 519 w 519"/>
                <a:gd name="T5" fmla="*/ 379 h 379"/>
                <a:gd name="T6" fmla="*/ 519 w 519"/>
                <a:gd name="T7" fmla="*/ 379 h 379"/>
                <a:gd name="T8" fmla="*/ 484 w 519"/>
                <a:gd name="T9" fmla="*/ 0 h 379"/>
                <a:gd name="T10" fmla="*/ 484 w 519"/>
                <a:gd name="T11" fmla="*/ 0 h 379"/>
                <a:gd name="T12" fmla="*/ 0 w 519"/>
                <a:gd name="T13" fmla="*/ 0 h 379"/>
                <a:gd name="T14" fmla="*/ 0 w 519"/>
                <a:gd name="T15" fmla="*/ 0 h 379"/>
                <a:gd name="T16" fmla="*/ 4 w 519"/>
                <a:gd name="T17" fmla="*/ 48 h 379"/>
                <a:gd name="T18" fmla="*/ 12 w 519"/>
                <a:gd name="T19" fmla="*/ 95 h 379"/>
                <a:gd name="T20" fmla="*/ 20 w 519"/>
                <a:gd name="T21" fmla="*/ 141 h 379"/>
                <a:gd name="T22" fmla="*/ 31 w 519"/>
                <a:gd name="T23" fmla="*/ 186 h 379"/>
                <a:gd name="T24" fmla="*/ 43 w 519"/>
                <a:gd name="T25" fmla="*/ 230 h 379"/>
                <a:gd name="T26" fmla="*/ 59 w 519"/>
                <a:gd name="T27" fmla="*/ 274 h 379"/>
                <a:gd name="T28" fmla="*/ 76 w 519"/>
                <a:gd name="T29" fmla="*/ 317 h 379"/>
                <a:gd name="T30" fmla="*/ 95 w 519"/>
                <a:gd name="T31" fmla="*/ 359 h 379"/>
                <a:gd name="T32" fmla="*/ 95 w 519"/>
                <a:gd name="T33" fmla="*/ 359 h 379"/>
                <a:gd name="T34" fmla="*/ 98 w 519"/>
                <a:gd name="T35" fmla="*/ 363 h 379"/>
                <a:gd name="T36" fmla="*/ 101 w 519"/>
                <a:gd name="T37" fmla="*/ 366 h 379"/>
                <a:gd name="T38" fmla="*/ 106 w 519"/>
                <a:gd name="T39" fmla="*/ 369 h 379"/>
                <a:gd name="T40" fmla="*/ 111 w 519"/>
                <a:gd name="T41" fmla="*/ 373 h 379"/>
                <a:gd name="T42" fmla="*/ 121 w 519"/>
                <a:gd name="T43" fmla="*/ 376 h 379"/>
                <a:gd name="T44" fmla="*/ 132 w 519"/>
                <a:gd name="T45" fmla="*/ 378 h 379"/>
                <a:gd name="T46" fmla="*/ 132 w 519"/>
                <a:gd name="T47" fmla="*/ 378 h 379"/>
                <a:gd name="T48" fmla="*/ 171 w 519"/>
                <a:gd name="T49" fmla="*/ 379 h 379"/>
                <a:gd name="T50" fmla="*/ 211 w 519"/>
                <a:gd name="T51" fmla="*/ 379 h 379"/>
                <a:gd name="T52" fmla="*/ 290 w 519"/>
                <a:gd name="T53" fmla="*/ 379 h 379"/>
                <a:gd name="T54" fmla="*/ 290 w 519"/>
                <a:gd name="T55" fmla="*/ 37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9" h="379">
                  <a:moveTo>
                    <a:pt x="290" y="379"/>
                  </a:moveTo>
                  <a:lnTo>
                    <a:pt x="290" y="379"/>
                  </a:lnTo>
                  <a:lnTo>
                    <a:pt x="519" y="379"/>
                  </a:lnTo>
                  <a:lnTo>
                    <a:pt x="519" y="379"/>
                  </a:lnTo>
                  <a:lnTo>
                    <a:pt x="484" y="0"/>
                  </a:lnTo>
                  <a:lnTo>
                    <a:pt x="484" y="0"/>
                  </a:lnTo>
                  <a:lnTo>
                    <a:pt x="0" y="0"/>
                  </a:lnTo>
                  <a:lnTo>
                    <a:pt x="0" y="0"/>
                  </a:lnTo>
                  <a:lnTo>
                    <a:pt x="4" y="48"/>
                  </a:lnTo>
                  <a:lnTo>
                    <a:pt x="12" y="95"/>
                  </a:lnTo>
                  <a:lnTo>
                    <a:pt x="20" y="141"/>
                  </a:lnTo>
                  <a:lnTo>
                    <a:pt x="31" y="186"/>
                  </a:lnTo>
                  <a:lnTo>
                    <a:pt x="43" y="230"/>
                  </a:lnTo>
                  <a:lnTo>
                    <a:pt x="59" y="274"/>
                  </a:lnTo>
                  <a:lnTo>
                    <a:pt x="76" y="317"/>
                  </a:lnTo>
                  <a:lnTo>
                    <a:pt x="95" y="359"/>
                  </a:lnTo>
                  <a:lnTo>
                    <a:pt x="95" y="359"/>
                  </a:lnTo>
                  <a:lnTo>
                    <a:pt x="98" y="363"/>
                  </a:lnTo>
                  <a:lnTo>
                    <a:pt x="101" y="366"/>
                  </a:lnTo>
                  <a:lnTo>
                    <a:pt x="106" y="369"/>
                  </a:lnTo>
                  <a:lnTo>
                    <a:pt x="111" y="373"/>
                  </a:lnTo>
                  <a:lnTo>
                    <a:pt x="121" y="376"/>
                  </a:lnTo>
                  <a:lnTo>
                    <a:pt x="132" y="378"/>
                  </a:lnTo>
                  <a:lnTo>
                    <a:pt x="132" y="378"/>
                  </a:lnTo>
                  <a:lnTo>
                    <a:pt x="171" y="379"/>
                  </a:lnTo>
                  <a:lnTo>
                    <a:pt x="211" y="379"/>
                  </a:lnTo>
                  <a:lnTo>
                    <a:pt x="290" y="379"/>
                  </a:lnTo>
                  <a:lnTo>
                    <a:pt x="290" y="3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52">
              <a:extLst>
                <a:ext uri="{FF2B5EF4-FFF2-40B4-BE49-F238E27FC236}">
                  <a16:creationId xmlns:a16="http://schemas.microsoft.com/office/drawing/2014/main" id="{4EA9E27F-DE4D-4460-AF20-17F8B5090CAD}"/>
                </a:ext>
              </a:extLst>
            </p:cNvPr>
            <p:cNvSpPr>
              <a:spLocks/>
            </p:cNvSpPr>
            <p:nvPr/>
          </p:nvSpPr>
          <p:spPr bwMode="auto">
            <a:xfrm>
              <a:off x="1069976" y="2425701"/>
              <a:ext cx="107950" cy="74613"/>
            </a:xfrm>
            <a:custGeom>
              <a:avLst/>
              <a:gdLst>
                <a:gd name="T0" fmla="*/ 479 w 479"/>
                <a:gd name="T1" fmla="*/ 0 h 331"/>
                <a:gd name="T2" fmla="*/ 479 w 479"/>
                <a:gd name="T3" fmla="*/ 0 h 331"/>
                <a:gd name="T4" fmla="*/ 444 w 479"/>
                <a:gd name="T5" fmla="*/ 12 h 331"/>
                <a:gd name="T6" fmla="*/ 410 w 479"/>
                <a:gd name="T7" fmla="*/ 26 h 331"/>
                <a:gd name="T8" fmla="*/ 376 w 479"/>
                <a:gd name="T9" fmla="*/ 40 h 331"/>
                <a:gd name="T10" fmla="*/ 342 w 479"/>
                <a:gd name="T11" fmla="*/ 55 h 331"/>
                <a:gd name="T12" fmla="*/ 311 w 479"/>
                <a:gd name="T13" fmla="*/ 72 h 331"/>
                <a:gd name="T14" fmla="*/ 279 w 479"/>
                <a:gd name="T15" fmla="*/ 90 h 331"/>
                <a:gd name="T16" fmla="*/ 248 w 479"/>
                <a:gd name="T17" fmla="*/ 109 h 331"/>
                <a:gd name="T18" fmla="*/ 219 w 479"/>
                <a:gd name="T19" fmla="*/ 129 h 331"/>
                <a:gd name="T20" fmla="*/ 189 w 479"/>
                <a:gd name="T21" fmla="*/ 150 h 331"/>
                <a:gd name="T22" fmla="*/ 160 w 479"/>
                <a:gd name="T23" fmla="*/ 172 h 331"/>
                <a:gd name="T24" fmla="*/ 132 w 479"/>
                <a:gd name="T25" fmla="*/ 196 h 331"/>
                <a:gd name="T26" fmla="*/ 104 w 479"/>
                <a:gd name="T27" fmla="*/ 220 h 331"/>
                <a:gd name="T28" fmla="*/ 77 w 479"/>
                <a:gd name="T29" fmla="*/ 246 h 331"/>
                <a:gd name="T30" fmla="*/ 51 w 479"/>
                <a:gd name="T31" fmla="*/ 272 h 331"/>
                <a:gd name="T32" fmla="*/ 25 w 479"/>
                <a:gd name="T33" fmla="*/ 301 h 331"/>
                <a:gd name="T34" fmla="*/ 0 w 479"/>
                <a:gd name="T35" fmla="*/ 331 h 331"/>
                <a:gd name="T36" fmla="*/ 0 w 479"/>
                <a:gd name="T37" fmla="*/ 331 h 331"/>
                <a:gd name="T38" fmla="*/ 340 w 479"/>
                <a:gd name="T39" fmla="*/ 331 h 331"/>
                <a:gd name="T40" fmla="*/ 340 w 479"/>
                <a:gd name="T41" fmla="*/ 331 h 331"/>
                <a:gd name="T42" fmla="*/ 479 w 479"/>
                <a:gd name="T43" fmla="*/ 0 h 331"/>
                <a:gd name="T44" fmla="*/ 479 w 479"/>
                <a:gd name="T4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9" h="331">
                  <a:moveTo>
                    <a:pt x="479" y="0"/>
                  </a:moveTo>
                  <a:lnTo>
                    <a:pt x="479" y="0"/>
                  </a:lnTo>
                  <a:lnTo>
                    <a:pt x="444" y="12"/>
                  </a:lnTo>
                  <a:lnTo>
                    <a:pt x="410" y="26"/>
                  </a:lnTo>
                  <a:lnTo>
                    <a:pt x="376" y="40"/>
                  </a:lnTo>
                  <a:lnTo>
                    <a:pt x="342" y="55"/>
                  </a:lnTo>
                  <a:lnTo>
                    <a:pt x="311" y="72"/>
                  </a:lnTo>
                  <a:lnTo>
                    <a:pt x="279" y="90"/>
                  </a:lnTo>
                  <a:lnTo>
                    <a:pt x="248" y="109"/>
                  </a:lnTo>
                  <a:lnTo>
                    <a:pt x="219" y="129"/>
                  </a:lnTo>
                  <a:lnTo>
                    <a:pt x="189" y="150"/>
                  </a:lnTo>
                  <a:lnTo>
                    <a:pt x="160" y="172"/>
                  </a:lnTo>
                  <a:lnTo>
                    <a:pt x="132" y="196"/>
                  </a:lnTo>
                  <a:lnTo>
                    <a:pt x="104" y="220"/>
                  </a:lnTo>
                  <a:lnTo>
                    <a:pt x="77" y="246"/>
                  </a:lnTo>
                  <a:lnTo>
                    <a:pt x="51" y="272"/>
                  </a:lnTo>
                  <a:lnTo>
                    <a:pt x="25" y="301"/>
                  </a:lnTo>
                  <a:lnTo>
                    <a:pt x="0" y="331"/>
                  </a:lnTo>
                  <a:lnTo>
                    <a:pt x="0" y="331"/>
                  </a:lnTo>
                  <a:lnTo>
                    <a:pt x="340" y="331"/>
                  </a:lnTo>
                  <a:lnTo>
                    <a:pt x="340" y="331"/>
                  </a:lnTo>
                  <a:lnTo>
                    <a:pt x="479" y="0"/>
                  </a:lnTo>
                  <a:lnTo>
                    <a:pt x="4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8" name="Group 77"/>
          <p:cNvGrpSpPr/>
          <p:nvPr userDrawn="1"/>
        </p:nvGrpSpPr>
        <p:grpSpPr>
          <a:xfrm>
            <a:off x="6177509" y="3994458"/>
            <a:ext cx="1080000" cy="1080000"/>
            <a:chOff x="3802063" y="2043113"/>
            <a:chExt cx="1676400" cy="1676400"/>
          </a:xfrm>
          <a:solidFill>
            <a:srgbClr val="000000"/>
          </a:solidFill>
        </p:grpSpPr>
        <p:sp>
          <p:nvSpPr>
            <p:cNvPr id="79" name="Freeform 62">
              <a:extLst>
                <a:ext uri="{FF2B5EF4-FFF2-40B4-BE49-F238E27FC236}">
                  <a16:creationId xmlns:a16="http://schemas.microsoft.com/office/drawing/2014/main" id="{51F1BFD3-4DB0-4D37-9C2A-B3CB075D1A03}"/>
                </a:ext>
              </a:extLst>
            </p:cNvPr>
            <p:cNvSpPr>
              <a:spLocks/>
            </p:cNvSpPr>
            <p:nvPr/>
          </p:nvSpPr>
          <p:spPr bwMode="auto">
            <a:xfrm>
              <a:off x="4589463" y="2492376"/>
              <a:ext cx="25400" cy="101600"/>
            </a:xfrm>
            <a:custGeom>
              <a:avLst/>
              <a:gdLst>
                <a:gd name="T0" fmla="*/ 101 w 101"/>
                <a:gd name="T1" fmla="*/ 386 h 386"/>
                <a:gd name="T2" fmla="*/ 98 w 101"/>
                <a:gd name="T3" fmla="*/ 46 h 386"/>
                <a:gd name="T4" fmla="*/ 53 w 101"/>
                <a:gd name="T5" fmla="*/ 0 h 386"/>
                <a:gd name="T6" fmla="*/ 0 w 101"/>
                <a:gd name="T7" fmla="*/ 41 h 386"/>
                <a:gd name="T8" fmla="*/ 0 w 101"/>
                <a:gd name="T9" fmla="*/ 386 h 386"/>
                <a:gd name="T10" fmla="*/ 101 w 101"/>
                <a:gd name="T11" fmla="*/ 386 h 386"/>
              </a:gdLst>
              <a:ahLst/>
              <a:cxnLst>
                <a:cxn ang="0">
                  <a:pos x="T0" y="T1"/>
                </a:cxn>
                <a:cxn ang="0">
                  <a:pos x="T2" y="T3"/>
                </a:cxn>
                <a:cxn ang="0">
                  <a:pos x="T4" y="T5"/>
                </a:cxn>
                <a:cxn ang="0">
                  <a:pos x="T6" y="T7"/>
                </a:cxn>
                <a:cxn ang="0">
                  <a:pos x="T8" y="T9"/>
                </a:cxn>
                <a:cxn ang="0">
                  <a:pos x="T10" y="T11"/>
                </a:cxn>
              </a:cxnLst>
              <a:rect l="0" t="0" r="r" b="b"/>
              <a:pathLst>
                <a:path w="101" h="386">
                  <a:moveTo>
                    <a:pt x="101" y="386"/>
                  </a:moveTo>
                  <a:lnTo>
                    <a:pt x="98" y="46"/>
                  </a:lnTo>
                  <a:lnTo>
                    <a:pt x="53" y="0"/>
                  </a:lnTo>
                  <a:lnTo>
                    <a:pt x="0" y="41"/>
                  </a:lnTo>
                  <a:lnTo>
                    <a:pt x="0" y="386"/>
                  </a:lnTo>
                  <a:lnTo>
                    <a:pt x="101" y="3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63">
              <a:extLst>
                <a:ext uri="{FF2B5EF4-FFF2-40B4-BE49-F238E27FC236}">
                  <a16:creationId xmlns:a16="http://schemas.microsoft.com/office/drawing/2014/main" id="{C9817699-8FF0-4442-8D9E-2E6EC6FD760E}"/>
                </a:ext>
              </a:extLst>
            </p:cNvPr>
            <p:cNvSpPr>
              <a:spLocks/>
            </p:cNvSpPr>
            <p:nvPr/>
          </p:nvSpPr>
          <p:spPr bwMode="auto">
            <a:xfrm>
              <a:off x="4627563" y="2798763"/>
              <a:ext cx="25400" cy="103188"/>
            </a:xfrm>
            <a:custGeom>
              <a:avLst/>
              <a:gdLst>
                <a:gd name="T0" fmla="*/ 99 w 99"/>
                <a:gd name="T1" fmla="*/ 355 h 390"/>
                <a:gd name="T2" fmla="*/ 99 w 99"/>
                <a:gd name="T3" fmla="*/ 55 h 390"/>
                <a:gd name="T4" fmla="*/ 99 w 99"/>
                <a:gd name="T5" fmla="*/ 55 h 390"/>
                <a:gd name="T6" fmla="*/ 81 w 99"/>
                <a:gd name="T7" fmla="*/ 33 h 390"/>
                <a:gd name="T8" fmla="*/ 49 w 99"/>
                <a:gd name="T9" fmla="*/ 0 h 390"/>
                <a:gd name="T10" fmla="*/ 49 w 99"/>
                <a:gd name="T11" fmla="*/ 0 h 390"/>
                <a:gd name="T12" fmla="*/ 20 w 99"/>
                <a:gd name="T13" fmla="*/ 34 h 390"/>
                <a:gd name="T14" fmla="*/ 2 w 99"/>
                <a:gd name="T15" fmla="*/ 56 h 390"/>
                <a:gd name="T16" fmla="*/ 2 w 99"/>
                <a:gd name="T17" fmla="*/ 56 h 390"/>
                <a:gd name="T18" fmla="*/ 1 w 99"/>
                <a:gd name="T19" fmla="*/ 178 h 390"/>
                <a:gd name="T20" fmla="*/ 0 w 99"/>
                <a:gd name="T21" fmla="*/ 390 h 390"/>
                <a:gd name="T22" fmla="*/ 0 w 99"/>
                <a:gd name="T23" fmla="*/ 390 h 390"/>
                <a:gd name="T24" fmla="*/ 99 w 99"/>
                <a:gd name="T25" fmla="*/ 390 h 390"/>
                <a:gd name="T26" fmla="*/ 99 w 99"/>
                <a:gd name="T27" fmla="*/ 35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390">
                  <a:moveTo>
                    <a:pt x="99" y="355"/>
                  </a:moveTo>
                  <a:lnTo>
                    <a:pt x="99" y="55"/>
                  </a:lnTo>
                  <a:lnTo>
                    <a:pt x="99" y="55"/>
                  </a:lnTo>
                  <a:lnTo>
                    <a:pt x="81" y="33"/>
                  </a:lnTo>
                  <a:lnTo>
                    <a:pt x="49" y="0"/>
                  </a:lnTo>
                  <a:lnTo>
                    <a:pt x="49" y="0"/>
                  </a:lnTo>
                  <a:lnTo>
                    <a:pt x="20" y="34"/>
                  </a:lnTo>
                  <a:lnTo>
                    <a:pt x="2" y="56"/>
                  </a:lnTo>
                  <a:lnTo>
                    <a:pt x="2" y="56"/>
                  </a:lnTo>
                  <a:lnTo>
                    <a:pt x="1" y="178"/>
                  </a:lnTo>
                  <a:lnTo>
                    <a:pt x="0" y="390"/>
                  </a:lnTo>
                  <a:lnTo>
                    <a:pt x="0" y="390"/>
                  </a:lnTo>
                  <a:lnTo>
                    <a:pt x="99" y="390"/>
                  </a:lnTo>
                  <a:lnTo>
                    <a:pt x="99" y="3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64">
              <a:extLst>
                <a:ext uri="{FF2B5EF4-FFF2-40B4-BE49-F238E27FC236}">
                  <a16:creationId xmlns:a16="http://schemas.microsoft.com/office/drawing/2014/main" id="{B60DB102-9E52-4FDB-9295-E9304A2D9784}"/>
                </a:ext>
              </a:extLst>
            </p:cNvPr>
            <p:cNvSpPr>
              <a:spLocks/>
            </p:cNvSpPr>
            <p:nvPr/>
          </p:nvSpPr>
          <p:spPr bwMode="auto">
            <a:xfrm>
              <a:off x="4665663" y="2492376"/>
              <a:ext cx="25400" cy="101600"/>
            </a:xfrm>
            <a:custGeom>
              <a:avLst/>
              <a:gdLst>
                <a:gd name="T0" fmla="*/ 96 w 99"/>
                <a:gd name="T1" fmla="*/ 43 h 385"/>
                <a:gd name="T2" fmla="*/ 46 w 99"/>
                <a:gd name="T3" fmla="*/ 0 h 385"/>
                <a:gd name="T4" fmla="*/ 1 w 99"/>
                <a:gd name="T5" fmla="*/ 41 h 385"/>
                <a:gd name="T6" fmla="*/ 1 w 99"/>
                <a:gd name="T7" fmla="*/ 41 h 385"/>
                <a:gd name="T8" fmla="*/ 1 w 99"/>
                <a:gd name="T9" fmla="*/ 170 h 385"/>
                <a:gd name="T10" fmla="*/ 0 w 99"/>
                <a:gd name="T11" fmla="*/ 385 h 385"/>
                <a:gd name="T12" fmla="*/ 0 w 99"/>
                <a:gd name="T13" fmla="*/ 385 h 385"/>
                <a:gd name="T14" fmla="*/ 99 w 99"/>
                <a:gd name="T15" fmla="*/ 385 h 385"/>
                <a:gd name="T16" fmla="*/ 99 w 99"/>
                <a:gd name="T17" fmla="*/ 385 h 385"/>
                <a:gd name="T18" fmla="*/ 98 w 99"/>
                <a:gd name="T19" fmla="*/ 171 h 385"/>
                <a:gd name="T20" fmla="*/ 96 w 99"/>
                <a:gd name="T21" fmla="*/ 43 h 385"/>
                <a:gd name="T22" fmla="*/ 96 w 99"/>
                <a:gd name="T23" fmla="*/ 43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5">
                  <a:moveTo>
                    <a:pt x="96" y="43"/>
                  </a:moveTo>
                  <a:lnTo>
                    <a:pt x="46" y="0"/>
                  </a:lnTo>
                  <a:lnTo>
                    <a:pt x="1" y="41"/>
                  </a:lnTo>
                  <a:lnTo>
                    <a:pt x="1" y="41"/>
                  </a:lnTo>
                  <a:lnTo>
                    <a:pt x="1" y="170"/>
                  </a:lnTo>
                  <a:lnTo>
                    <a:pt x="0" y="385"/>
                  </a:lnTo>
                  <a:lnTo>
                    <a:pt x="0" y="385"/>
                  </a:lnTo>
                  <a:lnTo>
                    <a:pt x="99" y="385"/>
                  </a:lnTo>
                  <a:lnTo>
                    <a:pt x="99" y="385"/>
                  </a:lnTo>
                  <a:lnTo>
                    <a:pt x="98" y="171"/>
                  </a:lnTo>
                  <a:lnTo>
                    <a:pt x="96" y="43"/>
                  </a:lnTo>
                  <a:lnTo>
                    <a:pt x="96"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65">
              <a:extLst>
                <a:ext uri="{FF2B5EF4-FFF2-40B4-BE49-F238E27FC236}">
                  <a16:creationId xmlns:a16="http://schemas.microsoft.com/office/drawing/2014/main" id="{86E803B8-0C55-46B0-A056-5AFA11803493}"/>
                </a:ext>
              </a:extLst>
            </p:cNvPr>
            <p:cNvSpPr>
              <a:spLocks noEditPoints="1"/>
            </p:cNvSpPr>
            <p:nvPr/>
          </p:nvSpPr>
          <p:spPr bwMode="auto">
            <a:xfrm>
              <a:off x="4464051" y="2952751"/>
              <a:ext cx="352425" cy="360363"/>
            </a:xfrm>
            <a:custGeom>
              <a:avLst/>
              <a:gdLst>
                <a:gd name="T0" fmla="*/ 729 w 1337"/>
                <a:gd name="T1" fmla="*/ 1359 h 1363"/>
                <a:gd name="T2" fmla="*/ 862 w 1337"/>
                <a:gd name="T3" fmla="*/ 1334 h 1363"/>
                <a:gd name="T4" fmla="*/ 984 w 1337"/>
                <a:gd name="T5" fmla="*/ 1282 h 1363"/>
                <a:gd name="T6" fmla="*/ 1091 w 1337"/>
                <a:gd name="T7" fmla="*/ 1211 h 1363"/>
                <a:gd name="T8" fmla="*/ 1183 w 1337"/>
                <a:gd name="T9" fmla="*/ 1119 h 1363"/>
                <a:gd name="T10" fmla="*/ 1255 w 1337"/>
                <a:gd name="T11" fmla="*/ 1011 h 1363"/>
                <a:gd name="T12" fmla="*/ 1307 w 1337"/>
                <a:gd name="T13" fmla="*/ 889 h 1363"/>
                <a:gd name="T14" fmla="*/ 1333 w 1337"/>
                <a:gd name="T15" fmla="*/ 756 h 1363"/>
                <a:gd name="T16" fmla="*/ 1337 w 1337"/>
                <a:gd name="T17" fmla="*/ 651 h 1363"/>
                <a:gd name="T18" fmla="*/ 1317 w 1337"/>
                <a:gd name="T19" fmla="*/ 514 h 1363"/>
                <a:gd name="T20" fmla="*/ 1273 w 1337"/>
                <a:gd name="T21" fmla="*/ 389 h 1363"/>
                <a:gd name="T22" fmla="*/ 1207 w 1337"/>
                <a:gd name="T23" fmla="*/ 276 h 1363"/>
                <a:gd name="T24" fmla="*/ 1121 w 1337"/>
                <a:gd name="T25" fmla="*/ 179 h 1363"/>
                <a:gd name="T26" fmla="*/ 1021 w 1337"/>
                <a:gd name="T27" fmla="*/ 100 h 1363"/>
                <a:gd name="T28" fmla="*/ 905 w 1337"/>
                <a:gd name="T29" fmla="*/ 43 h 1363"/>
                <a:gd name="T30" fmla="*/ 779 w 1337"/>
                <a:gd name="T31" fmla="*/ 8 h 1363"/>
                <a:gd name="T32" fmla="*/ 679 w 1337"/>
                <a:gd name="T33" fmla="*/ 0 h 1363"/>
                <a:gd name="T34" fmla="*/ 540 w 1337"/>
                <a:gd name="T35" fmla="*/ 14 h 1363"/>
                <a:gd name="T36" fmla="*/ 411 w 1337"/>
                <a:gd name="T37" fmla="*/ 53 h 1363"/>
                <a:gd name="T38" fmla="*/ 296 w 1337"/>
                <a:gd name="T39" fmla="*/ 115 h 1363"/>
                <a:gd name="T40" fmla="*/ 197 w 1337"/>
                <a:gd name="T41" fmla="*/ 198 h 1363"/>
                <a:gd name="T42" fmla="*/ 114 w 1337"/>
                <a:gd name="T43" fmla="*/ 299 h 1363"/>
                <a:gd name="T44" fmla="*/ 53 w 1337"/>
                <a:gd name="T45" fmla="*/ 415 h 1363"/>
                <a:gd name="T46" fmla="*/ 13 w 1337"/>
                <a:gd name="T47" fmla="*/ 544 h 1363"/>
                <a:gd name="T48" fmla="*/ 0 w 1337"/>
                <a:gd name="T49" fmla="*/ 684 h 1363"/>
                <a:gd name="T50" fmla="*/ 7 w 1337"/>
                <a:gd name="T51" fmla="*/ 786 h 1363"/>
                <a:gd name="T52" fmla="*/ 39 w 1337"/>
                <a:gd name="T53" fmla="*/ 916 h 1363"/>
                <a:gd name="T54" fmla="*/ 95 w 1337"/>
                <a:gd name="T55" fmla="*/ 1034 h 1363"/>
                <a:gd name="T56" fmla="*/ 171 w 1337"/>
                <a:gd name="T57" fmla="*/ 1138 h 1363"/>
                <a:gd name="T58" fmla="*/ 265 w 1337"/>
                <a:gd name="T59" fmla="*/ 1226 h 1363"/>
                <a:gd name="T60" fmla="*/ 373 w 1337"/>
                <a:gd name="T61" fmla="*/ 1294 h 1363"/>
                <a:gd name="T62" fmla="*/ 495 w 1337"/>
                <a:gd name="T63" fmla="*/ 1341 h 1363"/>
                <a:gd name="T64" fmla="*/ 625 w 1337"/>
                <a:gd name="T65" fmla="*/ 1361 h 1363"/>
                <a:gd name="T66" fmla="*/ 576 w 1337"/>
                <a:gd name="T67" fmla="*/ 305 h 1363"/>
                <a:gd name="T68" fmla="*/ 583 w 1337"/>
                <a:gd name="T69" fmla="*/ 263 h 1363"/>
                <a:gd name="T70" fmla="*/ 601 w 1337"/>
                <a:gd name="T71" fmla="*/ 229 h 1363"/>
                <a:gd name="T72" fmla="*/ 629 w 1337"/>
                <a:gd name="T73" fmla="*/ 208 h 1363"/>
                <a:gd name="T74" fmla="*/ 666 w 1337"/>
                <a:gd name="T75" fmla="*/ 199 h 1363"/>
                <a:gd name="T76" fmla="*/ 695 w 1337"/>
                <a:gd name="T77" fmla="*/ 204 h 1363"/>
                <a:gd name="T78" fmla="*/ 728 w 1337"/>
                <a:gd name="T79" fmla="*/ 221 h 1363"/>
                <a:gd name="T80" fmla="*/ 750 w 1337"/>
                <a:gd name="T81" fmla="*/ 253 h 1363"/>
                <a:gd name="T82" fmla="*/ 760 w 1337"/>
                <a:gd name="T83" fmla="*/ 295 h 1363"/>
                <a:gd name="T84" fmla="*/ 761 w 1337"/>
                <a:gd name="T85" fmla="*/ 477 h 1363"/>
                <a:gd name="T86" fmla="*/ 763 w 1337"/>
                <a:gd name="T87" fmla="*/ 655 h 1363"/>
                <a:gd name="T88" fmla="*/ 780 w 1337"/>
                <a:gd name="T89" fmla="*/ 695 h 1363"/>
                <a:gd name="T90" fmla="*/ 799 w 1337"/>
                <a:gd name="T91" fmla="*/ 719 h 1363"/>
                <a:gd name="T92" fmla="*/ 891 w 1337"/>
                <a:gd name="T93" fmla="*/ 790 h 1363"/>
                <a:gd name="T94" fmla="*/ 939 w 1337"/>
                <a:gd name="T95" fmla="*/ 828 h 1363"/>
                <a:gd name="T96" fmla="*/ 960 w 1337"/>
                <a:gd name="T97" fmla="*/ 862 h 1363"/>
                <a:gd name="T98" fmla="*/ 968 w 1337"/>
                <a:gd name="T99" fmla="*/ 898 h 1363"/>
                <a:gd name="T100" fmla="*/ 960 w 1337"/>
                <a:gd name="T101" fmla="*/ 933 h 1363"/>
                <a:gd name="T102" fmla="*/ 945 w 1337"/>
                <a:gd name="T103" fmla="*/ 958 h 1363"/>
                <a:gd name="T104" fmla="*/ 915 w 1337"/>
                <a:gd name="T105" fmla="*/ 979 h 1363"/>
                <a:gd name="T106" fmla="*/ 881 w 1337"/>
                <a:gd name="T107" fmla="*/ 987 h 1363"/>
                <a:gd name="T108" fmla="*/ 843 w 1337"/>
                <a:gd name="T109" fmla="*/ 979 h 1363"/>
                <a:gd name="T110" fmla="*/ 814 w 1337"/>
                <a:gd name="T111" fmla="*/ 964 h 1363"/>
                <a:gd name="T112" fmla="*/ 646 w 1337"/>
                <a:gd name="T113" fmla="*/ 840 h 1363"/>
                <a:gd name="T114" fmla="*/ 607 w 1337"/>
                <a:gd name="T115" fmla="*/ 799 h 1363"/>
                <a:gd name="T116" fmla="*/ 582 w 1337"/>
                <a:gd name="T117" fmla="*/ 749 h 1363"/>
                <a:gd name="T118" fmla="*/ 576 w 1337"/>
                <a:gd name="T119" fmla="*/ 696 h 1363"/>
                <a:gd name="T120" fmla="*/ 576 w 1337"/>
                <a:gd name="T121" fmla="*/ 511 h 1363"/>
                <a:gd name="T122" fmla="*/ 576 w 1337"/>
                <a:gd name="T123" fmla="*/ 408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7" h="1363">
                  <a:moveTo>
                    <a:pt x="658" y="1363"/>
                  </a:moveTo>
                  <a:lnTo>
                    <a:pt x="658" y="1363"/>
                  </a:lnTo>
                  <a:lnTo>
                    <a:pt x="694" y="1361"/>
                  </a:lnTo>
                  <a:lnTo>
                    <a:pt x="729" y="1359"/>
                  </a:lnTo>
                  <a:lnTo>
                    <a:pt x="762" y="1356"/>
                  </a:lnTo>
                  <a:lnTo>
                    <a:pt x="796" y="1349"/>
                  </a:lnTo>
                  <a:lnTo>
                    <a:pt x="829" y="1342"/>
                  </a:lnTo>
                  <a:lnTo>
                    <a:pt x="862" y="1334"/>
                  </a:lnTo>
                  <a:lnTo>
                    <a:pt x="893" y="1322"/>
                  </a:lnTo>
                  <a:lnTo>
                    <a:pt x="924" y="1311"/>
                  </a:lnTo>
                  <a:lnTo>
                    <a:pt x="953" y="1298"/>
                  </a:lnTo>
                  <a:lnTo>
                    <a:pt x="984" y="1282"/>
                  </a:lnTo>
                  <a:lnTo>
                    <a:pt x="1012" y="1266"/>
                  </a:lnTo>
                  <a:lnTo>
                    <a:pt x="1040" y="1249"/>
                  </a:lnTo>
                  <a:lnTo>
                    <a:pt x="1065" y="1230"/>
                  </a:lnTo>
                  <a:lnTo>
                    <a:pt x="1091" y="1211"/>
                  </a:lnTo>
                  <a:lnTo>
                    <a:pt x="1116" y="1189"/>
                  </a:lnTo>
                  <a:lnTo>
                    <a:pt x="1139" y="1167"/>
                  </a:lnTo>
                  <a:lnTo>
                    <a:pt x="1161" y="1144"/>
                  </a:lnTo>
                  <a:lnTo>
                    <a:pt x="1183" y="1119"/>
                  </a:lnTo>
                  <a:lnTo>
                    <a:pt x="1203" y="1093"/>
                  </a:lnTo>
                  <a:lnTo>
                    <a:pt x="1222" y="1066"/>
                  </a:lnTo>
                  <a:lnTo>
                    <a:pt x="1240" y="1038"/>
                  </a:lnTo>
                  <a:lnTo>
                    <a:pt x="1255" y="1011"/>
                  </a:lnTo>
                  <a:lnTo>
                    <a:pt x="1270" y="981"/>
                  </a:lnTo>
                  <a:lnTo>
                    <a:pt x="1284" y="951"/>
                  </a:lnTo>
                  <a:lnTo>
                    <a:pt x="1295" y="920"/>
                  </a:lnTo>
                  <a:lnTo>
                    <a:pt x="1307" y="889"/>
                  </a:lnTo>
                  <a:lnTo>
                    <a:pt x="1316" y="856"/>
                  </a:lnTo>
                  <a:lnTo>
                    <a:pt x="1323" y="823"/>
                  </a:lnTo>
                  <a:lnTo>
                    <a:pt x="1329" y="789"/>
                  </a:lnTo>
                  <a:lnTo>
                    <a:pt x="1333" y="756"/>
                  </a:lnTo>
                  <a:lnTo>
                    <a:pt x="1336" y="721"/>
                  </a:lnTo>
                  <a:lnTo>
                    <a:pt x="1337" y="685"/>
                  </a:lnTo>
                  <a:lnTo>
                    <a:pt x="1337" y="685"/>
                  </a:lnTo>
                  <a:lnTo>
                    <a:pt x="1337" y="651"/>
                  </a:lnTo>
                  <a:lnTo>
                    <a:pt x="1333" y="616"/>
                  </a:lnTo>
                  <a:lnTo>
                    <a:pt x="1330" y="581"/>
                  </a:lnTo>
                  <a:lnTo>
                    <a:pt x="1325" y="548"/>
                  </a:lnTo>
                  <a:lnTo>
                    <a:pt x="1317" y="514"/>
                  </a:lnTo>
                  <a:lnTo>
                    <a:pt x="1308" y="482"/>
                  </a:lnTo>
                  <a:lnTo>
                    <a:pt x="1298" y="451"/>
                  </a:lnTo>
                  <a:lnTo>
                    <a:pt x="1285" y="419"/>
                  </a:lnTo>
                  <a:lnTo>
                    <a:pt x="1273" y="389"/>
                  </a:lnTo>
                  <a:lnTo>
                    <a:pt x="1259" y="360"/>
                  </a:lnTo>
                  <a:lnTo>
                    <a:pt x="1242" y="331"/>
                  </a:lnTo>
                  <a:lnTo>
                    <a:pt x="1225" y="303"/>
                  </a:lnTo>
                  <a:lnTo>
                    <a:pt x="1207" y="276"/>
                  </a:lnTo>
                  <a:lnTo>
                    <a:pt x="1187" y="251"/>
                  </a:lnTo>
                  <a:lnTo>
                    <a:pt x="1167" y="226"/>
                  </a:lnTo>
                  <a:lnTo>
                    <a:pt x="1145" y="201"/>
                  </a:lnTo>
                  <a:lnTo>
                    <a:pt x="1121" y="179"/>
                  </a:lnTo>
                  <a:lnTo>
                    <a:pt x="1098" y="158"/>
                  </a:lnTo>
                  <a:lnTo>
                    <a:pt x="1073" y="138"/>
                  </a:lnTo>
                  <a:lnTo>
                    <a:pt x="1047" y="118"/>
                  </a:lnTo>
                  <a:lnTo>
                    <a:pt x="1021" y="100"/>
                  </a:lnTo>
                  <a:lnTo>
                    <a:pt x="993" y="84"/>
                  </a:lnTo>
                  <a:lnTo>
                    <a:pt x="964" y="68"/>
                  </a:lnTo>
                  <a:lnTo>
                    <a:pt x="934" y="55"/>
                  </a:lnTo>
                  <a:lnTo>
                    <a:pt x="905" y="43"/>
                  </a:lnTo>
                  <a:lnTo>
                    <a:pt x="874" y="31"/>
                  </a:lnTo>
                  <a:lnTo>
                    <a:pt x="843" y="23"/>
                  </a:lnTo>
                  <a:lnTo>
                    <a:pt x="812" y="15"/>
                  </a:lnTo>
                  <a:lnTo>
                    <a:pt x="779" y="8"/>
                  </a:lnTo>
                  <a:lnTo>
                    <a:pt x="746" y="4"/>
                  </a:lnTo>
                  <a:lnTo>
                    <a:pt x="712" y="1"/>
                  </a:lnTo>
                  <a:lnTo>
                    <a:pt x="679" y="0"/>
                  </a:lnTo>
                  <a:lnTo>
                    <a:pt x="679" y="0"/>
                  </a:lnTo>
                  <a:lnTo>
                    <a:pt x="643" y="1"/>
                  </a:lnTo>
                  <a:lnTo>
                    <a:pt x="608" y="4"/>
                  </a:lnTo>
                  <a:lnTo>
                    <a:pt x="573" y="8"/>
                  </a:lnTo>
                  <a:lnTo>
                    <a:pt x="540" y="14"/>
                  </a:lnTo>
                  <a:lnTo>
                    <a:pt x="506" y="21"/>
                  </a:lnTo>
                  <a:lnTo>
                    <a:pt x="474" y="30"/>
                  </a:lnTo>
                  <a:lnTo>
                    <a:pt x="443" y="40"/>
                  </a:lnTo>
                  <a:lnTo>
                    <a:pt x="411" y="53"/>
                  </a:lnTo>
                  <a:lnTo>
                    <a:pt x="381" y="66"/>
                  </a:lnTo>
                  <a:lnTo>
                    <a:pt x="352" y="81"/>
                  </a:lnTo>
                  <a:lnTo>
                    <a:pt x="324" y="97"/>
                  </a:lnTo>
                  <a:lnTo>
                    <a:pt x="296" y="115"/>
                  </a:lnTo>
                  <a:lnTo>
                    <a:pt x="271" y="133"/>
                  </a:lnTo>
                  <a:lnTo>
                    <a:pt x="245" y="153"/>
                  </a:lnTo>
                  <a:lnTo>
                    <a:pt x="220" y="175"/>
                  </a:lnTo>
                  <a:lnTo>
                    <a:pt x="197" y="198"/>
                  </a:lnTo>
                  <a:lnTo>
                    <a:pt x="174" y="221"/>
                  </a:lnTo>
                  <a:lnTo>
                    <a:pt x="153" y="246"/>
                  </a:lnTo>
                  <a:lnTo>
                    <a:pt x="133" y="272"/>
                  </a:lnTo>
                  <a:lnTo>
                    <a:pt x="114" y="299"/>
                  </a:lnTo>
                  <a:lnTo>
                    <a:pt x="97" y="327"/>
                  </a:lnTo>
                  <a:lnTo>
                    <a:pt x="81" y="354"/>
                  </a:lnTo>
                  <a:lnTo>
                    <a:pt x="66" y="385"/>
                  </a:lnTo>
                  <a:lnTo>
                    <a:pt x="53" y="415"/>
                  </a:lnTo>
                  <a:lnTo>
                    <a:pt x="40" y="446"/>
                  </a:lnTo>
                  <a:lnTo>
                    <a:pt x="30" y="477"/>
                  </a:lnTo>
                  <a:lnTo>
                    <a:pt x="21" y="511"/>
                  </a:lnTo>
                  <a:lnTo>
                    <a:pt x="13" y="544"/>
                  </a:lnTo>
                  <a:lnTo>
                    <a:pt x="8" y="578"/>
                  </a:lnTo>
                  <a:lnTo>
                    <a:pt x="3" y="613"/>
                  </a:lnTo>
                  <a:lnTo>
                    <a:pt x="0" y="648"/>
                  </a:lnTo>
                  <a:lnTo>
                    <a:pt x="0" y="684"/>
                  </a:lnTo>
                  <a:lnTo>
                    <a:pt x="0" y="684"/>
                  </a:lnTo>
                  <a:lnTo>
                    <a:pt x="0" y="719"/>
                  </a:lnTo>
                  <a:lnTo>
                    <a:pt x="2" y="752"/>
                  </a:lnTo>
                  <a:lnTo>
                    <a:pt x="7" y="786"/>
                  </a:lnTo>
                  <a:lnTo>
                    <a:pt x="12" y="819"/>
                  </a:lnTo>
                  <a:lnTo>
                    <a:pt x="20" y="852"/>
                  </a:lnTo>
                  <a:lnTo>
                    <a:pt x="29" y="884"/>
                  </a:lnTo>
                  <a:lnTo>
                    <a:pt x="39" y="916"/>
                  </a:lnTo>
                  <a:lnTo>
                    <a:pt x="51" y="946"/>
                  </a:lnTo>
                  <a:lnTo>
                    <a:pt x="65" y="976"/>
                  </a:lnTo>
                  <a:lnTo>
                    <a:pt x="79" y="1005"/>
                  </a:lnTo>
                  <a:lnTo>
                    <a:pt x="95" y="1034"/>
                  </a:lnTo>
                  <a:lnTo>
                    <a:pt x="112" y="1061"/>
                  </a:lnTo>
                  <a:lnTo>
                    <a:pt x="131" y="1088"/>
                  </a:lnTo>
                  <a:lnTo>
                    <a:pt x="151" y="1113"/>
                  </a:lnTo>
                  <a:lnTo>
                    <a:pt x="171" y="1138"/>
                  </a:lnTo>
                  <a:lnTo>
                    <a:pt x="193" y="1161"/>
                  </a:lnTo>
                  <a:lnTo>
                    <a:pt x="216" y="1185"/>
                  </a:lnTo>
                  <a:lnTo>
                    <a:pt x="240" y="1206"/>
                  </a:lnTo>
                  <a:lnTo>
                    <a:pt x="265" y="1226"/>
                  </a:lnTo>
                  <a:lnTo>
                    <a:pt x="291" y="1245"/>
                  </a:lnTo>
                  <a:lnTo>
                    <a:pt x="317" y="1263"/>
                  </a:lnTo>
                  <a:lnTo>
                    <a:pt x="345" y="1280"/>
                  </a:lnTo>
                  <a:lnTo>
                    <a:pt x="373" y="1294"/>
                  </a:lnTo>
                  <a:lnTo>
                    <a:pt x="404" y="1309"/>
                  </a:lnTo>
                  <a:lnTo>
                    <a:pt x="433" y="1321"/>
                  </a:lnTo>
                  <a:lnTo>
                    <a:pt x="464" y="1331"/>
                  </a:lnTo>
                  <a:lnTo>
                    <a:pt x="495" y="1341"/>
                  </a:lnTo>
                  <a:lnTo>
                    <a:pt x="526" y="1348"/>
                  </a:lnTo>
                  <a:lnTo>
                    <a:pt x="559" y="1355"/>
                  </a:lnTo>
                  <a:lnTo>
                    <a:pt x="591" y="1359"/>
                  </a:lnTo>
                  <a:lnTo>
                    <a:pt x="625" y="1361"/>
                  </a:lnTo>
                  <a:lnTo>
                    <a:pt x="658" y="1363"/>
                  </a:lnTo>
                  <a:lnTo>
                    <a:pt x="658" y="1363"/>
                  </a:lnTo>
                  <a:close/>
                  <a:moveTo>
                    <a:pt x="576" y="305"/>
                  </a:moveTo>
                  <a:lnTo>
                    <a:pt x="576" y="305"/>
                  </a:lnTo>
                  <a:lnTo>
                    <a:pt x="577" y="294"/>
                  </a:lnTo>
                  <a:lnTo>
                    <a:pt x="578" y="283"/>
                  </a:lnTo>
                  <a:lnTo>
                    <a:pt x="580" y="273"/>
                  </a:lnTo>
                  <a:lnTo>
                    <a:pt x="583" y="263"/>
                  </a:lnTo>
                  <a:lnTo>
                    <a:pt x="587" y="253"/>
                  </a:lnTo>
                  <a:lnTo>
                    <a:pt x="591" y="245"/>
                  </a:lnTo>
                  <a:lnTo>
                    <a:pt x="596" y="236"/>
                  </a:lnTo>
                  <a:lnTo>
                    <a:pt x="601" y="229"/>
                  </a:lnTo>
                  <a:lnTo>
                    <a:pt x="608" y="223"/>
                  </a:lnTo>
                  <a:lnTo>
                    <a:pt x="615" y="217"/>
                  </a:lnTo>
                  <a:lnTo>
                    <a:pt x="621" y="211"/>
                  </a:lnTo>
                  <a:lnTo>
                    <a:pt x="629" y="208"/>
                  </a:lnTo>
                  <a:lnTo>
                    <a:pt x="638" y="205"/>
                  </a:lnTo>
                  <a:lnTo>
                    <a:pt x="647" y="201"/>
                  </a:lnTo>
                  <a:lnTo>
                    <a:pt x="656" y="200"/>
                  </a:lnTo>
                  <a:lnTo>
                    <a:pt x="666" y="199"/>
                  </a:lnTo>
                  <a:lnTo>
                    <a:pt x="666" y="199"/>
                  </a:lnTo>
                  <a:lnTo>
                    <a:pt x="676" y="200"/>
                  </a:lnTo>
                  <a:lnTo>
                    <a:pt x="686" y="201"/>
                  </a:lnTo>
                  <a:lnTo>
                    <a:pt x="695" y="204"/>
                  </a:lnTo>
                  <a:lnTo>
                    <a:pt x="704" y="207"/>
                  </a:lnTo>
                  <a:lnTo>
                    <a:pt x="712" y="210"/>
                  </a:lnTo>
                  <a:lnTo>
                    <a:pt x="720" y="216"/>
                  </a:lnTo>
                  <a:lnTo>
                    <a:pt x="728" y="221"/>
                  </a:lnTo>
                  <a:lnTo>
                    <a:pt x="733" y="228"/>
                  </a:lnTo>
                  <a:lnTo>
                    <a:pt x="740" y="236"/>
                  </a:lnTo>
                  <a:lnTo>
                    <a:pt x="746" y="244"/>
                  </a:lnTo>
                  <a:lnTo>
                    <a:pt x="750" y="253"/>
                  </a:lnTo>
                  <a:lnTo>
                    <a:pt x="753" y="263"/>
                  </a:lnTo>
                  <a:lnTo>
                    <a:pt x="757" y="273"/>
                  </a:lnTo>
                  <a:lnTo>
                    <a:pt x="759" y="284"/>
                  </a:lnTo>
                  <a:lnTo>
                    <a:pt x="760" y="295"/>
                  </a:lnTo>
                  <a:lnTo>
                    <a:pt x="761" y="308"/>
                  </a:lnTo>
                  <a:lnTo>
                    <a:pt x="761" y="308"/>
                  </a:lnTo>
                  <a:lnTo>
                    <a:pt x="761" y="392"/>
                  </a:lnTo>
                  <a:lnTo>
                    <a:pt x="761" y="477"/>
                  </a:lnTo>
                  <a:lnTo>
                    <a:pt x="761" y="561"/>
                  </a:lnTo>
                  <a:lnTo>
                    <a:pt x="762" y="646"/>
                  </a:lnTo>
                  <a:lnTo>
                    <a:pt x="762" y="646"/>
                  </a:lnTo>
                  <a:lnTo>
                    <a:pt x="763" y="655"/>
                  </a:lnTo>
                  <a:lnTo>
                    <a:pt x="766" y="665"/>
                  </a:lnTo>
                  <a:lnTo>
                    <a:pt x="770" y="675"/>
                  </a:lnTo>
                  <a:lnTo>
                    <a:pt x="775" y="685"/>
                  </a:lnTo>
                  <a:lnTo>
                    <a:pt x="780" y="695"/>
                  </a:lnTo>
                  <a:lnTo>
                    <a:pt x="786" y="704"/>
                  </a:lnTo>
                  <a:lnTo>
                    <a:pt x="793" y="712"/>
                  </a:lnTo>
                  <a:lnTo>
                    <a:pt x="799" y="719"/>
                  </a:lnTo>
                  <a:lnTo>
                    <a:pt x="799" y="719"/>
                  </a:lnTo>
                  <a:lnTo>
                    <a:pt x="814" y="732"/>
                  </a:lnTo>
                  <a:lnTo>
                    <a:pt x="828" y="745"/>
                  </a:lnTo>
                  <a:lnTo>
                    <a:pt x="860" y="767"/>
                  </a:lnTo>
                  <a:lnTo>
                    <a:pt x="891" y="790"/>
                  </a:lnTo>
                  <a:lnTo>
                    <a:pt x="922" y="813"/>
                  </a:lnTo>
                  <a:lnTo>
                    <a:pt x="922" y="813"/>
                  </a:lnTo>
                  <a:lnTo>
                    <a:pt x="931" y="821"/>
                  </a:lnTo>
                  <a:lnTo>
                    <a:pt x="939" y="828"/>
                  </a:lnTo>
                  <a:lnTo>
                    <a:pt x="946" y="836"/>
                  </a:lnTo>
                  <a:lnTo>
                    <a:pt x="951" y="844"/>
                  </a:lnTo>
                  <a:lnTo>
                    <a:pt x="957" y="853"/>
                  </a:lnTo>
                  <a:lnTo>
                    <a:pt x="960" y="862"/>
                  </a:lnTo>
                  <a:lnTo>
                    <a:pt x="964" y="871"/>
                  </a:lnTo>
                  <a:lnTo>
                    <a:pt x="966" y="880"/>
                  </a:lnTo>
                  <a:lnTo>
                    <a:pt x="968" y="889"/>
                  </a:lnTo>
                  <a:lnTo>
                    <a:pt x="968" y="898"/>
                  </a:lnTo>
                  <a:lnTo>
                    <a:pt x="968" y="907"/>
                  </a:lnTo>
                  <a:lnTo>
                    <a:pt x="966" y="916"/>
                  </a:lnTo>
                  <a:lnTo>
                    <a:pt x="964" y="924"/>
                  </a:lnTo>
                  <a:lnTo>
                    <a:pt x="960" y="933"/>
                  </a:lnTo>
                  <a:lnTo>
                    <a:pt x="957" y="941"/>
                  </a:lnTo>
                  <a:lnTo>
                    <a:pt x="951" y="950"/>
                  </a:lnTo>
                  <a:lnTo>
                    <a:pt x="951" y="950"/>
                  </a:lnTo>
                  <a:lnTo>
                    <a:pt x="945" y="958"/>
                  </a:lnTo>
                  <a:lnTo>
                    <a:pt x="939" y="965"/>
                  </a:lnTo>
                  <a:lnTo>
                    <a:pt x="931" y="970"/>
                  </a:lnTo>
                  <a:lnTo>
                    <a:pt x="923" y="975"/>
                  </a:lnTo>
                  <a:lnTo>
                    <a:pt x="915" y="979"/>
                  </a:lnTo>
                  <a:lnTo>
                    <a:pt x="908" y="983"/>
                  </a:lnTo>
                  <a:lnTo>
                    <a:pt x="899" y="985"/>
                  </a:lnTo>
                  <a:lnTo>
                    <a:pt x="890" y="986"/>
                  </a:lnTo>
                  <a:lnTo>
                    <a:pt x="881" y="987"/>
                  </a:lnTo>
                  <a:lnTo>
                    <a:pt x="871" y="986"/>
                  </a:lnTo>
                  <a:lnTo>
                    <a:pt x="862" y="985"/>
                  </a:lnTo>
                  <a:lnTo>
                    <a:pt x="852" y="983"/>
                  </a:lnTo>
                  <a:lnTo>
                    <a:pt x="843" y="979"/>
                  </a:lnTo>
                  <a:lnTo>
                    <a:pt x="833" y="975"/>
                  </a:lnTo>
                  <a:lnTo>
                    <a:pt x="824" y="970"/>
                  </a:lnTo>
                  <a:lnTo>
                    <a:pt x="814" y="964"/>
                  </a:lnTo>
                  <a:lnTo>
                    <a:pt x="814" y="964"/>
                  </a:lnTo>
                  <a:lnTo>
                    <a:pt x="766" y="929"/>
                  </a:lnTo>
                  <a:lnTo>
                    <a:pt x="717" y="894"/>
                  </a:lnTo>
                  <a:lnTo>
                    <a:pt x="670" y="857"/>
                  </a:lnTo>
                  <a:lnTo>
                    <a:pt x="646" y="840"/>
                  </a:lnTo>
                  <a:lnTo>
                    <a:pt x="624" y="819"/>
                  </a:lnTo>
                  <a:lnTo>
                    <a:pt x="624" y="819"/>
                  </a:lnTo>
                  <a:lnTo>
                    <a:pt x="615" y="810"/>
                  </a:lnTo>
                  <a:lnTo>
                    <a:pt x="607" y="799"/>
                  </a:lnTo>
                  <a:lnTo>
                    <a:pt x="599" y="788"/>
                  </a:lnTo>
                  <a:lnTo>
                    <a:pt x="592" y="776"/>
                  </a:lnTo>
                  <a:lnTo>
                    <a:pt x="587" y="762"/>
                  </a:lnTo>
                  <a:lnTo>
                    <a:pt x="582" y="749"/>
                  </a:lnTo>
                  <a:lnTo>
                    <a:pt x="580" y="736"/>
                  </a:lnTo>
                  <a:lnTo>
                    <a:pt x="578" y="722"/>
                  </a:lnTo>
                  <a:lnTo>
                    <a:pt x="578" y="722"/>
                  </a:lnTo>
                  <a:lnTo>
                    <a:pt x="576" y="696"/>
                  </a:lnTo>
                  <a:lnTo>
                    <a:pt x="575" y="670"/>
                  </a:lnTo>
                  <a:lnTo>
                    <a:pt x="575" y="617"/>
                  </a:lnTo>
                  <a:lnTo>
                    <a:pt x="575" y="565"/>
                  </a:lnTo>
                  <a:lnTo>
                    <a:pt x="576" y="511"/>
                  </a:lnTo>
                  <a:lnTo>
                    <a:pt x="576" y="511"/>
                  </a:lnTo>
                  <a:lnTo>
                    <a:pt x="576" y="511"/>
                  </a:lnTo>
                  <a:lnTo>
                    <a:pt x="576" y="511"/>
                  </a:lnTo>
                  <a:lnTo>
                    <a:pt x="576" y="408"/>
                  </a:lnTo>
                  <a:lnTo>
                    <a:pt x="576" y="305"/>
                  </a:lnTo>
                  <a:lnTo>
                    <a:pt x="576" y="3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66">
              <a:extLst>
                <a:ext uri="{FF2B5EF4-FFF2-40B4-BE49-F238E27FC236}">
                  <a16:creationId xmlns:a16="http://schemas.microsoft.com/office/drawing/2014/main" id="{9C38625D-0EDA-46D0-A185-38527E4024C8}"/>
                </a:ext>
              </a:extLst>
            </p:cNvPr>
            <p:cNvSpPr>
              <a:spLocks/>
            </p:cNvSpPr>
            <p:nvPr/>
          </p:nvSpPr>
          <p:spPr bwMode="auto">
            <a:xfrm>
              <a:off x="4513263" y="2798763"/>
              <a:ext cx="26988" cy="103188"/>
            </a:xfrm>
            <a:custGeom>
              <a:avLst/>
              <a:gdLst>
                <a:gd name="T0" fmla="*/ 98 w 98"/>
                <a:gd name="T1" fmla="*/ 389 h 389"/>
                <a:gd name="T2" fmla="*/ 97 w 98"/>
                <a:gd name="T3" fmla="*/ 51 h 389"/>
                <a:gd name="T4" fmla="*/ 48 w 98"/>
                <a:gd name="T5" fmla="*/ 0 h 389"/>
                <a:gd name="T6" fmla="*/ 2 w 98"/>
                <a:gd name="T7" fmla="*/ 54 h 389"/>
                <a:gd name="T8" fmla="*/ 0 w 98"/>
                <a:gd name="T9" fmla="*/ 389 h 389"/>
                <a:gd name="T10" fmla="*/ 98 w 98"/>
                <a:gd name="T11" fmla="*/ 389 h 389"/>
              </a:gdLst>
              <a:ahLst/>
              <a:cxnLst>
                <a:cxn ang="0">
                  <a:pos x="T0" y="T1"/>
                </a:cxn>
                <a:cxn ang="0">
                  <a:pos x="T2" y="T3"/>
                </a:cxn>
                <a:cxn ang="0">
                  <a:pos x="T4" y="T5"/>
                </a:cxn>
                <a:cxn ang="0">
                  <a:pos x="T6" y="T7"/>
                </a:cxn>
                <a:cxn ang="0">
                  <a:pos x="T8" y="T9"/>
                </a:cxn>
                <a:cxn ang="0">
                  <a:pos x="T10" y="T11"/>
                </a:cxn>
              </a:cxnLst>
              <a:rect l="0" t="0" r="r" b="b"/>
              <a:pathLst>
                <a:path w="98" h="389">
                  <a:moveTo>
                    <a:pt x="98" y="389"/>
                  </a:moveTo>
                  <a:lnTo>
                    <a:pt x="97" y="51"/>
                  </a:lnTo>
                  <a:lnTo>
                    <a:pt x="48" y="0"/>
                  </a:lnTo>
                  <a:lnTo>
                    <a:pt x="2" y="54"/>
                  </a:lnTo>
                  <a:lnTo>
                    <a:pt x="0" y="389"/>
                  </a:lnTo>
                  <a:lnTo>
                    <a:pt x="98" y="3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67">
              <a:extLst>
                <a:ext uri="{FF2B5EF4-FFF2-40B4-BE49-F238E27FC236}">
                  <a16:creationId xmlns:a16="http://schemas.microsoft.com/office/drawing/2014/main" id="{27BAF8E6-B96C-4EDD-8D74-9F3649DFA761}"/>
                </a:ext>
              </a:extLst>
            </p:cNvPr>
            <p:cNvSpPr>
              <a:spLocks/>
            </p:cNvSpPr>
            <p:nvPr/>
          </p:nvSpPr>
          <p:spPr bwMode="auto">
            <a:xfrm>
              <a:off x="4740276" y="3365501"/>
              <a:ext cx="26988" cy="101600"/>
            </a:xfrm>
            <a:custGeom>
              <a:avLst/>
              <a:gdLst>
                <a:gd name="T0" fmla="*/ 52 w 101"/>
                <a:gd name="T1" fmla="*/ 0 h 387"/>
                <a:gd name="T2" fmla="*/ 0 w 101"/>
                <a:gd name="T3" fmla="*/ 49 h 387"/>
                <a:gd name="T4" fmla="*/ 0 w 101"/>
                <a:gd name="T5" fmla="*/ 387 h 387"/>
                <a:gd name="T6" fmla="*/ 101 w 101"/>
                <a:gd name="T7" fmla="*/ 387 h 387"/>
                <a:gd name="T8" fmla="*/ 101 w 101"/>
                <a:gd name="T9" fmla="*/ 49 h 387"/>
                <a:gd name="T10" fmla="*/ 52 w 101"/>
                <a:gd name="T11" fmla="*/ 0 h 387"/>
              </a:gdLst>
              <a:ahLst/>
              <a:cxnLst>
                <a:cxn ang="0">
                  <a:pos x="T0" y="T1"/>
                </a:cxn>
                <a:cxn ang="0">
                  <a:pos x="T2" y="T3"/>
                </a:cxn>
                <a:cxn ang="0">
                  <a:pos x="T4" y="T5"/>
                </a:cxn>
                <a:cxn ang="0">
                  <a:pos x="T6" y="T7"/>
                </a:cxn>
                <a:cxn ang="0">
                  <a:pos x="T8" y="T9"/>
                </a:cxn>
                <a:cxn ang="0">
                  <a:pos x="T10" y="T11"/>
                </a:cxn>
              </a:cxnLst>
              <a:rect l="0" t="0" r="r" b="b"/>
              <a:pathLst>
                <a:path w="101" h="387">
                  <a:moveTo>
                    <a:pt x="52" y="0"/>
                  </a:moveTo>
                  <a:lnTo>
                    <a:pt x="0" y="49"/>
                  </a:lnTo>
                  <a:lnTo>
                    <a:pt x="0" y="387"/>
                  </a:lnTo>
                  <a:lnTo>
                    <a:pt x="101" y="387"/>
                  </a:lnTo>
                  <a:lnTo>
                    <a:pt x="101" y="49"/>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68">
              <a:extLst>
                <a:ext uri="{FF2B5EF4-FFF2-40B4-BE49-F238E27FC236}">
                  <a16:creationId xmlns:a16="http://schemas.microsoft.com/office/drawing/2014/main" id="{8F3ADCCA-ED19-4DD0-A683-7E2FDF046A79}"/>
                </a:ext>
              </a:extLst>
            </p:cNvPr>
            <p:cNvSpPr>
              <a:spLocks/>
            </p:cNvSpPr>
            <p:nvPr/>
          </p:nvSpPr>
          <p:spPr bwMode="auto">
            <a:xfrm>
              <a:off x="4740276" y="2800351"/>
              <a:ext cx="26988" cy="103188"/>
            </a:xfrm>
            <a:custGeom>
              <a:avLst/>
              <a:gdLst>
                <a:gd name="T0" fmla="*/ 97 w 99"/>
                <a:gd name="T1" fmla="*/ 49 h 387"/>
                <a:gd name="T2" fmla="*/ 51 w 99"/>
                <a:gd name="T3" fmla="*/ 0 h 387"/>
                <a:gd name="T4" fmla="*/ 3 w 99"/>
                <a:gd name="T5" fmla="*/ 51 h 387"/>
                <a:gd name="T6" fmla="*/ 3 w 99"/>
                <a:gd name="T7" fmla="*/ 51 h 387"/>
                <a:gd name="T8" fmla="*/ 2 w 99"/>
                <a:gd name="T9" fmla="*/ 174 h 387"/>
                <a:gd name="T10" fmla="*/ 0 w 99"/>
                <a:gd name="T11" fmla="*/ 387 h 387"/>
                <a:gd name="T12" fmla="*/ 0 w 99"/>
                <a:gd name="T13" fmla="*/ 387 h 387"/>
                <a:gd name="T14" fmla="*/ 99 w 99"/>
                <a:gd name="T15" fmla="*/ 387 h 387"/>
                <a:gd name="T16" fmla="*/ 99 w 99"/>
                <a:gd name="T17" fmla="*/ 387 h 387"/>
                <a:gd name="T18" fmla="*/ 98 w 99"/>
                <a:gd name="T19" fmla="*/ 175 h 387"/>
                <a:gd name="T20" fmla="*/ 97 w 99"/>
                <a:gd name="T21" fmla="*/ 49 h 387"/>
                <a:gd name="T22" fmla="*/ 97 w 99"/>
                <a:gd name="T23" fmla="*/ 4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7">
                  <a:moveTo>
                    <a:pt x="97" y="49"/>
                  </a:moveTo>
                  <a:lnTo>
                    <a:pt x="51" y="0"/>
                  </a:lnTo>
                  <a:lnTo>
                    <a:pt x="3" y="51"/>
                  </a:lnTo>
                  <a:lnTo>
                    <a:pt x="3" y="51"/>
                  </a:lnTo>
                  <a:lnTo>
                    <a:pt x="2" y="174"/>
                  </a:lnTo>
                  <a:lnTo>
                    <a:pt x="0" y="387"/>
                  </a:lnTo>
                  <a:lnTo>
                    <a:pt x="0" y="387"/>
                  </a:lnTo>
                  <a:lnTo>
                    <a:pt x="99" y="387"/>
                  </a:lnTo>
                  <a:lnTo>
                    <a:pt x="99" y="387"/>
                  </a:lnTo>
                  <a:lnTo>
                    <a:pt x="98" y="175"/>
                  </a:lnTo>
                  <a:lnTo>
                    <a:pt x="97" y="49"/>
                  </a:lnTo>
                  <a:lnTo>
                    <a:pt x="9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69">
              <a:extLst>
                <a:ext uri="{FF2B5EF4-FFF2-40B4-BE49-F238E27FC236}">
                  <a16:creationId xmlns:a16="http://schemas.microsoft.com/office/drawing/2014/main" id="{5EED5F44-F0CC-426C-A8F3-475D5666830E}"/>
                </a:ext>
              </a:extLst>
            </p:cNvPr>
            <p:cNvSpPr>
              <a:spLocks/>
            </p:cNvSpPr>
            <p:nvPr/>
          </p:nvSpPr>
          <p:spPr bwMode="auto">
            <a:xfrm>
              <a:off x="3802063" y="2043113"/>
              <a:ext cx="1676400" cy="1676400"/>
            </a:xfrm>
            <a:custGeom>
              <a:avLst/>
              <a:gdLst>
                <a:gd name="T0" fmla="*/ 2686 w 6336"/>
                <a:gd name="T1" fmla="*/ 37 h 6336"/>
                <a:gd name="T2" fmla="*/ 2079 w 6336"/>
                <a:gd name="T3" fmla="*/ 196 h 6336"/>
                <a:gd name="T4" fmla="*/ 1524 w 6336"/>
                <a:gd name="T5" fmla="*/ 467 h 6336"/>
                <a:gd name="T6" fmla="*/ 1037 w 6336"/>
                <a:gd name="T7" fmla="*/ 838 h 6336"/>
                <a:gd name="T8" fmla="*/ 629 w 6336"/>
                <a:gd name="T9" fmla="*/ 1296 h 6336"/>
                <a:gd name="T10" fmla="*/ 312 w 6336"/>
                <a:gd name="T11" fmla="*/ 1828 h 6336"/>
                <a:gd name="T12" fmla="*/ 99 w 6336"/>
                <a:gd name="T13" fmla="*/ 2421 h 6336"/>
                <a:gd name="T14" fmla="*/ 3 w 6336"/>
                <a:gd name="T15" fmla="*/ 3061 h 6336"/>
                <a:gd name="T16" fmla="*/ 17 w 6336"/>
                <a:gd name="T17" fmla="*/ 3570 h 6336"/>
                <a:gd name="T18" fmla="*/ 115 w 6336"/>
                <a:gd name="T19" fmla="*/ 4096 h 6336"/>
                <a:gd name="T20" fmla="*/ 294 w 6336"/>
                <a:gd name="T21" fmla="*/ 4588 h 6336"/>
                <a:gd name="T22" fmla="*/ 544 w 6336"/>
                <a:gd name="T23" fmla="*/ 5038 h 6336"/>
                <a:gd name="T24" fmla="*/ 861 w 6336"/>
                <a:gd name="T25" fmla="*/ 5440 h 6336"/>
                <a:gd name="T26" fmla="*/ 1235 w 6336"/>
                <a:gd name="T27" fmla="*/ 5785 h 6336"/>
                <a:gd name="T28" fmla="*/ 1660 w 6336"/>
                <a:gd name="T29" fmla="*/ 6067 h 6336"/>
                <a:gd name="T30" fmla="*/ 2128 w 6336"/>
                <a:gd name="T31" fmla="*/ 6277 h 6336"/>
                <a:gd name="T32" fmla="*/ 2314 w 6336"/>
                <a:gd name="T33" fmla="*/ 5038 h 6336"/>
                <a:gd name="T34" fmla="*/ 2271 w 6336"/>
                <a:gd name="T35" fmla="*/ 4948 h 6336"/>
                <a:gd name="T36" fmla="*/ 2164 w 6336"/>
                <a:gd name="T37" fmla="*/ 4823 h 6336"/>
                <a:gd name="T38" fmla="*/ 2126 w 6336"/>
                <a:gd name="T39" fmla="*/ 4712 h 6336"/>
                <a:gd name="T40" fmla="*/ 2132 w 6336"/>
                <a:gd name="T41" fmla="*/ 3380 h 6336"/>
                <a:gd name="T42" fmla="*/ 2223 w 6336"/>
                <a:gd name="T43" fmla="*/ 3280 h 6336"/>
                <a:gd name="T44" fmla="*/ 2311 w 6336"/>
                <a:gd name="T45" fmla="*/ 3036 h 6336"/>
                <a:gd name="T46" fmla="*/ 2335 w 6336"/>
                <a:gd name="T47" fmla="*/ 2843 h 6336"/>
                <a:gd name="T48" fmla="*/ 2592 w 6336"/>
                <a:gd name="T49" fmla="*/ 2295 h 6336"/>
                <a:gd name="T50" fmla="*/ 2694 w 6336"/>
                <a:gd name="T51" fmla="*/ 2037 h 6336"/>
                <a:gd name="T52" fmla="*/ 2708 w 6336"/>
                <a:gd name="T53" fmla="*/ 1675 h 6336"/>
                <a:gd name="T54" fmla="*/ 2908 w 6336"/>
                <a:gd name="T55" fmla="*/ 1238 h 6336"/>
                <a:gd name="T56" fmla="*/ 3157 w 6336"/>
                <a:gd name="T57" fmla="*/ 737 h 6336"/>
                <a:gd name="T58" fmla="*/ 3190 w 6336"/>
                <a:gd name="T59" fmla="*/ 742 h 6336"/>
                <a:gd name="T60" fmla="*/ 3602 w 6336"/>
                <a:gd name="T61" fmla="*/ 1621 h 6336"/>
                <a:gd name="T62" fmla="*/ 3638 w 6336"/>
                <a:gd name="T63" fmla="*/ 1813 h 6336"/>
                <a:gd name="T64" fmla="*/ 3650 w 6336"/>
                <a:gd name="T65" fmla="*/ 2049 h 6336"/>
                <a:gd name="T66" fmla="*/ 3741 w 6336"/>
                <a:gd name="T67" fmla="*/ 2300 h 6336"/>
                <a:gd name="T68" fmla="*/ 3934 w 6336"/>
                <a:gd name="T69" fmla="*/ 2685 h 6336"/>
                <a:gd name="T70" fmla="*/ 4021 w 6336"/>
                <a:gd name="T71" fmla="*/ 2932 h 6336"/>
                <a:gd name="T72" fmla="*/ 4050 w 6336"/>
                <a:gd name="T73" fmla="*/ 3252 h 6336"/>
                <a:gd name="T74" fmla="*/ 4188 w 6336"/>
                <a:gd name="T75" fmla="*/ 3349 h 6336"/>
                <a:gd name="T76" fmla="*/ 4212 w 6336"/>
                <a:gd name="T77" fmla="*/ 3512 h 6336"/>
                <a:gd name="T78" fmla="*/ 4207 w 6336"/>
                <a:gd name="T79" fmla="*/ 4749 h 6336"/>
                <a:gd name="T80" fmla="*/ 4157 w 6336"/>
                <a:gd name="T81" fmla="*/ 4855 h 6336"/>
                <a:gd name="T82" fmla="*/ 4071 w 6336"/>
                <a:gd name="T83" fmla="*/ 4939 h 6336"/>
                <a:gd name="T84" fmla="*/ 4024 w 6336"/>
                <a:gd name="T85" fmla="*/ 5064 h 6336"/>
                <a:gd name="T86" fmla="*/ 4021 w 6336"/>
                <a:gd name="T87" fmla="*/ 6336 h 6336"/>
                <a:gd name="T88" fmla="*/ 4504 w 6336"/>
                <a:gd name="T89" fmla="*/ 6155 h 6336"/>
                <a:gd name="T90" fmla="*/ 4947 w 6336"/>
                <a:gd name="T91" fmla="*/ 5899 h 6336"/>
                <a:gd name="T92" fmla="*/ 5340 w 6336"/>
                <a:gd name="T93" fmla="*/ 5576 h 6336"/>
                <a:gd name="T94" fmla="*/ 5680 w 6336"/>
                <a:gd name="T95" fmla="*/ 5195 h 6336"/>
                <a:gd name="T96" fmla="*/ 5956 w 6336"/>
                <a:gd name="T97" fmla="*/ 4762 h 6336"/>
                <a:gd name="T98" fmla="*/ 6162 w 6336"/>
                <a:gd name="T99" fmla="*/ 4285 h 6336"/>
                <a:gd name="T100" fmla="*/ 6291 w 6336"/>
                <a:gd name="T101" fmla="*/ 3771 h 6336"/>
                <a:gd name="T102" fmla="*/ 6336 w 6336"/>
                <a:gd name="T103" fmla="*/ 3228 h 6336"/>
                <a:gd name="T104" fmla="*/ 6287 w 6336"/>
                <a:gd name="T105" fmla="*/ 2657 h 6336"/>
                <a:gd name="T106" fmla="*/ 6116 w 6336"/>
                <a:gd name="T107" fmla="*/ 2044 h 6336"/>
                <a:gd name="T108" fmla="*/ 5836 w 6336"/>
                <a:gd name="T109" fmla="*/ 1488 h 6336"/>
                <a:gd name="T110" fmla="*/ 5461 w 6336"/>
                <a:gd name="T111" fmla="*/ 1001 h 6336"/>
                <a:gd name="T112" fmla="*/ 5002 w 6336"/>
                <a:gd name="T113" fmla="*/ 596 h 6336"/>
                <a:gd name="T114" fmla="*/ 4472 w 6336"/>
                <a:gd name="T115" fmla="*/ 285 h 6336"/>
                <a:gd name="T116" fmla="*/ 3883 w 6336"/>
                <a:gd name="T117" fmla="*/ 83 h 6336"/>
                <a:gd name="T118" fmla="*/ 3249 w 6336"/>
                <a:gd name="T119" fmla="*/ 1 h 6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36" h="6336">
                  <a:moveTo>
                    <a:pt x="3167" y="0"/>
                  </a:moveTo>
                  <a:lnTo>
                    <a:pt x="3167" y="0"/>
                  </a:lnTo>
                  <a:lnTo>
                    <a:pt x="3086" y="1"/>
                  </a:lnTo>
                  <a:lnTo>
                    <a:pt x="3004" y="4"/>
                  </a:lnTo>
                  <a:lnTo>
                    <a:pt x="2924" y="10"/>
                  </a:lnTo>
                  <a:lnTo>
                    <a:pt x="2843" y="17"/>
                  </a:lnTo>
                  <a:lnTo>
                    <a:pt x="2764" y="26"/>
                  </a:lnTo>
                  <a:lnTo>
                    <a:pt x="2686" y="37"/>
                  </a:lnTo>
                  <a:lnTo>
                    <a:pt x="2607" y="50"/>
                  </a:lnTo>
                  <a:lnTo>
                    <a:pt x="2529" y="66"/>
                  </a:lnTo>
                  <a:lnTo>
                    <a:pt x="2452" y="83"/>
                  </a:lnTo>
                  <a:lnTo>
                    <a:pt x="2376" y="102"/>
                  </a:lnTo>
                  <a:lnTo>
                    <a:pt x="2300" y="123"/>
                  </a:lnTo>
                  <a:lnTo>
                    <a:pt x="2225" y="145"/>
                  </a:lnTo>
                  <a:lnTo>
                    <a:pt x="2151" y="170"/>
                  </a:lnTo>
                  <a:lnTo>
                    <a:pt x="2079" y="196"/>
                  </a:lnTo>
                  <a:lnTo>
                    <a:pt x="2006" y="224"/>
                  </a:lnTo>
                  <a:lnTo>
                    <a:pt x="1935" y="254"/>
                  </a:lnTo>
                  <a:lnTo>
                    <a:pt x="1864" y="285"/>
                  </a:lnTo>
                  <a:lnTo>
                    <a:pt x="1794" y="319"/>
                  </a:lnTo>
                  <a:lnTo>
                    <a:pt x="1726" y="353"/>
                  </a:lnTo>
                  <a:lnTo>
                    <a:pt x="1657" y="390"/>
                  </a:lnTo>
                  <a:lnTo>
                    <a:pt x="1590" y="428"/>
                  </a:lnTo>
                  <a:lnTo>
                    <a:pt x="1524" y="467"/>
                  </a:lnTo>
                  <a:lnTo>
                    <a:pt x="1460" y="509"/>
                  </a:lnTo>
                  <a:lnTo>
                    <a:pt x="1396" y="551"/>
                  </a:lnTo>
                  <a:lnTo>
                    <a:pt x="1333" y="596"/>
                  </a:lnTo>
                  <a:lnTo>
                    <a:pt x="1272" y="642"/>
                  </a:lnTo>
                  <a:lnTo>
                    <a:pt x="1212" y="688"/>
                  </a:lnTo>
                  <a:lnTo>
                    <a:pt x="1152" y="738"/>
                  </a:lnTo>
                  <a:lnTo>
                    <a:pt x="1094" y="787"/>
                  </a:lnTo>
                  <a:lnTo>
                    <a:pt x="1037" y="838"/>
                  </a:lnTo>
                  <a:lnTo>
                    <a:pt x="982" y="892"/>
                  </a:lnTo>
                  <a:lnTo>
                    <a:pt x="928" y="946"/>
                  </a:lnTo>
                  <a:lnTo>
                    <a:pt x="874" y="1001"/>
                  </a:lnTo>
                  <a:lnTo>
                    <a:pt x="823" y="1057"/>
                  </a:lnTo>
                  <a:lnTo>
                    <a:pt x="772" y="1115"/>
                  </a:lnTo>
                  <a:lnTo>
                    <a:pt x="723" y="1175"/>
                  </a:lnTo>
                  <a:lnTo>
                    <a:pt x="675" y="1235"/>
                  </a:lnTo>
                  <a:lnTo>
                    <a:pt x="629" y="1296"/>
                  </a:lnTo>
                  <a:lnTo>
                    <a:pt x="585" y="1359"/>
                  </a:lnTo>
                  <a:lnTo>
                    <a:pt x="541" y="1423"/>
                  </a:lnTo>
                  <a:lnTo>
                    <a:pt x="498" y="1488"/>
                  </a:lnTo>
                  <a:lnTo>
                    <a:pt x="458" y="1555"/>
                  </a:lnTo>
                  <a:lnTo>
                    <a:pt x="419" y="1622"/>
                  </a:lnTo>
                  <a:lnTo>
                    <a:pt x="382" y="1689"/>
                  </a:lnTo>
                  <a:lnTo>
                    <a:pt x="346" y="1758"/>
                  </a:lnTo>
                  <a:lnTo>
                    <a:pt x="312" y="1828"/>
                  </a:lnTo>
                  <a:lnTo>
                    <a:pt x="279" y="1899"/>
                  </a:lnTo>
                  <a:lnTo>
                    <a:pt x="248" y="1972"/>
                  </a:lnTo>
                  <a:lnTo>
                    <a:pt x="219" y="2044"/>
                  </a:lnTo>
                  <a:lnTo>
                    <a:pt x="192" y="2118"/>
                  </a:lnTo>
                  <a:lnTo>
                    <a:pt x="167" y="2193"/>
                  </a:lnTo>
                  <a:lnTo>
                    <a:pt x="142" y="2268"/>
                  </a:lnTo>
                  <a:lnTo>
                    <a:pt x="120" y="2344"/>
                  </a:lnTo>
                  <a:lnTo>
                    <a:pt x="99" y="2421"/>
                  </a:lnTo>
                  <a:lnTo>
                    <a:pt x="80" y="2499"/>
                  </a:lnTo>
                  <a:lnTo>
                    <a:pt x="64" y="2577"/>
                  </a:lnTo>
                  <a:lnTo>
                    <a:pt x="49" y="2657"/>
                  </a:lnTo>
                  <a:lnTo>
                    <a:pt x="36" y="2736"/>
                  </a:lnTo>
                  <a:lnTo>
                    <a:pt x="25" y="2816"/>
                  </a:lnTo>
                  <a:lnTo>
                    <a:pt x="16" y="2898"/>
                  </a:lnTo>
                  <a:lnTo>
                    <a:pt x="9" y="2980"/>
                  </a:lnTo>
                  <a:lnTo>
                    <a:pt x="3" y="3061"/>
                  </a:lnTo>
                  <a:lnTo>
                    <a:pt x="1" y="3144"/>
                  </a:lnTo>
                  <a:lnTo>
                    <a:pt x="0" y="3228"/>
                  </a:lnTo>
                  <a:lnTo>
                    <a:pt x="0" y="3228"/>
                  </a:lnTo>
                  <a:lnTo>
                    <a:pt x="0" y="3297"/>
                  </a:lnTo>
                  <a:lnTo>
                    <a:pt x="2" y="3365"/>
                  </a:lnTo>
                  <a:lnTo>
                    <a:pt x="6" y="3435"/>
                  </a:lnTo>
                  <a:lnTo>
                    <a:pt x="11" y="3503"/>
                  </a:lnTo>
                  <a:lnTo>
                    <a:pt x="17" y="3570"/>
                  </a:lnTo>
                  <a:lnTo>
                    <a:pt x="25" y="3638"/>
                  </a:lnTo>
                  <a:lnTo>
                    <a:pt x="34" y="3704"/>
                  </a:lnTo>
                  <a:lnTo>
                    <a:pt x="45" y="3771"/>
                  </a:lnTo>
                  <a:lnTo>
                    <a:pt x="56" y="3837"/>
                  </a:lnTo>
                  <a:lnTo>
                    <a:pt x="69" y="3903"/>
                  </a:lnTo>
                  <a:lnTo>
                    <a:pt x="83" y="3968"/>
                  </a:lnTo>
                  <a:lnTo>
                    <a:pt x="98" y="4031"/>
                  </a:lnTo>
                  <a:lnTo>
                    <a:pt x="115" y="4096"/>
                  </a:lnTo>
                  <a:lnTo>
                    <a:pt x="134" y="4159"/>
                  </a:lnTo>
                  <a:lnTo>
                    <a:pt x="153" y="4223"/>
                  </a:lnTo>
                  <a:lnTo>
                    <a:pt x="173" y="4285"/>
                  </a:lnTo>
                  <a:lnTo>
                    <a:pt x="196" y="4347"/>
                  </a:lnTo>
                  <a:lnTo>
                    <a:pt x="218" y="4408"/>
                  </a:lnTo>
                  <a:lnTo>
                    <a:pt x="243" y="4468"/>
                  </a:lnTo>
                  <a:lnTo>
                    <a:pt x="267" y="4529"/>
                  </a:lnTo>
                  <a:lnTo>
                    <a:pt x="294" y="4588"/>
                  </a:lnTo>
                  <a:lnTo>
                    <a:pt x="321" y="4646"/>
                  </a:lnTo>
                  <a:lnTo>
                    <a:pt x="350" y="4704"/>
                  </a:lnTo>
                  <a:lnTo>
                    <a:pt x="380" y="4762"/>
                  </a:lnTo>
                  <a:lnTo>
                    <a:pt x="410" y="4818"/>
                  </a:lnTo>
                  <a:lnTo>
                    <a:pt x="443" y="4874"/>
                  </a:lnTo>
                  <a:lnTo>
                    <a:pt x="475" y="4930"/>
                  </a:lnTo>
                  <a:lnTo>
                    <a:pt x="510" y="4985"/>
                  </a:lnTo>
                  <a:lnTo>
                    <a:pt x="544" y="5038"/>
                  </a:lnTo>
                  <a:lnTo>
                    <a:pt x="581" y="5091"/>
                  </a:lnTo>
                  <a:lnTo>
                    <a:pt x="618" y="5143"/>
                  </a:lnTo>
                  <a:lnTo>
                    <a:pt x="656" y="5195"/>
                  </a:lnTo>
                  <a:lnTo>
                    <a:pt x="695" y="5245"/>
                  </a:lnTo>
                  <a:lnTo>
                    <a:pt x="735" y="5295"/>
                  </a:lnTo>
                  <a:lnTo>
                    <a:pt x="776" y="5345"/>
                  </a:lnTo>
                  <a:lnTo>
                    <a:pt x="818" y="5393"/>
                  </a:lnTo>
                  <a:lnTo>
                    <a:pt x="861" y="5440"/>
                  </a:lnTo>
                  <a:lnTo>
                    <a:pt x="904" y="5487"/>
                  </a:lnTo>
                  <a:lnTo>
                    <a:pt x="949" y="5531"/>
                  </a:lnTo>
                  <a:lnTo>
                    <a:pt x="995" y="5576"/>
                  </a:lnTo>
                  <a:lnTo>
                    <a:pt x="1041" y="5620"/>
                  </a:lnTo>
                  <a:lnTo>
                    <a:pt x="1089" y="5662"/>
                  </a:lnTo>
                  <a:lnTo>
                    <a:pt x="1137" y="5705"/>
                  </a:lnTo>
                  <a:lnTo>
                    <a:pt x="1185" y="5745"/>
                  </a:lnTo>
                  <a:lnTo>
                    <a:pt x="1235" y="5785"/>
                  </a:lnTo>
                  <a:lnTo>
                    <a:pt x="1285" y="5824"/>
                  </a:lnTo>
                  <a:lnTo>
                    <a:pt x="1337" y="5862"/>
                  </a:lnTo>
                  <a:lnTo>
                    <a:pt x="1388" y="5899"/>
                  </a:lnTo>
                  <a:lnTo>
                    <a:pt x="1442" y="5935"/>
                  </a:lnTo>
                  <a:lnTo>
                    <a:pt x="1494" y="5969"/>
                  </a:lnTo>
                  <a:lnTo>
                    <a:pt x="1549" y="6003"/>
                  </a:lnTo>
                  <a:lnTo>
                    <a:pt x="1604" y="6035"/>
                  </a:lnTo>
                  <a:lnTo>
                    <a:pt x="1660" y="6067"/>
                  </a:lnTo>
                  <a:lnTo>
                    <a:pt x="1716" y="6097"/>
                  </a:lnTo>
                  <a:lnTo>
                    <a:pt x="1773" y="6126"/>
                  </a:lnTo>
                  <a:lnTo>
                    <a:pt x="1831" y="6154"/>
                  </a:lnTo>
                  <a:lnTo>
                    <a:pt x="1889" y="6182"/>
                  </a:lnTo>
                  <a:lnTo>
                    <a:pt x="1948" y="6207"/>
                  </a:lnTo>
                  <a:lnTo>
                    <a:pt x="2007" y="6232"/>
                  </a:lnTo>
                  <a:lnTo>
                    <a:pt x="2067" y="6256"/>
                  </a:lnTo>
                  <a:lnTo>
                    <a:pt x="2128" y="6277"/>
                  </a:lnTo>
                  <a:lnTo>
                    <a:pt x="2189" y="6298"/>
                  </a:lnTo>
                  <a:lnTo>
                    <a:pt x="2251" y="6318"/>
                  </a:lnTo>
                  <a:lnTo>
                    <a:pt x="2314" y="6336"/>
                  </a:lnTo>
                  <a:lnTo>
                    <a:pt x="2314" y="6336"/>
                  </a:lnTo>
                  <a:lnTo>
                    <a:pt x="2314" y="5696"/>
                  </a:lnTo>
                  <a:lnTo>
                    <a:pt x="2315" y="5054"/>
                  </a:lnTo>
                  <a:lnTo>
                    <a:pt x="2315" y="5054"/>
                  </a:lnTo>
                  <a:lnTo>
                    <a:pt x="2314" y="5038"/>
                  </a:lnTo>
                  <a:lnTo>
                    <a:pt x="2312" y="5023"/>
                  </a:lnTo>
                  <a:lnTo>
                    <a:pt x="2309" y="5008"/>
                  </a:lnTo>
                  <a:lnTo>
                    <a:pt x="2306" y="4995"/>
                  </a:lnTo>
                  <a:lnTo>
                    <a:pt x="2299" y="4983"/>
                  </a:lnTo>
                  <a:lnTo>
                    <a:pt x="2292" y="4970"/>
                  </a:lnTo>
                  <a:lnTo>
                    <a:pt x="2282" y="4959"/>
                  </a:lnTo>
                  <a:lnTo>
                    <a:pt x="2271" y="4948"/>
                  </a:lnTo>
                  <a:lnTo>
                    <a:pt x="2271" y="4948"/>
                  </a:lnTo>
                  <a:lnTo>
                    <a:pt x="2248" y="4928"/>
                  </a:lnTo>
                  <a:lnTo>
                    <a:pt x="2224" y="4905"/>
                  </a:lnTo>
                  <a:lnTo>
                    <a:pt x="2213" y="4894"/>
                  </a:lnTo>
                  <a:lnTo>
                    <a:pt x="2202" y="4883"/>
                  </a:lnTo>
                  <a:lnTo>
                    <a:pt x="2193" y="4871"/>
                  </a:lnTo>
                  <a:lnTo>
                    <a:pt x="2184" y="4857"/>
                  </a:lnTo>
                  <a:lnTo>
                    <a:pt x="2184" y="4857"/>
                  </a:lnTo>
                  <a:lnTo>
                    <a:pt x="2164" y="4823"/>
                  </a:lnTo>
                  <a:lnTo>
                    <a:pt x="2154" y="4805"/>
                  </a:lnTo>
                  <a:lnTo>
                    <a:pt x="2145" y="4787"/>
                  </a:lnTo>
                  <a:lnTo>
                    <a:pt x="2137" y="4768"/>
                  </a:lnTo>
                  <a:lnTo>
                    <a:pt x="2131" y="4749"/>
                  </a:lnTo>
                  <a:lnTo>
                    <a:pt x="2127" y="4731"/>
                  </a:lnTo>
                  <a:lnTo>
                    <a:pt x="2126" y="4721"/>
                  </a:lnTo>
                  <a:lnTo>
                    <a:pt x="2126" y="4712"/>
                  </a:lnTo>
                  <a:lnTo>
                    <a:pt x="2126" y="4712"/>
                  </a:lnTo>
                  <a:lnTo>
                    <a:pt x="2122" y="4397"/>
                  </a:lnTo>
                  <a:lnTo>
                    <a:pt x="2122" y="4082"/>
                  </a:lnTo>
                  <a:lnTo>
                    <a:pt x="2122" y="3451"/>
                  </a:lnTo>
                  <a:lnTo>
                    <a:pt x="2122" y="3451"/>
                  </a:lnTo>
                  <a:lnTo>
                    <a:pt x="2124" y="3432"/>
                  </a:lnTo>
                  <a:lnTo>
                    <a:pt x="2126" y="3413"/>
                  </a:lnTo>
                  <a:lnTo>
                    <a:pt x="2128" y="3395"/>
                  </a:lnTo>
                  <a:lnTo>
                    <a:pt x="2132" y="3380"/>
                  </a:lnTo>
                  <a:lnTo>
                    <a:pt x="2138" y="3364"/>
                  </a:lnTo>
                  <a:lnTo>
                    <a:pt x="2146" y="3351"/>
                  </a:lnTo>
                  <a:lnTo>
                    <a:pt x="2155" y="3337"/>
                  </a:lnTo>
                  <a:lnTo>
                    <a:pt x="2165" y="3324"/>
                  </a:lnTo>
                  <a:lnTo>
                    <a:pt x="2177" y="3313"/>
                  </a:lnTo>
                  <a:lnTo>
                    <a:pt x="2191" y="3302"/>
                  </a:lnTo>
                  <a:lnTo>
                    <a:pt x="2206" y="3290"/>
                  </a:lnTo>
                  <a:lnTo>
                    <a:pt x="2223" y="3280"/>
                  </a:lnTo>
                  <a:lnTo>
                    <a:pt x="2243" y="3270"/>
                  </a:lnTo>
                  <a:lnTo>
                    <a:pt x="2264" y="3260"/>
                  </a:lnTo>
                  <a:lnTo>
                    <a:pt x="2288" y="3251"/>
                  </a:lnTo>
                  <a:lnTo>
                    <a:pt x="2314" y="3242"/>
                  </a:lnTo>
                  <a:lnTo>
                    <a:pt x="2314" y="3242"/>
                  </a:lnTo>
                  <a:lnTo>
                    <a:pt x="2312" y="3173"/>
                  </a:lnTo>
                  <a:lnTo>
                    <a:pt x="2311" y="3105"/>
                  </a:lnTo>
                  <a:lnTo>
                    <a:pt x="2311" y="3036"/>
                  </a:lnTo>
                  <a:lnTo>
                    <a:pt x="2312" y="3001"/>
                  </a:lnTo>
                  <a:lnTo>
                    <a:pt x="2315" y="2966"/>
                  </a:lnTo>
                  <a:lnTo>
                    <a:pt x="2315" y="2966"/>
                  </a:lnTo>
                  <a:lnTo>
                    <a:pt x="2317" y="2942"/>
                  </a:lnTo>
                  <a:lnTo>
                    <a:pt x="2320" y="2917"/>
                  </a:lnTo>
                  <a:lnTo>
                    <a:pt x="2324" y="2892"/>
                  </a:lnTo>
                  <a:lnTo>
                    <a:pt x="2329" y="2868"/>
                  </a:lnTo>
                  <a:lnTo>
                    <a:pt x="2335" y="2843"/>
                  </a:lnTo>
                  <a:lnTo>
                    <a:pt x="2341" y="2820"/>
                  </a:lnTo>
                  <a:lnTo>
                    <a:pt x="2349" y="2797"/>
                  </a:lnTo>
                  <a:lnTo>
                    <a:pt x="2359" y="2775"/>
                  </a:lnTo>
                  <a:lnTo>
                    <a:pt x="2359" y="2775"/>
                  </a:lnTo>
                  <a:lnTo>
                    <a:pt x="2396" y="2695"/>
                  </a:lnTo>
                  <a:lnTo>
                    <a:pt x="2435" y="2614"/>
                  </a:lnTo>
                  <a:lnTo>
                    <a:pt x="2514" y="2454"/>
                  </a:lnTo>
                  <a:lnTo>
                    <a:pt x="2592" y="2295"/>
                  </a:lnTo>
                  <a:lnTo>
                    <a:pt x="2669" y="2135"/>
                  </a:lnTo>
                  <a:lnTo>
                    <a:pt x="2669" y="2135"/>
                  </a:lnTo>
                  <a:lnTo>
                    <a:pt x="2679" y="2111"/>
                  </a:lnTo>
                  <a:lnTo>
                    <a:pt x="2687" y="2088"/>
                  </a:lnTo>
                  <a:lnTo>
                    <a:pt x="2689" y="2074"/>
                  </a:lnTo>
                  <a:lnTo>
                    <a:pt x="2691" y="2062"/>
                  </a:lnTo>
                  <a:lnTo>
                    <a:pt x="2692" y="2050"/>
                  </a:lnTo>
                  <a:lnTo>
                    <a:pt x="2694" y="2037"/>
                  </a:lnTo>
                  <a:lnTo>
                    <a:pt x="2694" y="2037"/>
                  </a:lnTo>
                  <a:lnTo>
                    <a:pt x="2694" y="1903"/>
                  </a:lnTo>
                  <a:lnTo>
                    <a:pt x="2694" y="1812"/>
                  </a:lnTo>
                  <a:lnTo>
                    <a:pt x="2694" y="1777"/>
                  </a:lnTo>
                  <a:lnTo>
                    <a:pt x="2695" y="1748"/>
                  </a:lnTo>
                  <a:lnTo>
                    <a:pt x="2698" y="1722"/>
                  </a:lnTo>
                  <a:lnTo>
                    <a:pt x="2702" y="1699"/>
                  </a:lnTo>
                  <a:lnTo>
                    <a:pt x="2708" y="1675"/>
                  </a:lnTo>
                  <a:lnTo>
                    <a:pt x="2717" y="1652"/>
                  </a:lnTo>
                  <a:lnTo>
                    <a:pt x="2728" y="1625"/>
                  </a:lnTo>
                  <a:lnTo>
                    <a:pt x="2743" y="1594"/>
                  </a:lnTo>
                  <a:lnTo>
                    <a:pt x="2782" y="1510"/>
                  </a:lnTo>
                  <a:lnTo>
                    <a:pt x="2808" y="1456"/>
                  </a:lnTo>
                  <a:lnTo>
                    <a:pt x="2838" y="1390"/>
                  </a:lnTo>
                  <a:lnTo>
                    <a:pt x="2838" y="1390"/>
                  </a:lnTo>
                  <a:lnTo>
                    <a:pt x="2908" y="1238"/>
                  </a:lnTo>
                  <a:lnTo>
                    <a:pt x="2979" y="1086"/>
                  </a:lnTo>
                  <a:lnTo>
                    <a:pt x="3122" y="783"/>
                  </a:lnTo>
                  <a:lnTo>
                    <a:pt x="3122" y="783"/>
                  </a:lnTo>
                  <a:lnTo>
                    <a:pt x="3131" y="767"/>
                  </a:lnTo>
                  <a:lnTo>
                    <a:pt x="3137" y="758"/>
                  </a:lnTo>
                  <a:lnTo>
                    <a:pt x="3143" y="750"/>
                  </a:lnTo>
                  <a:lnTo>
                    <a:pt x="3150" y="742"/>
                  </a:lnTo>
                  <a:lnTo>
                    <a:pt x="3157" y="737"/>
                  </a:lnTo>
                  <a:lnTo>
                    <a:pt x="3164" y="732"/>
                  </a:lnTo>
                  <a:lnTo>
                    <a:pt x="3167" y="731"/>
                  </a:lnTo>
                  <a:lnTo>
                    <a:pt x="3171" y="731"/>
                  </a:lnTo>
                  <a:lnTo>
                    <a:pt x="3171" y="731"/>
                  </a:lnTo>
                  <a:lnTo>
                    <a:pt x="3174" y="731"/>
                  </a:lnTo>
                  <a:lnTo>
                    <a:pt x="3176" y="732"/>
                  </a:lnTo>
                  <a:lnTo>
                    <a:pt x="3183" y="737"/>
                  </a:lnTo>
                  <a:lnTo>
                    <a:pt x="3190" y="742"/>
                  </a:lnTo>
                  <a:lnTo>
                    <a:pt x="3195" y="750"/>
                  </a:lnTo>
                  <a:lnTo>
                    <a:pt x="3205" y="767"/>
                  </a:lnTo>
                  <a:lnTo>
                    <a:pt x="3214" y="783"/>
                  </a:lnTo>
                  <a:lnTo>
                    <a:pt x="3214" y="783"/>
                  </a:lnTo>
                  <a:lnTo>
                    <a:pt x="3410" y="1200"/>
                  </a:lnTo>
                  <a:lnTo>
                    <a:pt x="3507" y="1410"/>
                  </a:lnTo>
                  <a:lnTo>
                    <a:pt x="3602" y="1621"/>
                  </a:lnTo>
                  <a:lnTo>
                    <a:pt x="3602" y="1621"/>
                  </a:lnTo>
                  <a:lnTo>
                    <a:pt x="3611" y="1643"/>
                  </a:lnTo>
                  <a:lnTo>
                    <a:pt x="3619" y="1666"/>
                  </a:lnTo>
                  <a:lnTo>
                    <a:pt x="3626" y="1690"/>
                  </a:lnTo>
                  <a:lnTo>
                    <a:pt x="3631" y="1714"/>
                  </a:lnTo>
                  <a:lnTo>
                    <a:pt x="3636" y="1739"/>
                  </a:lnTo>
                  <a:lnTo>
                    <a:pt x="3638" y="1764"/>
                  </a:lnTo>
                  <a:lnTo>
                    <a:pt x="3639" y="1788"/>
                  </a:lnTo>
                  <a:lnTo>
                    <a:pt x="3638" y="1813"/>
                  </a:lnTo>
                  <a:lnTo>
                    <a:pt x="3638" y="1813"/>
                  </a:lnTo>
                  <a:lnTo>
                    <a:pt x="3636" y="1847"/>
                  </a:lnTo>
                  <a:lnTo>
                    <a:pt x="3636" y="1882"/>
                  </a:lnTo>
                  <a:lnTo>
                    <a:pt x="3636" y="1917"/>
                  </a:lnTo>
                  <a:lnTo>
                    <a:pt x="3638" y="1950"/>
                  </a:lnTo>
                  <a:lnTo>
                    <a:pt x="3641" y="1984"/>
                  </a:lnTo>
                  <a:lnTo>
                    <a:pt x="3645" y="2016"/>
                  </a:lnTo>
                  <a:lnTo>
                    <a:pt x="3650" y="2049"/>
                  </a:lnTo>
                  <a:lnTo>
                    <a:pt x="3657" y="2081"/>
                  </a:lnTo>
                  <a:lnTo>
                    <a:pt x="3666" y="2113"/>
                  </a:lnTo>
                  <a:lnTo>
                    <a:pt x="3675" y="2145"/>
                  </a:lnTo>
                  <a:lnTo>
                    <a:pt x="3686" y="2177"/>
                  </a:lnTo>
                  <a:lnTo>
                    <a:pt x="3697" y="2208"/>
                  </a:lnTo>
                  <a:lnTo>
                    <a:pt x="3711" y="2239"/>
                  </a:lnTo>
                  <a:lnTo>
                    <a:pt x="3725" y="2270"/>
                  </a:lnTo>
                  <a:lnTo>
                    <a:pt x="3741" y="2300"/>
                  </a:lnTo>
                  <a:lnTo>
                    <a:pt x="3758" y="2331"/>
                  </a:lnTo>
                  <a:lnTo>
                    <a:pt x="3758" y="2331"/>
                  </a:lnTo>
                  <a:lnTo>
                    <a:pt x="3786" y="2381"/>
                  </a:lnTo>
                  <a:lnTo>
                    <a:pt x="3811" y="2430"/>
                  </a:lnTo>
                  <a:lnTo>
                    <a:pt x="3837" y="2481"/>
                  </a:lnTo>
                  <a:lnTo>
                    <a:pt x="3862" y="2531"/>
                  </a:lnTo>
                  <a:lnTo>
                    <a:pt x="3910" y="2634"/>
                  </a:lnTo>
                  <a:lnTo>
                    <a:pt x="3934" y="2685"/>
                  </a:lnTo>
                  <a:lnTo>
                    <a:pt x="3960" y="2735"/>
                  </a:lnTo>
                  <a:lnTo>
                    <a:pt x="3960" y="2735"/>
                  </a:lnTo>
                  <a:lnTo>
                    <a:pt x="3976" y="2767"/>
                  </a:lnTo>
                  <a:lnTo>
                    <a:pt x="3989" y="2799"/>
                  </a:lnTo>
                  <a:lnTo>
                    <a:pt x="4000" y="2831"/>
                  </a:lnTo>
                  <a:lnTo>
                    <a:pt x="4009" y="2865"/>
                  </a:lnTo>
                  <a:lnTo>
                    <a:pt x="4017" y="2898"/>
                  </a:lnTo>
                  <a:lnTo>
                    <a:pt x="4021" y="2932"/>
                  </a:lnTo>
                  <a:lnTo>
                    <a:pt x="4024" y="2966"/>
                  </a:lnTo>
                  <a:lnTo>
                    <a:pt x="4022" y="3002"/>
                  </a:lnTo>
                  <a:lnTo>
                    <a:pt x="4022" y="3002"/>
                  </a:lnTo>
                  <a:lnTo>
                    <a:pt x="4020" y="3062"/>
                  </a:lnTo>
                  <a:lnTo>
                    <a:pt x="4020" y="3123"/>
                  </a:lnTo>
                  <a:lnTo>
                    <a:pt x="4021" y="3242"/>
                  </a:lnTo>
                  <a:lnTo>
                    <a:pt x="4021" y="3242"/>
                  </a:lnTo>
                  <a:lnTo>
                    <a:pt x="4050" y="3252"/>
                  </a:lnTo>
                  <a:lnTo>
                    <a:pt x="4077" y="3262"/>
                  </a:lnTo>
                  <a:lnTo>
                    <a:pt x="4100" y="3273"/>
                  </a:lnTo>
                  <a:lnTo>
                    <a:pt x="4120" y="3284"/>
                  </a:lnTo>
                  <a:lnTo>
                    <a:pt x="4138" y="3295"/>
                  </a:lnTo>
                  <a:lnTo>
                    <a:pt x="4153" y="3306"/>
                  </a:lnTo>
                  <a:lnTo>
                    <a:pt x="4167" y="3319"/>
                  </a:lnTo>
                  <a:lnTo>
                    <a:pt x="4178" y="3333"/>
                  </a:lnTo>
                  <a:lnTo>
                    <a:pt x="4188" y="3349"/>
                  </a:lnTo>
                  <a:lnTo>
                    <a:pt x="4195" y="3365"/>
                  </a:lnTo>
                  <a:lnTo>
                    <a:pt x="4201" y="3383"/>
                  </a:lnTo>
                  <a:lnTo>
                    <a:pt x="4206" y="3404"/>
                  </a:lnTo>
                  <a:lnTo>
                    <a:pt x="4209" y="3428"/>
                  </a:lnTo>
                  <a:lnTo>
                    <a:pt x="4211" y="3452"/>
                  </a:lnTo>
                  <a:lnTo>
                    <a:pt x="4212" y="3480"/>
                  </a:lnTo>
                  <a:lnTo>
                    <a:pt x="4212" y="3512"/>
                  </a:lnTo>
                  <a:lnTo>
                    <a:pt x="4212" y="3512"/>
                  </a:lnTo>
                  <a:lnTo>
                    <a:pt x="4211" y="4091"/>
                  </a:lnTo>
                  <a:lnTo>
                    <a:pt x="4212" y="4380"/>
                  </a:lnTo>
                  <a:lnTo>
                    <a:pt x="4214" y="4670"/>
                  </a:lnTo>
                  <a:lnTo>
                    <a:pt x="4214" y="4670"/>
                  </a:lnTo>
                  <a:lnTo>
                    <a:pt x="4212" y="4702"/>
                  </a:lnTo>
                  <a:lnTo>
                    <a:pt x="4211" y="4718"/>
                  </a:lnTo>
                  <a:lnTo>
                    <a:pt x="4209" y="4733"/>
                  </a:lnTo>
                  <a:lnTo>
                    <a:pt x="4207" y="4749"/>
                  </a:lnTo>
                  <a:lnTo>
                    <a:pt x="4204" y="4763"/>
                  </a:lnTo>
                  <a:lnTo>
                    <a:pt x="4199" y="4778"/>
                  </a:lnTo>
                  <a:lnTo>
                    <a:pt x="4195" y="4791"/>
                  </a:lnTo>
                  <a:lnTo>
                    <a:pt x="4189" y="4806"/>
                  </a:lnTo>
                  <a:lnTo>
                    <a:pt x="4182" y="4818"/>
                  </a:lnTo>
                  <a:lnTo>
                    <a:pt x="4174" y="4832"/>
                  </a:lnTo>
                  <a:lnTo>
                    <a:pt x="4167" y="4844"/>
                  </a:lnTo>
                  <a:lnTo>
                    <a:pt x="4157" y="4855"/>
                  </a:lnTo>
                  <a:lnTo>
                    <a:pt x="4147" y="4866"/>
                  </a:lnTo>
                  <a:lnTo>
                    <a:pt x="4135" y="4877"/>
                  </a:lnTo>
                  <a:lnTo>
                    <a:pt x="4122" y="4888"/>
                  </a:lnTo>
                  <a:lnTo>
                    <a:pt x="4122" y="4888"/>
                  </a:lnTo>
                  <a:lnTo>
                    <a:pt x="4107" y="4900"/>
                  </a:lnTo>
                  <a:lnTo>
                    <a:pt x="4094" y="4912"/>
                  </a:lnTo>
                  <a:lnTo>
                    <a:pt x="4082" y="4926"/>
                  </a:lnTo>
                  <a:lnTo>
                    <a:pt x="4071" y="4939"/>
                  </a:lnTo>
                  <a:lnTo>
                    <a:pt x="4060" y="4953"/>
                  </a:lnTo>
                  <a:lnTo>
                    <a:pt x="4053" y="4968"/>
                  </a:lnTo>
                  <a:lnTo>
                    <a:pt x="4045" y="4983"/>
                  </a:lnTo>
                  <a:lnTo>
                    <a:pt x="4039" y="4998"/>
                  </a:lnTo>
                  <a:lnTo>
                    <a:pt x="4034" y="5014"/>
                  </a:lnTo>
                  <a:lnTo>
                    <a:pt x="4029" y="5029"/>
                  </a:lnTo>
                  <a:lnTo>
                    <a:pt x="4026" y="5046"/>
                  </a:lnTo>
                  <a:lnTo>
                    <a:pt x="4024" y="5064"/>
                  </a:lnTo>
                  <a:lnTo>
                    <a:pt x="4021" y="5082"/>
                  </a:lnTo>
                  <a:lnTo>
                    <a:pt x="4020" y="5100"/>
                  </a:lnTo>
                  <a:lnTo>
                    <a:pt x="4019" y="5139"/>
                  </a:lnTo>
                  <a:lnTo>
                    <a:pt x="4019" y="5139"/>
                  </a:lnTo>
                  <a:lnTo>
                    <a:pt x="4022" y="5439"/>
                  </a:lnTo>
                  <a:lnTo>
                    <a:pt x="4022" y="5738"/>
                  </a:lnTo>
                  <a:lnTo>
                    <a:pt x="4021" y="6336"/>
                  </a:lnTo>
                  <a:lnTo>
                    <a:pt x="4021" y="6336"/>
                  </a:lnTo>
                  <a:lnTo>
                    <a:pt x="4084" y="6318"/>
                  </a:lnTo>
                  <a:lnTo>
                    <a:pt x="4145" y="6298"/>
                  </a:lnTo>
                  <a:lnTo>
                    <a:pt x="4207" y="6278"/>
                  </a:lnTo>
                  <a:lnTo>
                    <a:pt x="4267" y="6256"/>
                  </a:lnTo>
                  <a:lnTo>
                    <a:pt x="4328" y="6232"/>
                  </a:lnTo>
                  <a:lnTo>
                    <a:pt x="4387" y="6207"/>
                  </a:lnTo>
                  <a:lnTo>
                    <a:pt x="4446" y="6182"/>
                  </a:lnTo>
                  <a:lnTo>
                    <a:pt x="4504" y="6155"/>
                  </a:lnTo>
                  <a:lnTo>
                    <a:pt x="4562" y="6127"/>
                  </a:lnTo>
                  <a:lnTo>
                    <a:pt x="4619" y="6097"/>
                  </a:lnTo>
                  <a:lnTo>
                    <a:pt x="4675" y="6067"/>
                  </a:lnTo>
                  <a:lnTo>
                    <a:pt x="4731" y="6035"/>
                  </a:lnTo>
                  <a:lnTo>
                    <a:pt x="4786" y="6003"/>
                  </a:lnTo>
                  <a:lnTo>
                    <a:pt x="4841" y="5969"/>
                  </a:lnTo>
                  <a:lnTo>
                    <a:pt x="4894" y="5935"/>
                  </a:lnTo>
                  <a:lnTo>
                    <a:pt x="4947" y="5899"/>
                  </a:lnTo>
                  <a:lnTo>
                    <a:pt x="4998" y="5862"/>
                  </a:lnTo>
                  <a:lnTo>
                    <a:pt x="5050" y="5824"/>
                  </a:lnTo>
                  <a:lnTo>
                    <a:pt x="5100" y="5785"/>
                  </a:lnTo>
                  <a:lnTo>
                    <a:pt x="5150" y="5746"/>
                  </a:lnTo>
                  <a:lnTo>
                    <a:pt x="5199" y="5705"/>
                  </a:lnTo>
                  <a:lnTo>
                    <a:pt x="5247" y="5663"/>
                  </a:lnTo>
                  <a:lnTo>
                    <a:pt x="5294" y="5621"/>
                  </a:lnTo>
                  <a:lnTo>
                    <a:pt x="5340" y="5576"/>
                  </a:lnTo>
                  <a:lnTo>
                    <a:pt x="5386" y="5532"/>
                  </a:lnTo>
                  <a:lnTo>
                    <a:pt x="5431" y="5487"/>
                  </a:lnTo>
                  <a:lnTo>
                    <a:pt x="5474" y="5440"/>
                  </a:lnTo>
                  <a:lnTo>
                    <a:pt x="5518" y="5393"/>
                  </a:lnTo>
                  <a:lnTo>
                    <a:pt x="5559" y="5345"/>
                  </a:lnTo>
                  <a:lnTo>
                    <a:pt x="5601" y="5295"/>
                  </a:lnTo>
                  <a:lnTo>
                    <a:pt x="5641" y="5246"/>
                  </a:lnTo>
                  <a:lnTo>
                    <a:pt x="5680" y="5195"/>
                  </a:lnTo>
                  <a:lnTo>
                    <a:pt x="5718" y="5143"/>
                  </a:lnTo>
                  <a:lnTo>
                    <a:pt x="5755" y="5091"/>
                  </a:lnTo>
                  <a:lnTo>
                    <a:pt x="5791" y="5038"/>
                  </a:lnTo>
                  <a:lnTo>
                    <a:pt x="5826" y="4985"/>
                  </a:lnTo>
                  <a:lnTo>
                    <a:pt x="5860" y="4930"/>
                  </a:lnTo>
                  <a:lnTo>
                    <a:pt x="5893" y="4875"/>
                  </a:lnTo>
                  <a:lnTo>
                    <a:pt x="5925" y="4818"/>
                  </a:lnTo>
                  <a:lnTo>
                    <a:pt x="5956" y="4762"/>
                  </a:lnTo>
                  <a:lnTo>
                    <a:pt x="5985" y="4704"/>
                  </a:lnTo>
                  <a:lnTo>
                    <a:pt x="6014" y="4646"/>
                  </a:lnTo>
                  <a:lnTo>
                    <a:pt x="6042" y="4588"/>
                  </a:lnTo>
                  <a:lnTo>
                    <a:pt x="6068" y="4529"/>
                  </a:lnTo>
                  <a:lnTo>
                    <a:pt x="6093" y="4468"/>
                  </a:lnTo>
                  <a:lnTo>
                    <a:pt x="6117" y="4408"/>
                  </a:lnTo>
                  <a:lnTo>
                    <a:pt x="6140" y="4347"/>
                  </a:lnTo>
                  <a:lnTo>
                    <a:pt x="6162" y="4285"/>
                  </a:lnTo>
                  <a:lnTo>
                    <a:pt x="6183" y="4223"/>
                  </a:lnTo>
                  <a:lnTo>
                    <a:pt x="6202" y="4160"/>
                  </a:lnTo>
                  <a:lnTo>
                    <a:pt x="6220" y="4096"/>
                  </a:lnTo>
                  <a:lnTo>
                    <a:pt x="6237" y="4033"/>
                  </a:lnTo>
                  <a:lnTo>
                    <a:pt x="6252" y="3968"/>
                  </a:lnTo>
                  <a:lnTo>
                    <a:pt x="6267" y="3903"/>
                  </a:lnTo>
                  <a:lnTo>
                    <a:pt x="6280" y="3837"/>
                  </a:lnTo>
                  <a:lnTo>
                    <a:pt x="6291" y="3771"/>
                  </a:lnTo>
                  <a:lnTo>
                    <a:pt x="6301" y="3704"/>
                  </a:lnTo>
                  <a:lnTo>
                    <a:pt x="6310" y="3638"/>
                  </a:lnTo>
                  <a:lnTo>
                    <a:pt x="6318" y="3570"/>
                  </a:lnTo>
                  <a:lnTo>
                    <a:pt x="6325" y="3503"/>
                  </a:lnTo>
                  <a:lnTo>
                    <a:pt x="6329" y="3435"/>
                  </a:lnTo>
                  <a:lnTo>
                    <a:pt x="6333" y="3366"/>
                  </a:lnTo>
                  <a:lnTo>
                    <a:pt x="6335" y="3297"/>
                  </a:lnTo>
                  <a:lnTo>
                    <a:pt x="6336" y="3228"/>
                  </a:lnTo>
                  <a:lnTo>
                    <a:pt x="6336" y="3228"/>
                  </a:lnTo>
                  <a:lnTo>
                    <a:pt x="6335" y="3144"/>
                  </a:lnTo>
                  <a:lnTo>
                    <a:pt x="6332" y="3061"/>
                  </a:lnTo>
                  <a:lnTo>
                    <a:pt x="6327" y="2980"/>
                  </a:lnTo>
                  <a:lnTo>
                    <a:pt x="6319" y="2898"/>
                  </a:lnTo>
                  <a:lnTo>
                    <a:pt x="6310" y="2816"/>
                  </a:lnTo>
                  <a:lnTo>
                    <a:pt x="6299" y="2736"/>
                  </a:lnTo>
                  <a:lnTo>
                    <a:pt x="6287" y="2657"/>
                  </a:lnTo>
                  <a:lnTo>
                    <a:pt x="6271" y="2577"/>
                  </a:lnTo>
                  <a:lnTo>
                    <a:pt x="6254" y="2499"/>
                  </a:lnTo>
                  <a:lnTo>
                    <a:pt x="6237" y="2421"/>
                  </a:lnTo>
                  <a:lnTo>
                    <a:pt x="6215" y="2344"/>
                  </a:lnTo>
                  <a:lnTo>
                    <a:pt x="6194" y="2268"/>
                  </a:lnTo>
                  <a:lnTo>
                    <a:pt x="6169" y="2193"/>
                  </a:lnTo>
                  <a:lnTo>
                    <a:pt x="6144" y="2118"/>
                  </a:lnTo>
                  <a:lnTo>
                    <a:pt x="6116" y="2044"/>
                  </a:lnTo>
                  <a:lnTo>
                    <a:pt x="6087" y="1972"/>
                  </a:lnTo>
                  <a:lnTo>
                    <a:pt x="6057" y="1899"/>
                  </a:lnTo>
                  <a:lnTo>
                    <a:pt x="6023" y="1828"/>
                  </a:lnTo>
                  <a:lnTo>
                    <a:pt x="5990" y="1758"/>
                  </a:lnTo>
                  <a:lnTo>
                    <a:pt x="5954" y="1689"/>
                  </a:lnTo>
                  <a:lnTo>
                    <a:pt x="5916" y="1622"/>
                  </a:lnTo>
                  <a:lnTo>
                    <a:pt x="5878" y="1555"/>
                  </a:lnTo>
                  <a:lnTo>
                    <a:pt x="5836" y="1488"/>
                  </a:lnTo>
                  <a:lnTo>
                    <a:pt x="5795" y="1423"/>
                  </a:lnTo>
                  <a:lnTo>
                    <a:pt x="5751" y="1359"/>
                  </a:lnTo>
                  <a:lnTo>
                    <a:pt x="5707" y="1296"/>
                  </a:lnTo>
                  <a:lnTo>
                    <a:pt x="5660" y="1235"/>
                  </a:lnTo>
                  <a:lnTo>
                    <a:pt x="5613" y="1175"/>
                  </a:lnTo>
                  <a:lnTo>
                    <a:pt x="5564" y="1115"/>
                  </a:lnTo>
                  <a:lnTo>
                    <a:pt x="5513" y="1057"/>
                  </a:lnTo>
                  <a:lnTo>
                    <a:pt x="5461" y="1001"/>
                  </a:lnTo>
                  <a:lnTo>
                    <a:pt x="5408" y="946"/>
                  </a:lnTo>
                  <a:lnTo>
                    <a:pt x="5354" y="892"/>
                  </a:lnTo>
                  <a:lnTo>
                    <a:pt x="5298" y="838"/>
                  </a:lnTo>
                  <a:lnTo>
                    <a:pt x="5241" y="787"/>
                  </a:lnTo>
                  <a:lnTo>
                    <a:pt x="5183" y="738"/>
                  </a:lnTo>
                  <a:lnTo>
                    <a:pt x="5123" y="688"/>
                  </a:lnTo>
                  <a:lnTo>
                    <a:pt x="5063" y="642"/>
                  </a:lnTo>
                  <a:lnTo>
                    <a:pt x="5002" y="596"/>
                  </a:lnTo>
                  <a:lnTo>
                    <a:pt x="4939" y="551"/>
                  </a:lnTo>
                  <a:lnTo>
                    <a:pt x="4875" y="509"/>
                  </a:lnTo>
                  <a:lnTo>
                    <a:pt x="4810" y="467"/>
                  </a:lnTo>
                  <a:lnTo>
                    <a:pt x="4744" y="428"/>
                  </a:lnTo>
                  <a:lnTo>
                    <a:pt x="4677" y="390"/>
                  </a:lnTo>
                  <a:lnTo>
                    <a:pt x="4610" y="353"/>
                  </a:lnTo>
                  <a:lnTo>
                    <a:pt x="4541" y="319"/>
                  </a:lnTo>
                  <a:lnTo>
                    <a:pt x="4472" y="285"/>
                  </a:lnTo>
                  <a:lnTo>
                    <a:pt x="4401" y="254"/>
                  </a:lnTo>
                  <a:lnTo>
                    <a:pt x="4330" y="224"/>
                  </a:lnTo>
                  <a:lnTo>
                    <a:pt x="4257" y="196"/>
                  </a:lnTo>
                  <a:lnTo>
                    <a:pt x="4183" y="170"/>
                  </a:lnTo>
                  <a:lnTo>
                    <a:pt x="4110" y="145"/>
                  </a:lnTo>
                  <a:lnTo>
                    <a:pt x="4035" y="123"/>
                  </a:lnTo>
                  <a:lnTo>
                    <a:pt x="3960" y="102"/>
                  </a:lnTo>
                  <a:lnTo>
                    <a:pt x="3883" y="83"/>
                  </a:lnTo>
                  <a:lnTo>
                    <a:pt x="3807" y="66"/>
                  </a:lnTo>
                  <a:lnTo>
                    <a:pt x="3729" y="50"/>
                  </a:lnTo>
                  <a:lnTo>
                    <a:pt x="3650" y="37"/>
                  </a:lnTo>
                  <a:lnTo>
                    <a:pt x="3571" y="26"/>
                  </a:lnTo>
                  <a:lnTo>
                    <a:pt x="3492" y="17"/>
                  </a:lnTo>
                  <a:lnTo>
                    <a:pt x="3411" y="10"/>
                  </a:lnTo>
                  <a:lnTo>
                    <a:pt x="3331" y="4"/>
                  </a:lnTo>
                  <a:lnTo>
                    <a:pt x="3249" y="1"/>
                  </a:lnTo>
                  <a:lnTo>
                    <a:pt x="3167" y="0"/>
                  </a:lnTo>
                  <a:lnTo>
                    <a:pt x="3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70">
              <a:extLst>
                <a:ext uri="{FF2B5EF4-FFF2-40B4-BE49-F238E27FC236}">
                  <a16:creationId xmlns:a16="http://schemas.microsoft.com/office/drawing/2014/main" id="{7FFC28D0-EAE7-4990-A845-ED4FC0F09765}"/>
                </a:ext>
              </a:extLst>
            </p:cNvPr>
            <p:cNvSpPr>
              <a:spLocks/>
            </p:cNvSpPr>
            <p:nvPr/>
          </p:nvSpPr>
          <p:spPr bwMode="auto">
            <a:xfrm>
              <a:off x="4513263" y="3365501"/>
              <a:ext cx="26988" cy="101600"/>
            </a:xfrm>
            <a:custGeom>
              <a:avLst/>
              <a:gdLst>
                <a:gd name="T0" fmla="*/ 49 w 99"/>
                <a:gd name="T1" fmla="*/ 0 h 387"/>
                <a:gd name="T2" fmla="*/ 2 w 99"/>
                <a:gd name="T3" fmla="*/ 49 h 387"/>
                <a:gd name="T4" fmla="*/ 2 w 99"/>
                <a:gd name="T5" fmla="*/ 49 h 387"/>
                <a:gd name="T6" fmla="*/ 1 w 99"/>
                <a:gd name="T7" fmla="*/ 173 h 387"/>
                <a:gd name="T8" fmla="*/ 0 w 99"/>
                <a:gd name="T9" fmla="*/ 387 h 387"/>
                <a:gd name="T10" fmla="*/ 0 w 99"/>
                <a:gd name="T11" fmla="*/ 387 h 387"/>
                <a:gd name="T12" fmla="*/ 99 w 99"/>
                <a:gd name="T13" fmla="*/ 387 h 387"/>
                <a:gd name="T14" fmla="*/ 99 w 99"/>
                <a:gd name="T15" fmla="*/ 387 h 387"/>
                <a:gd name="T16" fmla="*/ 97 w 99"/>
                <a:gd name="T17" fmla="*/ 173 h 387"/>
                <a:gd name="T18" fmla="*/ 96 w 99"/>
                <a:gd name="T19" fmla="*/ 49 h 387"/>
                <a:gd name="T20" fmla="*/ 49 w 99"/>
                <a:gd name="T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387">
                  <a:moveTo>
                    <a:pt x="49" y="0"/>
                  </a:moveTo>
                  <a:lnTo>
                    <a:pt x="2" y="49"/>
                  </a:lnTo>
                  <a:lnTo>
                    <a:pt x="2" y="49"/>
                  </a:lnTo>
                  <a:lnTo>
                    <a:pt x="1" y="173"/>
                  </a:lnTo>
                  <a:lnTo>
                    <a:pt x="0" y="387"/>
                  </a:lnTo>
                  <a:lnTo>
                    <a:pt x="0" y="387"/>
                  </a:lnTo>
                  <a:lnTo>
                    <a:pt x="99" y="387"/>
                  </a:lnTo>
                  <a:lnTo>
                    <a:pt x="99" y="387"/>
                  </a:lnTo>
                  <a:lnTo>
                    <a:pt x="97" y="173"/>
                  </a:lnTo>
                  <a:lnTo>
                    <a:pt x="96" y="49"/>
                  </a:ln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71">
              <a:extLst>
                <a:ext uri="{FF2B5EF4-FFF2-40B4-BE49-F238E27FC236}">
                  <a16:creationId xmlns:a16="http://schemas.microsoft.com/office/drawing/2014/main" id="{DB31D7D4-2E84-457E-9BCA-DA138DB8ED1F}"/>
                </a:ext>
              </a:extLst>
            </p:cNvPr>
            <p:cNvSpPr>
              <a:spLocks/>
            </p:cNvSpPr>
            <p:nvPr/>
          </p:nvSpPr>
          <p:spPr bwMode="auto">
            <a:xfrm>
              <a:off x="4627563" y="3365501"/>
              <a:ext cx="25400" cy="101600"/>
            </a:xfrm>
            <a:custGeom>
              <a:avLst/>
              <a:gdLst>
                <a:gd name="T0" fmla="*/ 98 w 99"/>
                <a:gd name="T1" fmla="*/ 49 h 387"/>
                <a:gd name="T2" fmla="*/ 49 w 99"/>
                <a:gd name="T3" fmla="*/ 0 h 387"/>
                <a:gd name="T4" fmla="*/ 2 w 99"/>
                <a:gd name="T5" fmla="*/ 49 h 387"/>
                <a:gd name="T6" fmla="*/ 0 w 99"/>
                <a:gd name="T7" fmla="*/ 387 h 387"/>
                <a:gd name="T8" fmla="*/ 99 w 99"/>
                <a:gd name="T9" fmla="*/ 387 h 387"/>
                <a:gd name="T10" fmla="*/ 98 w 99"/>
                <a:gd name="T11" fmla="*/ 49 h 387"/>
              </a:gdLst>
              <a:ahLst/>
              <a:cxnLst>
                <a:cxn ang="0">
                  <a:pos x="T0" y="T1"/>
                </a:cxn>
                <a:cxn ang="0">
                  <a:pos x="T2" y="T3"/>
                </a:cxn>
                <a:cxn ang="0">
                  <a:pos x="T4" y="T5"/>
                </a:cxn>
                <a:cxn ang="0">
                  <a:pos x="T6" y="T7"/>
                </a:cxn>
                <a:cxn ang="0">
                  <a:pos x="T8" y="T9"/>
                </a:cxn>
                <a:cxn ang="0">
                  <a:pos x="T10" y="T11"/>
                </a:cxn>
              </a:cxnLst>
              <a:rect l="0" t="0" r="r" b="b"/>
              <a:pathLst>
                <a:path w="99" h="387">
                  <a:moveTo>
                    <a:pt x="98" y="49"/>
                  </a:moveTo>
                  <a:lnTo>
                    <a:pt x="49" y="0"/>
                  </a:lnTo>
                  <a:lnTo>
                    <a:pt x="2" y="49"/>
                  </a:lnTo>
                  <a:lnTo>
                    <a:pt x="0" y="387"/>
                  </a:lnTo>
                  <a:lnTo>
                    <a:pt x="99" y="387"/>
                  </a:lnTo>
                  <a:lnTo>
                    <a:pt x="9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9" name="Freeform 88">
            <a:extLst>
              <a:ext uri="{FF2B5EF4-FFF2-40B4-BE49-F238E27FC236}">
                <a16:creationId xmlns:a16="http://schemas.microsoft.com/office/drawing/2014/main" id="{E1BE4E88-9ED4-48C0-A4D5-F32896ACF94C}"/>
              </a:ext>
            </a:extLst>
          </p:cNvPr>
          <p:cNvSpPr>
            <a:spLocks noEditPoints="1"/>
          </p:cNvSpPr>
          <p:nvPr userDrawn="1"/>
        </p:nvSpPr>
        <p:spPr bwMode="auto">
          <a:xfrm>
            <a:off x="3222903" y="3994458"/>
            <a:ext cx="1080000" cy="1080000"/>
          </a:xfrm>
          <a:custGeom>
            <a:avLst/>
            <a:gdLst>
              <a:gd name="T0" fmla="*/ 3100 w 8267"/>
              <a:gd name="T1" fmla="*/ 130 h 8260"/>
              <a:gd name="T2" fmla="*/ 1990 w 8267"/>
              <a:gd name="T3" fmla="*/ 598 h 8260"/>
              <a:gd name="T4" fmla="*/ 1073 w 8267"/>
              <a:gd name="T5" fmla="*/ 1353 h 8260"/>
              <a:gd name="T6" fmla="*/ 408 w 8267"/>
              <a:gd name="T7" fmla="*/ 2339 h 8260"/>
              <a:gd name="T8" fmla="*/ 48 w 8267"/>
              <a:gd name="T9" fmla="*/ 3501 h 8260"/>
              <a:gd name="T10" fmla="*/ 33 w 8267"/>
              <a:gd name="T11" fmla="*/ 4655 h 8260"/>
              <a:gd name="T12" fmla="*/ 365 w 8267"/>
              <a:gd name="T13" fmla="*/ 5830 h 8260"/>
              <a:gd name="T14" fmla="*/ 1008 w 8267"/>
              <a:gd name="T15" fmla="*/ 6833 h 8260"/>
              <a:gd name="T16" fmla="*/ 1906 w 8267"/>
              <a:gd name="T17" fmla="*/ 7609 h 8260"/>
              <a:gd name="T18" fmla="*/ 3002 w 8267"/>
              <a:gd name="T19" fmla="*/ 8103 h 8260"/>
              <a:gd name="T20" fmla="*/ 4133 w 8267"/>
              <a:gd name="T21" fmla="*/ 8260 h 8260"/>
              <a:gd name="T22" fmla="*/ 5362 w 8267"/>
              <a:gd name="T23" fmla="*/ 8074 h 8260"/>
              <a:gd name="T24" fmla="*/ 6444 w 8267"/>
              <a:gd name="T25" fmla="*/ 7554 h 8260"/>
              <a:gd name="T26" fmla="*/ 7323 w 8267"/>
              <a:gd name="T27" fmla="*/ 6756 h 8260"/>
              <a:gd name="T28" fmla="*/ 7942 w 8267"/>
              <a:gd name="T29" fmla="*/ 5738 h 8260"/>
              <a:gd name="T30" fmla="*/ 8245 w 8267"/>
              <a:gd name="T31" fmla="*/ 4552 h 8260"/>
              <a:gd name="T32" fmla="*/ 8202 w 8267"/>
              <a:gd name="T33" fmla="*/ 3399 h 8260"/>
              <a:gd name="T34" fmla="*/ 7815 w 8267"/>
              <a:gd name="T35" fmla="*/ 2249 h 8260"/>
              <a:gd name="T36" fmla="*/ 7126 w 8267"/>
              <a:gd name="T37" fmla="*/ 1280 h 8260"/>
              <a:gd name="T38" fmla="*/ 6190 w 8267"/>
              <a:gd name="T39" fmla="*/ 546 h 8260"/>
              <a:gd name="T40" fmla="*/ 5067 w 8267"/>
              <a:gd name="T41" fmla="*/ 106 h 8260"/>
              <a:gd name="T42" fmla="*/ 2619 w 8267"/>
              <a:gd name="T43" fmla="*/ 6851 h 8260"/>
              <a:gd name="T44" fmla="*/ 2978 w 8267"/>
              <a:gd name="T45" fmla="*/ 6060 h 8260"/>
              <a:gd name="T46" fmla="*/ 3380 w 8267"/>
              <a:gd name="T47" fmla="*/ 6051 h 8260"/>
              <a:gd name="T48" fmla="*/ 3453 w 8267"/>
              <a:gd name="T49" fmla="*/ 5951 h 8260"/>
              <a:gd name="T50" fmla="*/ 3658 w 8267"/>
              <a:gd name="T51" fmla="*/ 5896 h 8260"/>
              <a:gd name="T52" fmla="*/ 3903 w 8267"/>
              <a:gd name="T53" fmla="*/ 5822 h 8260"/>
              <a:gd name="T54" fmla="*/ 3940 w 8267"/>
              <a:gd name="T55" fmla="*/ 5552 h 8260"/>
              <a:gd name="T56" fmla="*/ 3845 w 8267"/>
              <a:gd name="T57" fmla="*/ 4867 h 8260"/>
              <a:gd name="T58" fmla="*/ 3857 w 8267"/>
              <a:gd name="T59" fmla="*/ 4547 h 8260"/>
              <a:gd name="T60" fmla="*/ 3775 w 8267"/>
              <a:gd name="T61" fmla="*/ 4084 h 8260"/>
              <a:gd name="T62" fmla="*/ 3791 w 8267"/>
              <a:gd name="T63" fmla="*/ 3420 h 8260"/>
              <a:gd name="T64" fmla="*/ 3703 w 8267"/>
              <a:gd name="T65" fmla="*/ 3299 h 8260"/>
              <a:gd name="T66" fmla="*/ 3550 w 8267"/>
              <a:gd name="T67" fmla="*/ 2898 h 8260"/>
              <a:gd name="T68" fmla="*/ 3509 w 8267"/>
              <a:gd name="T69" fmla="*/ 2432 h 8260"/>
              <a:gd name="T70" fmla="*/ 3579 w 8267"/>
              <a:gd name="T71" fmla="*/ 2291 h 8260"/>
              <a:gd name="T72" fmla="*/ 3854 w 8267"/>
              <a:gd name="T73" fmla="*/ 2164 h 8260"/>
              <a:gd name="T74" fmla="*/ 3962 w 8267"/>
              <a:gd name="T75" fmla="*/ 2045 h 8260"/>
              <a:gd name="T76" fmla="*/ 3930 w 8267"/>
              <a:gd name="T77" fmla="*/ 1878 h 8260"/>
              <a:gd name="T78" fmla="*/ 3905 w 8267"/>
              <a:gd name="T79" fmla="*/ 1595 h 8260"/>
              <a:gd name="T80" fmla="*/ 3976 w 8267"/>
              <a:gd name="T81" fmla="*/ 1468 h 8260"/>
              <a:gd name="T82" fmla="*/ 4139 w 8267"/>
              <a:gd name="T83" fmla="*/ 1409 h 8260"/>
              <a:gd name="T84" fmla="*/ 4302 w 8267"/>
              <a:gd name="T85" fmla="*/ 1476 h 8260"/>
              <a:gd name="T86" fmla="*/ 4363 w 8267"/>
              <a:gd name="T87" fmla="*/ 1628 h 8260"/>
              <a:gd name="T88" fmla="*/ 4322 w 8267"/>
              <a:gd name="T89" fmla="*/ 1912 h 8260"/>
              <a:gd name="T90" fmla="*/ 4313 w 8267"/>
              <a:gd name="T91" fmla="*/ 2068 h 8260"/>
              <a:gd name="T92" fmla="*/ 4499 w 8267"/>
              <a:gd name="T93" fmla="*/ 2199 h 8260"/>
              <a:gd name="T94" fmla="*/ 4721 w 8267"/>
              <a:gd name="T95" fmla="*/ 2330 h 8260"/>
              <a:gd name="T96" fmla="*/ 4761 w 8267"/>
              <a:gd name="T97" fmla="*/ 2580 h 8260"/>
              <a:gd name="T98" fmla="*/ 4647 w 8267"/>
              <a:gd name="T99" fmla="*/ 3172 h 8260"/>
              <a:gd name="T100" fmla="*/ 4543 w 8267"/>
              <a:gd name="T101" fmla="*/ 3310 h 8260"/>
              <a:gd name="T102" fmla="*/ 4504 w 8267"/>
              <a:gd name="T103" fmla="*/ 3593 h 8260"/>
              <a:gd name="T104" fmla="*/ 4484 w 8267"/>
              <a:gd name="T105" fmla="*/ 4126 h 8260"/>
              <a:gd name="T106" fmla="*/ 4413 w 8267"/>
              <a:gd name="T107" fmla="*/ 4469 h 8260"/>
              <a:gd name="T108" fmla="*/ 4415 w 8267"/>
              <a:gd name="T109" fmla="*/ 4943 h 8260"/>
              <a:gd name="T110" fmla="*/ 4322 w 8267"/>
              <a:gd name="T111" fmla="*/ 5664 h 8260"/>
              <a:gd name="T112" fmla="*/ 4380 w 8267"/>
              <a:gd name="T113" fmla="*/ 5839 h 8260"/>
              <a:gd name="T114" fmla="*/ 4698 w 8267"/>
              <a:gd name="T115" fmla="*/ 5904 h 8260"/>
              <a:gd name="T116" fmla="*/ 4830 w 8267"/>
              <a:gd name="T117" fmla="*/ 5969 h 8260"/>
              <a:gd name="T118" fmla="*/ 4925 w 8267"/>
              <a:gd name="T119" fmla="*/ 6059 h 8260"/>
              <a:gd name="T120" fmla="*/ 5303 w 8267"/>
              <a:gd name="T121" fmla="*/ 6062 h 8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67" h="8260">
                <a:moveTo>
                  <a:pt x="4133" y="0"/>
                </a:moveTo>
                <a:lnTo>
                  <a:pt x="4133" y="0"/>
                </a:lnTo>
                <a:lnTo>
                  <a:pt x="4027" y="1"/>
                </a:lnTo>
                <a:lnTo>
                  <a:pt x="3921" y="5"/>
                </a:lnTo>
                <a:lnTo>
                  <a:pt x="3815" y="11"/>
                </a:lnTo>
                <a:lnTo>
                  <a:pt x="3710" y="20"/>
                </a:lnTo>
                <a:lnTo>
                  <a:pt x="3607" y="33"/>
                </a:lnTo>
                <a:lnTo>
                  <a:pt x="3504" y="48"/>
                </a:lnTo>
                <a:lnTo>
                  <a:pt x="3402" y="64"/>
                </a:lnTo>
                <a:lnTo>
                  <a:pt x="3300" y="83"/>
                </a:lnTo>
                <a:lnTo>
                  <a:pt x="3200" y="106"/>
                </a:lnTo>
                <a:lnTo>
                  <a:pt x="3100" y="130"/>
                </a:lnTo>
                <a:lnTo>
                  <a:pt x="3002" y="156"/>
                </a:lnTo>
                <a:lnTo>
                  <a:pt x="2904" y="186"/>
                </a:lnTo>
                <a:lnTo>
                  <a:pt x="2808" y="216"/>
                </a:lnTo>
                <a:lnTo>
                  <a:pt x="2712" y="250"/>
                </a:lnTo>
                <a:lnTo>
                  <a:pt x="2618" y="286"/>
                </a:lnTo>
                <a:lnTo>
                  <a:pt x="2524" y="324"/>
                </a:lnTo>
                <a:lnTo>
                  <a:pt x="2432" y="364"/>
                </a:lnTo>
                <a:lnTo>
                  <a:pt x="2341" y="407"/>
                </a:lnTo>
                <a:lnTo>
                  <a:pt x="2251" y="452"/>
                </a:lnTo>
                <a:lnTo>
                  <a:pt x="2163" y="499"/>
                </a:lnTo>
                <a:lnTo>
                  <a:pt x="2076" y="546"/>
                </a:lnTo>
                <a:lnTo>
                  <a:pt x="1990" y="598"/>
                </a:lnTo>
                <a:lnTo>
                  <a:pt x="1906" y="650"/>
                </a:lnTo>
                <a:lnTo>
                  <a:pt x="1823" y="705"/>
                </a:lnTo>
                <a:lnTo>
                  <a:pt x="1741" y="761"/>
                </a:lnTo>
                <a:lnTo>
                  <a:pt x="1660" y="821"/>
                </a:lnTo>
                <a:lnTo>
                  <a:pt x="1581" y="881"/>
                </a:lnTo>
                <a:lnTo>
                  <a:pt x="1504" y="942"/>
                </a:lnTo>
                <a:lnTo>
                  <a:pt x="1429" y="1007"/>
                </a:lnTo>
                <a:lnTo>
                  <a:pt x="1354" y="1072"/>
                </a:lnTo>
                <a:lnTo>
                  <a:pt x="1282" y="1140"/>
                </a:lnTo>
                <a:lnTo>
                  <a:pt x="1211" y="1210"/>
                </a:lnTo>
                <a:lnTo>
                  <a:pt x="1141" y="1280"/>
                </a:lnTo>
                <a:lnTo>
                  <a:pt x="1073" y="1353"/>
                </a:lnTo>
                <a:lnTo>
                  <a:pt x="1008" y="1427"/>
                </a:lnTo>
                <a:lnTo>
                  <a:pt x="943" y="1502"/>
                </a:lnTo>
                <a:lnTo>
                  <a:pt x="882" y="1580"/>
                </a:lnTo>
                <a:lnTo>
                  <a:pt x="821" y="1658"/>
                </a:lnTo>
                <a:lnTo>
                  <a:pt x="762" y="1739"/>
                </a:lnTo>
                <a:lnTo>
                  <a:pt x="705" y="1821"/>
                </a:lnTo>
                <a:lnTo>
                  <a:pt x="650" y="1904"/>
                </a:lnTo>
                <a:lnTo>
                  <a:pt x="598" y="1988"/>
                </a:lnTo>
                <a:lnTo>
                  <a:pt x="547" y="2074"/>
                </a:lnTo>
                <a:lnTo>
                  <a:pt x="499" y="2161"/>
                </a:lnTo>
                <a:lnTo>
                  <a:pt x="452" y="2249"/>
                </a:lnTo>
                <a:lnTo>
                  <a:pt x="408" y="2339"/>
                </a:lnTo>
                <a:lnTo>
                  <a:pt x="365" y="2430"/>
                </a:lnTo>
                <a:lnTo>
                  <a:pt x="325" y="2522"/>
                </a:lnTo>
                <a:lnTo>
                  <a:pt x="286" y="2616"/>
                </a:lnTo>
                <a:lnTo>
                  <a:pt x="251" y="2710"/>
                </a:lnTo>
                <a:lnTo>
                  <a:pt x="216" y="2806"/>
                </a:lnTo>
                <a:lnTo>
                  <a:pt x="186" y="2901"/>
                </a:lnTo>
                <a:lnTo>
                  <a:pt x="156" y="2999"/>
                </a:lnTo>
                <a:lnTo>
                  <a:pt x="130" y="3097"/>
                </a:lnTo>
                <a:lnTo>
                  <a:pt x="106" y="3197"/>
                </a:lnTo>
                <a:lnTo>
                  <a:pt x="83" y="3297"/>
                </a:lnTo>
                <a:lnTo>
                  <a:pt x="64" y="3399"/>
                </a:lnTo>
                <a:lnTo>
                  <a:pt x="48" y="3501"/>
                </a:lnTo>
                <a:lnTo>
                  <a:pt x="33" y="3604"/>
                </a:lnTo>
                <a:lnTo>
                  <a:pt x="21" y="3707"/>
                </a:lnTo>
                <a:lnTo>
                  <a:pt x="11" y="3812"/>
                </a:lnTo>
                <a:lnTo>
                  <a:pt x="5" y="3918"/>
                </a:lnTo>
                <a:lnTo>
                  <a:pt x="1" y="4024"/>
                </a:lnTo>
                <a:lnTo>
                  <a:pt x="0" y="4129"/>
                </a:lnTo>
                <a:lnTo>
                  <a:pt x="0" y="4129"/>
                </a:lnTo>
                <a:lnTo>
                  <a:pt x="1" y="4236"/>
                </a:lnTo>
                <a:lnTo>
                  <a:pt x="5" y="4342"/>
                </a:lnTo>
                <a:lnTo>
                  <a:pt x="11" y="4447"/>
                </a:lnTo>
                <a:lnTo>
                  <a:pt x="21" y="4552"/>
                </a:lnTo>
                <a:lnTo>
                  <a:pt x="33" y="4655"/>
                </a:lnTo>
                <a:lnTo>
                  <a:pt x="48" y="4759"/>
                </a:lnTo>
                <a:lnTo>
                  <a:pt x="64" y="4861"/>
                </a:lnTo>
                <a:lnTo>
                  <a:pt x="83" y="4963"/>
                </a:lnTo>
                <a:lnTo>
                  <a:pt x="106" y="5063"/>
                </a:lnTo>
                <a:lnTo>
                  <a:pt x="130" y="5162"/>
                </a:lnTo>
                <a:lnTo>
                  <a:pt x="156" y="5261"/>
                </a:lnTo>
                <a:lnTo>
                  <a:pt x="186" y="5358"/>
                </a:lnTo>
                <a:lnTo>
                  <a:pt x="216" y="5454"/>
                </a:lnTo>
                <a:lnTo>
                  <a:pt x="251" y="5550"/>
                </a:lnTo>
                <a:lnTo>
                  <a:pt x="286" y="5644"/>
                </a:lnTo>
                <a:lnTo>
                  <a:pt x="325" y="5738"/>
                </a:lnTo>
                <a:lnTo>
                  <a:pt x="365" y="5830"/>
                </a:lnTo>
                <a:lnTo>
                  <a:pt x="408" y="5920"/>
                </a:lnTo>
                <a:lnTo>
                  <a:pt x="452" y="6010"/>
                </a:lnTo>
                <a:lnTo>
                  <a:pt x="499" y="6099"/>
                </a:lnTo>
                <a:lnTo>
                  <a:pt x="547" y="6185"/>
                </a:lnTo>
                <a:lnTo>
                  <a:pt x="598" y="6272"/>
                </a:lnTo>
                <a:lnTo>
                  <a:pt x="650" y="6356"/>
                </a:lnTo>
                <a:lnTo>
                  <a:pt x="705" y="6439"/>
                </a:lnTo>
                <a:lnTo>
                  <a:pt x="762" y="6521"/>
                </a:lnTo>
                <a:lnTo>
                  <a:pt x="821" y="6600"/>
                </a:lnTo>
                <a:lnTo>
                  <a:pt x="882" y="6680"/>
                </a:lnTo>
                <a:lnTo>
                  <a:pt x="943" y="6756"/>
                </a:lnTo>
                <a:lnTo>
                  <a:pt x="1008" y="6833"/>
                </a:lnTo>
                <a:lnTo>
                  <a:pt x="1073" y="6907"/>
                </a:lnTo>
                <a:lnTo>
                  <a:pt x="1141" y="6980"/>
                </a:lnTo>
                <a:lnTo>
                  <a:pt x="1211" y="7050"/>
                </a:lnTo>
                <a:lnTo>
                  <a:pt x="1282" y="7120"/>
                </a:lnTo>
                <a:lnTo>
                  <a:pt x="1354" y="7187"/>
                </a:lnTo>
                <a:lnTo>
                  <a:pt x="1429" y="7253"/>
                </a:lnTo>
                <a:lnTo>
                  <a:pt x="1504" y="7316"/>
                </a:lnTo>
                <a:lnTo>
                  <a:pt x="1581" y="7379"/>
                </a:lnTo>
                <a:lnTo>
                  <a:pt x="1660" y="7439"/>
                </a:lnTo>
                <a:lnTo>
                  <a:pt x="1741" y="7497"/>
                </a:lnTo>
                <a:lnTo>
                  <a:pt x="1823" y="7554"/>
                </a:lnTo>
                <a:lnTo>
                  <a:pt x="1906" y="7609"/>
                </a:lnTo>
                <a:lnTo>
                  <a:pt x="1990" y="7662"/>
                </a:lnTo>
                <a:lnTo>
                  <a:pt x="2076" y="7713"/>
                </a:lnTo>
                <a:lnTo>
                  <a:pt x="2163" y="7761"/>
                </a:lnTo>
                <a:lnTo>
                  <a:pt x="2251" y="7808"/>
                </a:lnTo>
                <a:lnTo>
                  <a:pt x="2341" y="7853"/>
                </a:lnTo>
                <a:lnTo>
                  <a:pt x="2432" y="7895"/>
                </a:lnTo>
                <a:lnTo>
                  <a:pt x="2524" y="7936"/>
                </a:lnTo>
                <a:lnTo>
                  <a:pt x="2618" y="7973"/>
                </a:lnTo>
                <a:lnTo>
                  <a:pt x="2712" y="8010"/>
                </a:lnTo>
                <a:lnTo>
                  <a:pt x="2808" y="8043"/>
                </a:lnTo>
                <a:lnTo>
                  <a:pt x="2904" y="8074"/>
                </a:lnTo>
                <a:lnTo>
                  <a:pt x="3002" y="8103"/>
                </a:lnTo>
                <a:lnTo>
                  <a:pt x="3100" y="8130"/>
                </a:lnTo>
                <a:lnTo>
                  <a:pt x="3200" y="8154"/>
                </a:lnTo>
                <a:lnTo>
                  <a:pt x="3300" y="8176"/>
                </a:lnTo>
                <a:lnTo>
                  <a:pt x="3402" y="8195"/>
                </a:lnTo>
                <a:lnTo>
                  <a:pt x="3504" y="8212"/>
                </a:lnTo>
                <a:lnTo>
                  <a:pt x="3607" y="8227"/>
                </a:lnTo>
                <a:lnTo>
                  <a:pt x="3710" y="8238"/>
                </a:lnTo>
                <a:lnTo>
                  <a:pt x="3815" y="8247"/>
                </a:lnTo>
                <a:lnTo>
                  <a:pt x="3921" y="8254"/>
                </a:lnTo>
                <a:lnTo>
                  <a:pt x="4027" y="8259"/>
                </a:lnTo>
                <a:lnTo>
                  <a:pt x="4133" y="8260"/>
                </a:lnTo>
                <a:lnTo>
                  <a:pt x="4133" y="8260"/>
                </a:lnTo>
                <a:lnTo>
                  <a:pt x="4240" y="8259"/>
                </a:lnTo>
                <a:lnTo>
                  <a:pt x="4346" y="8254"/>
                </a:lnTo>
                <a:lnTo>
                  <a:pt x="4451" y="8247"/>
                </a:lnTo>
                <a:lnTo>
                  <a:pt x="4556" y="8238"/>
                </a:lnTo>
                <a:lnTo>
                  <a:pt x="4659" y="8227"/>
                </a:lnTo>
                <a:lnTo>
                  <a:pt x="4763" y="8212"/>
                </a:lnTo>
                <a:lnTo>
                  <a:pt x="4865" y="8195"/>
                </a:lnTo>
                <a:lnTo>
                  <a:pt x="4967" y="8176"/>
                </a:lnTo>
                <a:lnTo>
                  <a:pt x="5067" y="8154"/>
                </a:lnTo>
                <a:lnTo>
                  <a:pt x="5166" y="8130"/>
                </a:lnTo>
                <a:lnTo>
                  <a:pt x="5265" y="8103"/>
                </a:lnTo>
                <a:lnTo>
                  <a:pt x="5362" y="8074"/>
                </a:lnTo>
                <a:lnTo>
                  <a:pt x="5459" y="8043"/>
                </a:lnTo>
                <a:lnTo>
                  <a:pt x="5555" y="8010"/>
                </a:lnTo>
                <a:lnTo>
                  <a:pt x="5649" y="7973"/>
                </a:lnTo>
                <a:lnTo>
                  <a:pt x="5743" y="7936"/>
                </a:lnTo>
                <a:lnTo>
                  <a:pt x="5835" y="7895"/>
                </a:lnTo>
                <a:lnTo>
                  <a:pt x="5925" y="7853"/>
                </a:lnTo>
                <a:lnTo>
                  <a:pt x="6015" y="7808"/>
                </a:lnTo>
                <a:lnTo>
                  <a:pt x="6104" y="7761"/>
                </a:lnTo>
                <a:lnTo>
                  <a:pt x="6190" y="7713"/>
                </a:lnTo>
                <a:lnTo>
                  <a:pt x="6277" y="7662"/>
                </a:lnTo>
                <a:lnTo>
                  <a:pt x="6361" y="7609"/>
                </a:lnTo>
                <a:lnTo>
                  <a:pt x="6444" y="7554"/>
                </a:lnTo>
                <a:lnTo>
                  <a:pt x="6526" y="7497"/>
                </a:lnTo>
                <a:lnTo>
                  <a:pt x="6606" y="7439"/>
                </a:lnTo>
                <a:lnTo>
                  <a:pt x="6686" y="7379"/>
                </a:lnTo>
                <a:lnTo>
                  <a:pt x="6762" y="7316"/>
                </a:lnTo>
                <a:lnTo>
                  <a:pt x="6838" y="7253"/>
                </a:lnTo>
                <a:lnTo>
                  <a:pt x="6913" y="7187"/>
                </a:lnTo>
                <a:lnTo>
                  <a:pt x="6985" y="7120"/>
                </a:lnTo>
                <a:lnTo>
                  <a:pt x="7056" y="7050"/>
                </a:lnTo>
                <a:lnTo>
                  <a:pt x="7126" y="6980"/>
                </a:lnTo>
                <a:lnTo>
                  <a:pt x="7193" y="6907"/>
                </a:lnTo>
                <a:lnTo>
                  <a:pt x="7259" y="6833"/>
                </a:lnTo>
                <a:lnTo>
                  <a:pt x="7323" y="6756"/>
                </a:lnTo>
                <a:lnTo>
                  <a:pt x="7385" y="6680"/>
                </a:lnTo>
                <a:lnTo>
                  <a:pt x="7446" y="6600"/>
                </a:lnTo>
                <a:lnTo>
                  <a:pt x="7504" y="6521"/>
                </a:lnTo>
                <a:lnTo>
                  <a:pt x="7561" y="6439"/>
                </a:lnTo>
                <a:lnTo>
                  <a:pt x="7615" y="6356"/>
                </a:lnTo>
                <a:lnTo>
                  <a:pt x="7669" y="6272"/>
                </a:lnTo>
                <a:lnTo>
                  <a:pt x="7719" y="6185"/>
                </a:lnTo>
                <a:lnTo>
                  <a:pt x="7768" y="6099"/>
                </a:lnTo>
                <a:lnTo>
                  <a:pt x="7815" y="6010"/>
                </a:lnTo>
                <a:lnTo>
                  <a:pt x="7859" y="5920"/>
                </a:lnTo>
                <a:lnTo>
                  <a:pt x="7901" y="5830"/>
                </a:lnTo>
                <a:lnTo>
                  <a:pt x="7942" y="5738"/>
                </a:lnTo>
                <a:lnTo>
                  <a:pt x="7980" y="5644"/>
                </a:lnTo>
                <a:lnTo>
                  <a:pt x="8016" y="5550"/>
                </a:lnTo>
                <a:lnTo>
                  <a:pt x="8049" y="5454"/>
                </a:lnTo>
                <a:lnTo>
                  <a:pt x="8081" y="5358"/>
                </a:lnTo>
                <a:lnTo>
                  <a:pt x="8110" y="5261"/>
                </a:lnTo>
                <a:lnTo>
                  <a:pt x="8137" y="5162"/>
                </a:lnTo>
                <a:lnTo>
                  <a:pt x="8161" y="5063"/>
                </a:lnTo>
                <a:lnTo>
                  <a:pt x="8183" y="4963"/>
                </a:lnTo>
                <a:lnTo>
                  <a:pt x="8202" y="4861"/>
                </a:lnTo>
                <a:lnTo>
                  <a:pt x="8219" y="4759"/>
                </a:lnTo>
                <a:lnTo>
                  <a:pt x="8234" y="4655"/>
                </a:lnTo>
                <a:lnTo>
                  <a:pt x="8245" y="4552"/>
                </a:lnTo>
                <a:lnTo>
                  <a:pt x="8254" y="4447"/>
                </a:lnTo>
                <a:lnTo>
                  <a:pt x="8261" y="4342"/>
                </a:lnTo>
                <a:lnTo>
                  <a:pt x="8266" y="4236"/>
                </a:lnTo>
                <a:lnTo>
                  <a:pt x="8267" y="4129"/>
                </a:lnTo>
                <a:lnTo>
                  <a:pt x="8267" y="4129"/>
                </a:lnTo>
                <a:lnTo>
                  <a:pt x="8266" y="4024"/>
                </a:lnTo>
                <a:lnTo>
                  <a:pt x="8261" y="3918"/>
                </a:lnTo>
                <a:lnTo>
                  <a:pt x="8254" y="3812"/>
                </a:lnTo>
                <a:lnTo>
                  <a:pt x="8245" y="3707"/>
                </a:lnTo>
                <a:lnTo>
                  <a:pt x="8234" y="3604"/>
                </a:lnTo>
                <a:lnTo>
                  <a:pt x="8219" y="3501"/>
                </a:lnTo>
                <a:lnTo>
                  <a:pt x="8202" y="3399"/>
                </a:lnTo>
                <a:lnTo>
                  <a:pt x="8183" y="3297"/>
                </a:lnTo>
                <a:lnTo>
                  <a:pt x="8161" y="3197"/>
                </a:lnTo>
                <a:lnTo>
                  <a:pt x="8137" y="3097"/>
                </a:lnTo>
                <a:lnTo>
                  <a:pt x="8110" y="2999"/>
                </a:lnTo>
                <a:lnTo>
                  <a:pt x="8081" y="2901"/>
                </a:lnTo>
                <a:lnTo>
                  <a:pt x="8049" y="2806"/>
                </a:lnTo>
                <a:lnTo>
                  <a:pt x="8016" y="2710"/>
                </a:lnTo>
                <a:lnTo>
                  <a:pt x="7980" y="2616"/>
                </a:lnTo>
                <a:lnTo>
                  <a:pt x="7942" y="2522"/>
                </a:lnTo>
                <a:lnTo>
                  <a:pt x="7901" y="2430"/>
                </a:lnTo>
                <a:lnTo>
                  <a:pt x="7859" y="2339"/>
                </a:lnTo>
                <a:lnTo>
                  <a:pt x="7815" y="2249"/>
                </a:lnTo>
                <a:lnTo>
                  <a:pt x="7768" y="2161"/>
                </a:lnTo>
                <a:lnTo>
                  <a:pt x="7719" y="2074"/>
                </a:lnTo>
                <a:lnTo>
                  <a:pt x="7669" y="1988"/>
                </a:lnTo>
                <a:lnTo>
                  <a:pt x="7615" y="1904"/>
                </a:lnTo>
                <a:lnTo>
                  <a:pt x="7561" y="1821"/>
                </a:lnTo>
                <a:lnTo>
                  <a:pt x="7504" y="1739"/>
                </a:lnTo>
                <a:lnTo>
                  <a:pt x="7446" y="1658"/>
                </a:lnTo>
                <a:lnTo>
                  <a:pt x="7385" y="1580"/>
                </a:lnTo>
                <a:lnTo>
                  <a:pt x="7323" y="1502"/>
                </a:lnTo>
                <a:lnTo>
                  <a:pt x="7259" y="1427"/>
                </a:lnTo>
                <a:lnTo>
                  <a:pt x="7193" y="1353"/>
                </a:lnTo>
                <a:lnTo>
                  <a:pt x="7126" y="1280"/>
                </a:lnTo>
                <a:lnTo>
                  <a:pt x="7056" y="1210"/>
                </a:lnTo>
                <a:lnTo>
                  <a:pt x="6985" y="1140"/>
                </a:lnTo>
                <a:lnTo>
                  <a:pt x="6913" y="1072"/>
                </a:lnTo>
                <a:lnTo>
                  <a:pt x="6838" y="1007"/>
                </a:lnTo>
                <a:lnTo>
                  <a:pt x="6762" y="942"/>
                </a:lnTo>
                <a:lnTo>
                  <a:pt x="6686" y="881"/>
                </a:lnTo>
                <a:lnTo>
                  <a:pt x="6606" y="821"/>
                </a:lnTo>
                <a:lnTo>
                  <a:pt x="6526" y="761"/>
                </a:lnTo>
                <a:lnTo>
                  <a:pt x="6444" y="705"/>
                </a:lnTo>
                <a:lnTo>
                  <a:pt x="6361" y="650"/>
                </a:lnTo>
                <a:lnTo>
                  <a:pt x="6277" y="598"/>
                </a:lnTo>
                <a:lnTo>
                  <a:pt x="6190" y="546"/>
                </a:lnTo>
                <a:lnTo>
                  <a:pt x="6104" y="499"/>
                </a:lnTo>
                <a:lnTo>
                  <a:pt x="6015" y="452"/>
                </a:lnTo>
                <a:lnTo>
                  <a:pt x="5925" y="407"/>
                </a:lnTo>
                <a:lnTo>
                  <a:pt x="5835" y="364"/>
                </a:lnTo>
                <a:lnTo>
                  <a:pt x="5743" y="324"/>
                </a:lnTo>
                <a:lnTo>
                  <a:pt x="5649" y="286"/>
                </a:lnTo>
                <a:lnTo>
                  <a:pt x="5555" y="250"/>
                </a:lnTo>
                <a:lnTo>
                  <a:pt x="5459" y="216"/>
                </a:lnTo>
                <a:lnTo>
                  <a:pt x="5362" y="186"/>
                </a:lnTo>
                <a:lnTo>
                  <a:pt x="5265" y="156"/>
                </a:lnTo>
                <a:lnTo>
                  <a:pt x="5166" y="130"/>
                </a:lnTo>
                <a:lnTo>
                  <a:pt x="5067" y="106"/>
                </a:lnTo>
                <a:lnTo>
                  <a:pt x="4967" y="83"/>
                </a:lnTo>
                <a:lnTo>
                  <a:pt x="4865" y="64"/>
                </a:lnTo>
                <a:lnTo>
                  <a:pt x="4763" y="48"/>
                </a:lnTo>
                <a:lnTo>
                  <a:pt x="4659" y="33"/>
                </a:lnTo>
                <a:lnTo>
                  <a:pt x="4556" y="20"/>
                </a:lnTo>
                <a:lnTo>
                  <a:pt x="4451" y="11"/>
                </a:lnTo>
                <a:lnTo>
                  <a:pt x="4346" y="5"/>
                </a:lnTo>
                <a:lnTo>
                  <a:pt x="4240" y="1"/>
                </a:lnTo>
                <a:lnTo>
                  <a:pt x="4133" y="0"/>
                </a:lnTo>
                <a:lnTo>
                  <a:pt x="4133" y="0"/>
                </a:lnTo>
                <a:close/>
                <a:moveTo>
                  <a:pt x="2619" y="6851"/>
                </a:moveTo>
                <a:lnTo>
                  <a:pt x="2619" y="6851"/>
                </a:lnTo>
                <a:lnTo>
                  <a:pt x="2624" y="6837"/>
                </a:lnTo>
                <a:lnTo>
                  <a:pt x="2628" y="6826"/>
                </a:lnTo>
                <a:lnTo>
                  <a:pt x="2628" y="6826"/>
                </a:lnTo>
                <a:lnTo>
                  <a:pt x="2786" y="6458"/>
                </a:lnTo>
                <a:lnTo>
                  <a:pt x="2944" y="6092"/>
                </a:lnTo>
                <a:lnTo>
                  <a:pt x="2944" y="6092"/>
                </a:lnTo>
                <a:lnTo>
                  <a:pt x="2948" y="6083"/>
                </a:lnTo>
                <a:lnTo>
                  <a:pt x="2953" y="6075"/>
                </a:lnTo>
                <a:lnTo>
                  <a:pt x="2958" y="6069"/>
                </a:lnTo>
                <a:lnTo>
                  <a:pt x="2964" y="6066"/>
                </a:lnTo>
                <a:lnTo>
                  <a:pt x="2971" y="6062"/>
                </a:lnTo>
                <a:lnTo>
                  <a:pt x="2978" y="6060"/>
                </a:lnTo>
                <a:lnTo>
                  <a:pt x="2987" y="6059"/>
                </a:lnTo>
                <a:lnTo>
                  <a:pt x="2996" y="6059"/>
                </a:lnTo>
                <a:lnTo>
                  <a:pt x="2996" y="6059"/>
                </a:lnTo>
                <a:lnTo>
                  <a:pt x="3084" y="6059"/>
                </a:lnTo>
                <a:lnTo>
                  <a:pt x="3170" y="6059"/>
                </a:lnTo>
                <a:lnTo>
                  <a:pt x="3345" y="6060"/>
                </a:lnTo>
                <a:lnTo>
                  <a:pt x="3345" y="6060"/>
                </a:lnTo>
                <a:lnTo>
                  <a:pt x="3353" y="6060"/>
                </a:lnTo>
                <a:lnTo>
                  <a:pt x="3361" y="6059"/>
                </a:lnTo>
                <a:lnTo>
                  <a:pt x="3367" y="6058"/>
                </a:lnTo>
                <a:lnTo>
                  <a:pt x="3374" y="6054"/>
                </a:lnTo>
                <a:lnTo>
                  <a:pt x="3380" y="6051"/>
                </a:lnTo>
                <a:lnTo>
                  <a:pt x="3384" y="6046"/>
                </a:lnTo>
                <a:lnTo>
                  <a:pt x="3389" y="6042"/>
                </a:lnTo>
                <a:lnTo>
                  <a:pt x="3394" y="6034"/>
                </a:lnTo>
                <a:lnTo>
                  <a:pt x="3394" y="6034"/>
                </a:lnTo>
                <a:lnTo>
                  <a:pt x="3399" y="6026"/>
                </a:lnTo>
                <a:lnTo>
                  <a:pt x="3404" y="6017"/>
                </a:lnTo>
                <a:lnTo>
                  <a:pt x="3404" y="6017"/>
                </a:lnTo>
                <a:lnTo>
                  <a:pt x="3412" y="6001"/>
                </a:lnTo>
                <a:lnTo>
                  <a:pt x="3421" y="5986"/>
                </a:lnTo>
                <a:lnTo>
                  <a:pt x="3431" y="5973"/>
                </a:lnTo>
                <a:lnTo>
                  <a:pt x="3441" y="5961"/>
                </a:lnTo>
                <a:lnTo>
                  <a:pt x="3453" y="5951"/>
                </a:lnTo>
                <a:lnTo>
                  <a:pt x="3465" y="5941"/>
                </a:lnTo>
                <a:lnTo>
                  <a:pt x="3478" y="5932"/>
                </a:lnTo>
                <a:lnTo>
                  <a:pt x="3492" y="5926"/>
                </a:lnTo>
                <a:lnTo>
                  <a:pt x="3505" y="5919"/>
                </a:lnTo>
                <a:lnTo>
                  <a:pt x="3520" y="5914"/>
                </a:lnTo>
                <a:lnTo>
                  <a:pt x="3535" y="5910"/>
                </a:lnTo>
                <a:lnTo>
                  <a:pt x="3551" y="5906"/>
                </a:lnTo>
                <a:lnTo>
                  <a:pt x="3567" y="5903"/>
                </a:lnTo>
                <a:lnTo>
                  <a:pt x="3583" y="5902"/>
                </a:lnTo>
                <a:lnTo>
                  <a:pt x="3617" y="5898"/>
                </a:lnTo>
                <a:lnTo>
                  <a:pt x="3617" y="5898"/>
                </a:lnTo>
                <a:lnTo>
                  <a:pt x="3658" y="5896"/>
                </a:lnTo>
                <a:lnTo>
                  <a:pt x="3699" y="5893"/>
                </a:lnTo>
                <a:lnTo>
                  <a:pt x="3740" y="5888"/>
                </a:lnTo>
                <a:lnTo>
                  <a:pt x="3781" y="5881"/>
                </a:lnTo>
                <a:lnTo>
                  <a:pt x="3781" y="5881"/>
                </a:lnTo>
                <a:lnTo>
                  <a:pt x="3801" y="5877"/>
                </a:lnTo>
                <a:lnTo>
                  <a:pt x="3821" y="5871"/>
                </a:lnTo>
                <a:lnTo>
                  <a:pt x="3838" y="5865"/>
                </a:lnTo>
                <a:lnTo>
                  <a:pt x="3854" y="5858"/>
                </a:lnTo>
                <a:lnTo>
                  <a:pt x="3869" y="5850"/>
                </a:lnTo>
                <a:lnTo>
                  <a:pt x="3881" y="5841"/>
                </a:lnTo>
                <a:lnTo>
                  <a:pt x="3893" y="5832"/>
                </a:lnTo>
                <a:lnTo>
                  <a:pt x="3903" y="5822"/>
                </a:lnTo>
                <a:lnTo>
                  <a:pt x="3911" y="5809"/>
                </a:lnTo>
                <a:lnTo>
                  <a:pt x="3919" y="5797"/>
                </a:lnTo>
                <a:lnTo>
                  <a:pt x="3926" y="5783"/>
                </a:lnTo>
                <a:lnTo>
                  <a:pt x="3930" y="5768"/>
                </a:lnTo>
                <a:lnTo>
                  <a:pt x="3935" y="5751"/>
                </a:lnTo>
                <a:lnTo>
                  <a:pt x="3938" y="5733"/>
                </a:lnTo>
                <a:lnTo>
                  <a:pt x="3940" y="5714"/>
                </a:lnTo>
                <a:lnTo>
                  <a:pt x="3942" y="5693"/>
                </a:lnTo>
                <a:lnTo>
                  <a:pt x="3942" y="5693"/>
                </a:lnTo>
                <a:lnTo>
                  <a:pt x="3944" y="5646"/>
                </a:lnTo>
                <a:lnTo>
                  <a:pt x="3943" y="5599"/>
                </a:lnTo>
                <a:lnTo>
                  <a:pt x="3940" y="5552"/>
                </a:lnTo>
                <a:lnTo>
                  <a:pt x="3937" y="5506"/>
                </a:lnTo>
                <a:lnTo>
                  <a:pt x="3932" y="5459"/>
                </a:lnTo>
                <a:lnTo>
                  <a:pt x="3927" y="5412"/>
                </a:lnTo>
                <a:lnTo>
                  <a:pt x="3912" y="5319"/>
                </a:lnTo>
                <a:lnTo>
                  <a:pt x="3912" y="5319"/>
                </a:lnTo>
                <a:lnTo>
                  <a:pt x="3895" y="5214"/>
                </a:lnTo>
                <a:lnTo>
                  <a:pt x="3878" y="5108"/>
                </a:lnTo>
                <a:lnTo>
                  <a:pt x="3861" y="5004"/>
                </a:lnTo>
                <a:lnTo>
                  <a:pt x="3854" y="4951"/>
                </a:lnTo>
                <a:lnTo>
                  <a:pt x="3847" y="4898"/>
                </a:lnTo>
                <a:lnTo>
                  <a:pt x="3847" y="4898"/>
                </a:lnTo>
                <a:lnTo>
                  <a:pt x="3845" y="4867"/>
                </a:lnTo>
                <a:lnTo>
                  <a:pt x="3842" y="4836"/>
                </a:lnTo>
                <a:lnTo>
                  <a:pt x="3841" y="4806"/>
                </a:lnTo>
                <a:lnTo>
                  <a:pt x="3841" y="4774"/>
                </a:lnTo>
                <a:lnTo>
                  <a:pt x="3842" y="4743"/>
                </a:lnTo>
                <a:lnTo>
                  <a:pt x="3844" y="4711"/>
                </a:lnTo>
                <a:lnTo>
                  <a:pt x="3847" y="4680"/>
                </a:lnTo>
                <a:lnTo>
                  <a:pt x="3850" y="4650"/>
                </a:lnTo>
                <a:lnTo>
                  <a:pt x="3850" y="4650"/>
                </a:lnTo>
                <a:lnTo>
                  <a:pt x="3854" y="4623"/>
                </a:lnTo>
                <a:lnTo>
                  <a:pt x="3855" y="4598"/>
                </a:lnTo>
                <a:lnTo>
                  <a:pt x="3857" y="4572"/>
                </a:lnTo>
                <a:lnTo>
                  <a:pt x="3857" y="4547"/>
                </a:lnTo>
                <a:lnTo>
                  <a:pt x="3857" y="4522"/>
                </a:lnTo>
                <a:lnTo>
                  <a:pt x="3856" y="4497"/>
                </a:lnTo>
                <a:lnTo>
                  <a:pt x="3855" y="4472"/>
                </a:lnTo>
                <a:lnTo>
                  <a:pt x="3853" y="4447"/>
                </a:lnTo>
                <a:lnTo>
                  <a:pt x="3846" y="4398"/>
                </a:lnTo>
                <a:lnTo>
                  <a:pt x="3837" y="4348"/>
                </a:lnTo>
                <a:lnTo>
                  <a:pt x="3826" y="4299"/>
                </a:lnTo>
                <a:lnTo>
                  <a:pt x="3813" y="4249"/>
                </a:lnTo>
                <a:lnTo>
                  <a:pt x="3813" y="4249"/>
                </a:lnTo>
                <a:lnTo>
                  <a:pt x="3799" y="4194"/>
                </a:lnTo>
                <a:lnTo>
                  <a:pt x="3785" y="4139"/>
                </a:lnTo>
                <a:lnTo>
                  <a:pt x="3775" y="4084"/>
                </a:lnTo>
                <a:lnTo>
                  <a:pt x="3766" y="4028"/>
                </a:lnTo>
                <a:lnTo>
                  <a:pt x="3759" y="3973"/>
                </a:lnTo>
                <a:lnTo>
                  <a:pt x="3754" y="3918"/>
                </a:lnTo>
                <a:lnTo>
                  <a:pt x="3751" y="3863"/>
                </a:lnTo>
                <a:lnTo>
                  <a:pt x="3749" y="3807"/>
                </a:lnTo>
                <a:lnTo>
                  <a:pt x="3750" y="3753"/>
                </a:lnTo>
                <a:lnTo>
                  <a:pt x="3752" y="3697"/>
                </a:lnTo>
                <a:lnTo>
                  <a:pt x="3757" y="3641"/>
                </a:lnTo>
                <a:lnTo>
                  <a:pt x="3763" y="3587"/>
                </a:lnTo>
                <a:lnTo>
                  <a:pt x="3771" y="3531"/>
                </a:lnTo>
                <a:lnTo>
                  <a:pt x="3780" y="3475"/>
                </a:lnTo>
                <a:lnTo>
                  <a:pt x="3791" y="3420"/>
                </a:lnTo>
                <a:lnTo>
                  <a:pt x="3805" y="3365"/>
                </a:lnTo>
                <a:lnTo>
                  <a:pt x="3805" y="3365"/>
                </a:lnTo>
                <a:lnTo>
                  <a:pt x="3808" y="3349"/>
                </a:lnTo>
                <a:lnTo>
                  <a:pt x="3808" y="3349"/>
                </a:lnTo>
                <a:lnTo>
                  <a:pt x="3808" y="3345"/>
                </a:lnTo>
                <a:lnTo>
                  <a:pt x="3807" y="3344"/>
                </a:lnTo>
                <a:lnTo>
                  <a:pt x="3807" y="3344"/>
                </a:lnTo>
                <a:lnTo>
                  <a:pt x="3763" y="3327"/>
                </a:lnTo>
                <a:lnTo>
                  <a:pt x="3741" y="3318"/>
                </a:lnTo>
                <a:lnTo>
                  <a:pt x="3721" y="3308"/>
                </a:lnTo>
                <a:lnTo>
                  <a:pt x="3721" y="3308"/>
                </a:lnTo>
                <a:lnTo>
                  <a:pt x="3703" y="3299"/>
                </a:lnTo>
                <a:lnTo>
                  <a:pt x="3689" y="3288"/>
                </a:lnTo>
                <a:lnTo>
                  <a:pt x="3675" y="3277"/>
                </a:lnTo>
                <a:lnTo>
                  <a:pt x="3662" y="3263"/>
                </a:lnTo>
                <a:lnTo>
                  <a:pt x="3651" y="3250"/>
                </a:lnTo>
                <a:lnTo>
                  <a:pt x="3642" y="3235"/>
                </a:lnTo>
                <a:lnTo>
                  <a:pt x="3634" y="3218"/>
                </a:lnTo>
                <a:lnTo>
                  <a:pt x="3627" y="3200"/>
                </a:lnTo>
                <a:lnTo>
                  <a:pt x="3627" y="3200"/>
                </a:lnTo>
                <a:lnTo>
                  <a:pt x="3607" y="3124"/>
                </a:lnTo>
                <a:lnTo>
                  <a:pt x="3586" y="3049"/>
                </a:lnTo>
                <a:lnTo>
                  <a:pt x="3568" y="2974"/>
                </a:lnTo>
                <a:lnTo>
                  <a:pt x="3550" y="2898"/>
                </a:lnTo>
                <a:lnTo>
                  <a:pt x="3534" y="2823"/>
                </a:lnTo>
                <a:lnTo>
                  <a:pt x="3521" y="2745"/>
                </a:lnTo>
                <a:lnTo>
                  <a:pt x="3515" y="2708"/>
                </a:lnTo>
                <a:lnTo>
                  <a:pt x="3510" y="2669"/>
                </a:lnTo>
                <a:lnTo>
                  <a:pt x="3506" y="2630"/>
                </a:lnTo>
                <a:lnTo>
                  <a:pt x="3502" y="2592"/>
                </a:lnTo>
                <a:lnTo>
                  <a:pt x="3502" y="2592"/>
                </a:lnTo>
                <a:lnTo>
                  <a:pt x="3501" y="2571"/>
                </a:lnTo>
                <a:lnTo>
                  <a:pt x="3501" y="2552"/>
                </a:lnTo>
                <a:lnTo>
                  <a:pt x="3502" y="2512"/>
                </a:lnTo>
                <a:lnTo>
                  <a:pt x="3505" y="2472"/>
                </a:lnTo>
                <a:lnTo>
                  <a:pt x="3509" y="2432"/>
                </a:lnTo>
                <a:lnTo>
                  <a:pt x="3509" y="2432"/>
                </a:lnTo>
                <a:lnTo>
                  <a:pt x="3511" y="2416"/>
                </a:lnTo>
                <a:lnTo>
                  <a:pt x="3514" y="2402"/>
                </a:lnTo>
                <a:lnTo>
                  <a:pt x="3518" y="2387"/>
                </a:lnTo>
                <a:lnTo>
                  <a:pt x="3522" y="2372"/>
                </a:lnTo>
                <a:lnTo>
                  <a:pt x="3528" y="2360"/>
                </a:lnTo>
                <a:lnTo>
                  <a:pt x="3535" y="2346"/>
                </a:lnTo>
                <a:lnTo>
                  <a:pt x="3542" y="2334"/>
                </a:lnTo>
                <a:lnTo>
                  <a:pt x="3551" y="2322"/>
                </a:lnTo>
                <a:lnTo>
                  <a:pt x="3559" y="2312"/>
                </a:lnTo>
                <a:lnTo>
                  <a:pt x="3569" y="2300"/>
                </a:lnTo>
                <a:lnTo>
                  <a:pt x="3579" y="2291"/>
                </a:lnTo>
                <a:lnTo>
                  <a:pt x="3591" y="2281"/>
                </a:lnTo>
                <a:lnTo>
                  <a:pt x="3603" y="2273"/>
                </a:lnTo>
                <a:lnTo>
                  <a:pt x="3616" y="2264"/>
                </a:lnTo>
                <a:lnTo>
                  <a:pt x="3629" y="2257"/>
                </a:lnTo>
                <a:lnTo>
                  <a:pt x="3643" y="2250"/>
                </a:lnTo>
                <a:lnTo>
                  <a:pt x="3643" y="2250"/>
                </a:lnTo>
                <a:lnTo>
                  <a:pt x="3686" y="2231"/>
                </a:lnTo>
                <a:lnTo>
                  <a:pt x="3730" y="2214"/>
                </a:lnTo>
                <a:lnTo>
                  <a:pt x="3819" y="2180"/>
                </a:lnTo>
                <a:lnTo>
                  <a:pt x="3819" y="2180"/>
                </a:lnTo>
                <a:lnTo>
                  <a:pt x="3837" y="2173"/>
                </a:lnTo>
                <a:lnTo>
                  <a:pt x="3854" y="2164"/>
                </a:lnTo>
                <a:lnTo>
                  <a:pt x="3871" y="2153"/>
                </a:lnTo>
                <a:lnTo>
                  <a:pt x="3886" y="2142"/>
                </a:lnTo>
                <a:lnTo>
                  <a:pt x="3901" y="2131"/>
                </a:lnTo>
                <a:lnTo>
                  <a:pt x="3915" y="2117"/>
                </a:lnTo>
                <a:lnTo>
                  <a:pt x="3928" y="2103"/>
                </a:lnTo>
                <a:lnTo>
                  <a:pt x="3942" y="2089"/>
                </a:lnTo>
                <a:lnTo>
                  <a:pt x="3942" y="2089"/>
                </a:lnTo>
                <a:lnTo>
                  <a:pt x="3946" y="2082"/>
                </a:lnTo>
                <a:lnTo>
                  <a:pt x="3952" y="2074"/>
                </a:lnTo>
                <a:lnTo>
                  <a:pt x="3955" y="2065"/>
                </a:lnTo>
                <a:lnTo>
                  <a:pt x="3960" y="2056"/>
                </a:lnTo>
                <a:lnTo>
                  <a:pt x="3962" y="2045"/>
                </a:lnTo>
                <a:lnTo>
                  <a:pt x="3964" y="2035"/>
                </a:lnTo>
                <a:lnTo>
                  <a:pt x="3968" y="2012"/>
                </a:lnTo>
                <a:lnTo>
                  <a:pt x="3968" y="1991"/>
                </a:lnTo>
                <a:lnTo>
                  <a:pt x="3965" y="1969"/>
                </a:lnTo>
                <a:lnTo>
                  <a:pt x="3964" y="1959"/>
                </a:lnTo>
                <a:lnTo>
                  <a:pt x="3961" y="1950"/>
                </a:lnTo>
                <a:lnTo>
                  <a:pt x="3959" y="1941"/>
                </a:lnTo>
                <a:lnTo>
                  <a:pt x="3954" y="1933"/>
                </a:lnTo>
                <a:lnTo>
                  <a:pt x="3954" y="1933"/>
                </a:lnTo>
                <a:lnTo>
                  <a:pt x="3945" y="1914"/>
                </a:lnTo>
                <a:lnTo>
                  <a:pt x="3937" y="1896"/>
                </a:lnTo>
                <a:lnTo>
                  <a:pt x="3930" y="1878"/>
                </a:lnTo>
                <a:lnTo>
                  <a:pt x="3924" y="1860"/>
                </a:lnTo>
                <a:lnTo>
                  <a:pt x="3920" y="1842"/>
                </a:lnTo>
                <a:lnTo>
                  <a:pt x="3915" y="1823"/>
                </a:lnTo>
                <a:lnTo>
                  <a:pt x="3912" y="1805"/>
                </a:lnTo>
                <a:lnTo>
                  <a:pt x="3910" y="1786"/>
                </a:lnTo>
                <a:lnTo>
                  <a:pt x="3906" y="1748"/>
                </a:lnTo>
                <a:lnTo>
                  <a:pt x="3904" y="1710"/>
                </a:lnTo>
                <a:lnTo>
                  <a:pt x="3903" y="1672"/>
                </a:lnTo>
                <a:lnTo>
                  <a:pt x="3903" y="1633"/>
                </a:lnTo>
                <a:lnTo>
                  <a:pt x="3903" y="1633"/>
                </a:lnTo>
                <a:lnTo>
                  <a:pt x="3904" y="1608"/>
                </a:lnTo>
                <a:lnTo>
                  <a:pt x="3905" y="1595"/>
                </a:lnTo>
                <a:lnTo>
                  <a:pt x="3907" y="1583"/>
                </a:lnTo>
                <a:lnTo>
                  <a:pt x="3910" y="1571"/>
                </a:lnTo>
                <a:lnTo>
                  <a:pt x="3913" y="1559"/>
                </a:lnTo>
                <a:lnTo>
                  <a:pt x="3918" y="1548"/>
                </a:lnTo>
                <a:lnTo>
                  <a:pt x="3922" y="1537"/>
                </a:lnTo>
                <a:lnTo>
                  <a:pt x="3928" y="1525"/>
                </a:lnTo>
                <a:lnTo>
                  <a:pt x="3935" y="1515"/>
                </a:lnTo>
                <a:lnTo>
                  <a:pt x="3942" y="1505"/>
                </a:lnTo>
                <a:lnTo>
                  <a:pt x="3948" y="1496"/>
                </a:lnTo>
                <a:lnTo>
                  <a:pt x="3957" y="1485"/>
                </a:lnTo>
                <a:lnTo>
                  <a:pt x="3965" y="1476"/>
                </a:lnTo>
                <a:lnTo>
                  <a:pt x="3976" y="1468"/>
                </a:lnTo>
                <a:lnTo>
                  <a:pt x="3986" y="1459"/>
                </a:lnTo>
                <a:lnTo>
                  <a:pt x="3986" y="1459"/>
                </a:lnTo>
                <a:lnTo>
                  <a:pt x="4001" y="1449"/>
                </a:lnTo>
                <a:lnTo>
                  <a:pt x="4016" y="1441"/>
                </a:lnTo>
                <a:lnTo>
                  <a:pt x="4030" y="1433"/>
                </a:lnTo>
                <a:lnTo>
                  <a:pt x="4045" y="1426"/>
                </a:lnTo>
                <a:lnTo>
                  <a:pt x="4060" y="1420"/>
                </a:lnTo>
                <a:lnTo>
                  <a:pt x="4076" y="1416"/>
                </a:lnTo>
                <a:lnTo>
                  <a:pt x="4091" y="1413"/>
                </a:lnTo>
                <a:lnTo>
                  <a:pt x="4107" y="1410"/>
                </a:lnTo>
                <a:lnTo>
                  <a:pt x="4123" y="1409"/>
                </a:lnTo>
                <a:lnTo>
                  <a:pt x="4139" y="1409"/>
                </a:lnTo>
                <a:lnTo>
                  <a:pt x="4155" y="1410"/>
                </a:lnTo>
                <a:lnTo>
                  <a:pt x="4171" y="1413"/>
                </a:lnTo>
                <a:lnTo>
                  <a:pt x="4186" y="1416"/>
                </a:lnTo>
                <a:lnTo>
                  <a:pt x="4202" y="1420"/>
                </a:lnTo>
                <a:lnTo>
                  <a:pt x="4218" y="1426"/>
                </a:lnTo>
                <a:lnTo>
                  <a:pt x="4234" y="1433"/>
                </a:lnTo>
                <a:lnTo>
                  <a:pt x="4234" y="1433"/>
                </a:lnTo>
                <a:lnTo>
                  <a:pt x="4250" y="1440"/>
                </a:lnTo>
                <a:lnTo>
                  <a:pt x="4264" y="1448"/>
                </a:lnTo>
                <a:lnTo>
                  <a:pt x="4278" y="1457"/>
                </a:lnTo>
                <a:lnTo>
                  <a:pt x="4290" y="1466"/>
                </a:lnTo>
                <a:lnTo>
                  <a:pt x="4302" y="1476"/>
                </a:lnTo>
                <a:lnTo>
                  <a:pt x="4312" y="1487"/>
                </a:lnTo>
                <a:lnTo>
                  <a:pt x="4321" y="1498"/>
                </a:lnTo>
                <a:lnTo>
                  <a:pt x="4330" y="1510"/>
                </a:lnTo>
                <a:lnTo>
                  <a:pt x="4337" y="1523"/>
                </a:lnTo>
                <a:lnTo>
                  <a:pt x="4344" y="1537"/>
                </a:lnTo>
                <a:lnTo>
                  <a:pt x="4349" y="1550"/>
                </a:lnTo>
                <a:lnTo>
                  <a:pt x="4354" y="1564"/>
                </a:lnTo>
                <a:lnTo>
                  <a:pt x="4357" y="1580"/>
                </a:lnTo>
                <a:lnTo>
                  <a:pt x="4360" y="1595"/>
                </a:lnTo>
                <a:lnTo>
                  <a:pt x="4362" y="1611"/>
                </a:lnTo>
                <a:lnTo>
                  <a:pt x="4363" y="1628"/>
                </a:lnTo>
                <a:lnTo>
                  <a:pt x="4363" y="1628"/>
                </a:lnTo>
                <a:lnTo>
                  <a:pt x="4363" y="1691"/>
                </a:lnTo>
                <a:lnTo>
                  <a:pt x="4362" y="1723"/>
                </a:lnTo>
                <a:lnTo>
                  <a:pt x="4360" y="1755"/>
                </a:lnTo>
                <a:lnTo>
                  <a:pt x="4356" y="1787"/>
                </a:lnTo>
                <a:lnTo>
                  <a:pt x="4351" y="1819"/>
                </a:lnTo>
                <a:lnTo>
                  <a:pt x="4344" y="1851"/>
                </a:lnTo>
                <a:lnTo>
                  <a:pt x="4335" y="1881"/>
                </a:lnTo>
                <a:lnTo>
                  <a:pt x="4335" y="1881"/>
                </a:lnTo>
                <a:lnTo>
                  <a:pt x="4330" y="1897"/>
                </a:lnTo>
                <a:lnTo>
                  <a:pt x="4327" y="1905"/>
                </a:lnTo>
                <a:lnTo>
                  <a:pt x="4322" y="1912"/>
                </a:lnTo>
                <a:lnTo>
                  <a:pt x="4322" y="1912"/>
                </a:lnTo>
                <a:lnTo>
                  <a:pt x="4316" y="1920"/>
                </a:lnTo>
                <a:lnTo>
                  <a:pt x="4312" y="1929"/>
                </a:lnTo>
                <a:lnTo>
                  <a:pt x="4308" y="1937"/>
                </a:lnTo>
                <a:lnTo>
                  <a:pt x="4305" y="1945"/>
                </a:lnTo>
                <a:lnTo>
                  <a:pt x="4300" y="1963"/>
                </a:lnTo>
                <a:lnTo>
                  <a:pt x="4298" y="1980"/>
                </a:lnTo>
                <a:lnTo>
                  <a:pt x="4298" y="1998"/>
                </a:lnTo>
                <a:lnTo>
                  <a:pt x="4299" y="2016"/>
                </a:lnTo>
                <a:lnTo>
                  <a:pt x="4303" y="2034"/>
                </a:lnTo>
                <a:lnTo>
                  <a:pt x="4307" y="2052"/>
                </a:lnTo>
                <a:lnTo>
                  <a:pt x="4307" y="2052"/>
                </a:lnTo>
                <a:lnTo>
                  <a:pt x="4313" y="2068"/>
                </a:lnTo>
                <a:lnTo>
                  <a:pt x="4321" y="2084"/>
                </a:lnTo>
                <a:lnTo>
                  <a:pt x="4330" y="2098"/>
                </a:lnTo>
                <a:lnTo>
                  <a:pt x="4341" y="2111"/>
                </a:lnTo>
                <a:lnTo>
                  <a:pt x="4354" y="2123"/>
                </a:lnTo>
                <a:lnTo>
                  <a:pt x="4368" y="2133"/>
                </a:lnTo>
                <a:lnTo>
                  <a:pt x="4381" y="2143"/>
                </a:lnTo>
                <a:lnTo>
                  <a:pt x="4396" y="2152"/>
                </a:lnTo>
                <a:lnTo>
                  <a:pt x="4396" y="2152"/>
                </a:lnTo>
                <a:lnTo>
                  <a:pt x="4412" y="2160"/>
                </a:lnTo>
                <a:lnTo>
                  <a:pt x="4429" y="2169"/>
                </a:lnTo>
                <a:lnTo>
                  <a:pt x="4464" y="2184"/>
                </a:lnTo>
                <a:lnTo>
                  <a:pt x="4499" y="2199"/>
                </a:lnTo>
                <a:lnTo>
                  <a:pt x="4535" y="2212"/>
                </a:lnTo>
                <a:lnTo>
                  <a:pt x="4535" y="2212"/>
                </a:lnTo>
                <a:lnTo>
                  <a:pt x="4581" y="2230"/>
                </a:lnTo>
                <a:lnTo>
                  <a:pt x="4602" y="2239"/>
                </a:lnTo>
                <a:lnTo>
                  <a:pt x="4624" y="2250"/>
                </a:lnTo>
                <a:lnTo>
                  <a:pt x="4646" y="2262"/>
                </a:lnTo>
                <a:lnTo>
                  <a:pt x="4665" y="2275"/>
                </a:lnTo>
                <a:lnTo>
                  <a:pt x="4684" y="2290"/>
                </a:lnTo>
                <a:lnTo>
                  <a:pt x="4703" y="2307"/>
                </a:lnTo>
                <a:lnTo>
                  <a:pt x="4703" y="2307"/>
                </a:lnTo>
                <a:lnTo>
                  <a:pt x="4712" y="2319"/>
                </a:lnTo>
                <a:lnTo>
                  <a:pt x="4721" y="2330"/>
                </a:lnTo>
                <a:lnTo>
                  <a:pt x="4728" y="2341"/>
                </a:lnTo>
                <a:lnTo>
                  <a:pt x="4734" y="2354"/>
                </a:lnTo>
                <a:lnTo>
                  <a:pt x="4741" y="2365"/>
                </a:lnTo>
                <a:lnTo>
                  <a:pt x="4746" y="2378"/>
                </a:lnTo>
                <a:lnTo>
                  <a:pt x="4750" y="2390"/>
                </a:lnTo>
                <a:lnTo>
                  <a:pt x="4754" y="2403"/>
                </a:lnTo>
                <a:lnTo>
                  <a:pt x="4759" y="2429"/>
                </a:lnTo>
                <a:lnTo>
                  <a:pt x="4763" y="2456"/>
                </a:lnTo>
                <a:lnTo>
                  <a:pt x="4764" y="2482"/>
                </a:lnTo>
                <a:lnTo>
                  <a:pt x="4764" y="2510"/>
                </a:lnTo>
                <a:lnTo>
                  <a:pt x="4764" y="2510"/>
                </a:lnTo>
                <a:lnTo>
                  <a:pt x="4761" y="2580"/>
                </a:lnTo>
                <a:lnTo>
                  <a:pt x="4755" y="2652"/>
                </a:lnTo>
                <a:lnTo>
                  <a:pt x="4750" y="2687"/>
                </a:lnTo>
                <a:lnTo>
                  <a:pt x="4746" y="2723"/>
                </a:lnTo>
                <a:lnTo>
                  <a:pt x="4740" y="2758"/>
                </a:lnTo>
                <a:lnTo>
                  <a:pt x="4734" y="2793"/>
                </a:lnTo>
                <a:lnTo>
                  <a:pt x="4734" y="2793"/>
                </a:lnTo>
                <a:lnTo>
                  <a:pt x="4725" y="2841"/>
                </a:lnTo>
                <a:lnTo>
                  <a:pt x="4715" y="2889"/>
                </a:lnTo>
                <a:lnTo>
                  <a:pt x="4692" y="2983"/>
                </a:lnTo>
                <a:lnTo>
                  <a:pt x="4668" y="3078"/>
                </a:lnTo>
                <a:lnTo>
                  <a:pt x="4647" y="3172"/>
                </a:lnTo>
                <a:lnTo>
                  <a:pt x="4647" y="3172"/>
                </a:lnTo>
                <a:lnTo>
                  <a:pt x="4642" y="3188"/>
                </a:lnTo>
                <a:lnTo>
                  <a:pt x="4638" y="3203"/>
                </a:lnTo>
                <a:lnTo>
                  <a:pt x="4632" y="3218"/>
                </a:lnTo>
                <a:lnTo>
                  <a:pt x="4625" y="3231"/>
                </a:lnTo>
                <a:lnTo>
                  <a:pt x="4617" y="3244"/>
                </a:lnTo>
                <a:lnTo>
                  <a:pt x="4609" y="3255"/>
                </a:lnTo>
                <a:lnTo>
                  <a:pt x="4600" y="3267"/>
                </a:lnTo>
                <a:lnTo>
                  <a:pt x="4590" y="3277"/>
                </a:lnTo>
                <a:lnTo>
                  <a:pt x="4579" y="3286"/>
                </a:lnTo>
                <a:lnTo>
                  <a:pt x="4568" y="3294"/>
                </a:lnTo>
                <a:lnTo>
                  <a:pt x="4556" y="3303"/>
                </a:lnTo>
                <a:lnTo>
                  <a:pt x="4543" y="3310"/>
                </a:lnTo>
                <a:lnTo>
                  <a:pt x="4529" y="3317"/>
                </a:lnTo>
                <a:lnTo>
                  <a:pt x="4516" y="3322"/>
                </a:lnTo>
                <a:lnTo>
                  <a:pt x="4501" y="3328"/>
                </a:lnTo>
                <a:lnTo>
                  <a:pt x="4485" y="3333"/>
                </a:lnTo>
                <a:lnTo>
                  <a:pt x="4485" y="3333"/>
                </a:lnTo>
                <a:lnTo>
                  <a:pt x="4459" y="3341"/>
                </a:lnTo>
                <a:lnTo>
                  <a:pt x="4459" y="3341"/>
                </a:lnTo>
                <a:lnTo>
                  <a:pt x="4479" y="3445"/>
                </a:lnTo>
                <a:lnTo>
                  <a:pt x="4489" y="3497"/>
                </a:lnTo>
                <a:lnTo>
                  <a:pt x="4497" y="3549"/>
                </a:lnTo>
                <a:lnTo>
                  <a:pt x="4497" y="3549"/>
                </a:lnTo>
                <a:lnTo>
                  <a:pt x="4504" y="3593"/>
                </a:lnTo>
                <a:lnTo>
                  <a:pt x="4509" y="3638"/>
                </a:lnTo>
                <a:lnTo>
                  <a:pt x="4512" y="3683"/>
                </a:lnTo>
                <a:lnTo>
                  <a:pt x="4516" y="3728"/>
                </a:lnTo>
                <a:lnTo>
                  <a:pt x="4517" y="3772"/>
                </a:lnTo>
                <a:lnTo>
                  <a:pt x="4517" y="3816"/>
                </a:lnTo>
                <a:lnTo>
                  <a:pt x="4516" y="3861"/>
                </a:lnTo>
                <a:lnTo>
                  <a:pt x="4513" y="3905"/>
                </a:lnTo>
                <a:lnTo>
                  <a:pt x="4510" y="3950"/>
                </a:lnTo>
                <a:lnTo>
                  <a:pt x="4505" y="3994"/>
                </a:lnTo>
                <a:lnTo>
                  <a:pt x="4500" y="4038"/>
                </a:lnTo>
                <a:lnTo>
                  <a:pt x="4493" y="4082"/>
                </a:lnTo>
                <a:lnTo>
                  <a:pt x="4484" y="4126"/>
                </a:lnTo>
                <a:lnTo>
                  <a:pt x="4475" y="4169"/>
                </a:lnTo>
                <a:lnTo>
                  <a:pt x="4463" y="4214"/>
                </a:lnTo>
                <a:lnTo>
                  <a:pt x="4451" y="4257"/>
                </a:lnTo>
                <a:lnTo>
                  <a:pt x="4451" y="4257"/>
                </a:lnTo>
                <a:lnTo>
                  <a:pt x="4443" y="4283"/>
                </a:lnTo>
                <a:lnTo>
                  <a:pt x="4437" y="4309"/>
                </a:lnTo>
                <a:lnTo>
                  <a:pt x="4430" y="4337"/>
                </a:lnTo>
                <a:lnTo>
                  <a:pt x="4426" y="4363"/>
                </a:lnTo>
                <a:lnTo>
                  <a:pt x="4421" y="4389"/>
                </a:lnTo>
                <a:lnTo>
                  <a:pt x="4418" y="4415"/>
                </a:lnTo>
                <a:lnTo>
                  <a:pt x="4415" y="4442"/>
                </a:lnTo>
                <a:lnTo>
                  <a:pt x="4413" y="4469"/>
                </a:lnTo>
                <a:lnTo>
                  <a:pt x="4411" y="4522"/>
                </a:lnTo>
                <a:lnTo>
                  <a:pt x="4411" y="4576"/>
                </a:lnTo>
                <a:lnTo>
                  <a:pt x="4414" y="4630"/>
                </a:lnTo>
                <a:lnTo>
                  <a:pt x="4419" y="4684"/>
                </a:lnTo>
                <a:lnTo>
                  <a:pt x="4419" y="4684"/>
                </a:lnTo>
                <a:lnTo>
                  <a:pt x="4422" y="4710"/>
                </a:lnTo>
                <a:lnTo>
                  <a:pt x="4423" y="4736"/>
                </a:lnTo>
                <a:lnTo>
                  <a:pt x="4425" y="4762"/>
                </a:lnTo>
                <a:lnTo>
                  <a:pt x="4425" y="4787"/>
                </a:lnTo>
                <a:lnTo>
                  <a:pt x="4423" y="4840"/>
                </a:lnTo>
                <a:lnTo>
                  <a:pt x="4420" y="4891"/>
                </a:lnTo>
                <a:lnTo>
                  <a:pt x="4415" y="4943"/>
                </a:lnTo>
                <a:lnTo>
                  <a:pt x="4409" y="4994"/>
                </a:lnTo>
                <a:lnTo>
                  <a:pt x="4401" y="5046"/>
                </a:lnTo>
                <a:lnTo>
                  <a:pt x="4393" y="5098"/>
                </a:lnTo>
                <a:lnTo>
                  <a:pt x="4393" y="5098"/>
                </a:lnTo>
                <a:lnTo>
                  <a:pt x="4373" y="5222"/>
                </a:lnTo>
                <a:lnTo>
                  <a:pt x="4355" y="5347"/>
                </a:lnTo>
                <a:lnTo>
                  <a:pt x="4338" y="5473"/>
                </a:lnTo>
                <a:lnTo>
                  <a:pt x="4323" y="5598"/>
                </a:lnTo>
                <a:lnTo>
                  <a:pt x="4323" y="5598"/>
                </a:lnTo>
                <a:lnTo>
                  <a:pt x="4322" y="5615"/>
                </a:lnTo>
                <a:lnTo>
                  <a:pt x="4321" y="5631"/>
                </a:lnTo>
                <a:lnTo>
                  <a:pt x="4322" y="5664"/>
                </a:lnTo>
                <a:lnTo>
                  <a:pt x="4325" y="5698"/>
                </a:lnTo>
                <a:lnTo>
                  <a:pt x="4329" y="5731"/>
                </a:lnTo>
                <a:lnTo>
                  <a:pt x="4329" y="5731"/>
                </a:lnTo>
                <a:lnTo>
                  <a:pt x="4331" y="5746"/>
                </a:lnTo>
                <a:lnTo>
                  <a:pt x="4335" y="5760"/>
                </a:lnTo>
                <a:lnTo>
                  <a:pt x="4338" y="5774"/>
                </a:lnTo>
                <a:lnTo>
                  <a:pt x="4343" y="5787"/>
                </a:lnTo>
                <a:lnTo>
                  <a:pt x="4348" y="5799"/>
                </a:lnTo>
                <a:lnTo>
                  <a:pt x="4355" y="5809"/>
                </a:lnTo>
                <a:lnTo>
                  <a:pt x="4362" y="5820"/>
                </a:lnTo>
                <a:lnTo>
                  <a:pt x="4371" y="5830"/>
                </a:lnTo>
                <a:lnTo>
                  <a:pt x="4380" y="5839"/>
                </a:lnTo>
                <a:lnTo>
                  <a:pt x="4389" y="5847"/>
                </a:lnTo>
                <a:lnTo>
                  <a:pt x="4401" y="5854"/>
                </a:lnTo>
                <a:lnTo>
                  <a:pt x="4413" y="5860"/>
                </a:lnTo>
                <a:lnTo>
                  <a:pt x="4426" y="5865"/>
                </a:lnTo>
                <a:lnTo>
                  <a:pt x="4439" y="5871"/>
                </a:lnTo>
                <a:lnTo>
                  <a:pt x="4454" y="5874"/>
                </a:lnTo>
                <a:lnTo>
                  <a:pt x="4470" y="5878"/>
                </a:lnTo>
                <a:lnTo>
                  <a:pt x="4470" y="5878"/>
                </a:lnTo>
                <a:lnTo>
                  <a:pt x="4527" y="5887"/>
                </a:lnTo>
                <a:lnTo>
                  <a:pt x="4584" y="5894"/>
                </a:lnTo>
                <a:lnTo>
                  <a:pt x="4641" y="5899"/>
                </a:lnTo>
                <a:lnTo>
                  <a:pt x="4698" y="5904"/>
                </a:lnTo>
                <a:lnTo>
                  <a:pt x="4698" y="5904"/>
                </a:lnTo>
                <a:lnTo>
                  <a:pt x="4723" y="5907"/>
                </a:lnTo>
                <a:lnTo>
                  <a:pt x="4747" y="5913"/>
                </a:lnTo>
                <a:lnTo>
                  <a:pt x="4758" y="5916"/>
                </a:lnTo>
                <a:lnTo>
                  <a:pt x="4769" y="5921"/>
                </a:lnTo>
                <a:lnTo>
                  <a:pt x="4779" y="5926"/>
                </a:lnTo>
                <a:lnTo>
                  <a:pt x="4788" y="5931"/>
                </a:lnTo>
                <a:lnTo>
                  <a:pt x="4798" y="5937"/>
                </a:lnTo>
                <a:lnTo>
                  <a:pt x="4806" y="5944"/>
                </a:lnTo>
                <a:lnTo>
                  <a:pt x="4815" y="5952"/>
                </a:lnTo>
                <a:lnTo>
                  <a:pt x="4823" y="5960"/>
                </a:lnTo>
                <a:lnTo>
                  <a:pt x="4830" y="5969"/>
                </a:lnTo>
                <a:lnTo>
                  <a:pt x="4837" y="5978"/>
                </a:lnTo>
                <a:lnTo>
                  <a:pt x="4844" y="5988"/>
                </a:lnTo>
                <a:lnTo>
                  <a:pt x="4849" y="6000"/>
                </a:lnTo>
                <a:lnTo>
                  <a:pt x="4849" y="6000"/>
                </a:lnTo>
                <a:lnTo>
                  <a:pt x="4859" y="6017"/>
                </a:lnTo>
                <a:lnTo>
                  <a:pt x="4869" y="6030"/>
                </a:lnTo>
                <a:lnTo>
                  <a:pt x="4875" y="6036"/>
                </a:lnTo>
                <a:lnTo>
                  <a:pt x="4880" y="6040"/>
                </a:lnTo>
                <a:lnTo>
                  <a:pt x="4887" y="6045"/>
                </a:lnTo>
                <a:lnTo>
                  <a:pt x="4894" y="6050"/>
                </a:lnTo>
                <a:lnTo>
                  <a:pt x="4908" y="6055"/>
                </a:lnTo>
                <a:lnTo>
                  <a:pt x="4925" y="6059"/>
                </a:lnTo>
                <a:lnTo>
                  <a:pt x="4942" y="6061"/>
                </a:lnTo>
                <a:lnTo>
                  <a:pt x="4961" y="6061"/>
                </a:lnTo>
                <a:lnTo>
                  <a:pt x="4961" y="6061"/>
                </a:lnTo>
                <a:lnTo>
                  <a:pt x="5001" y="6059"/>
                </a:lnTo>
                <a:lnTo>
                  <a:pt x="5042" y="6059"/>
                </a:lnTo>
                <a:lnTo>
                  <a:pt x="5122" y="6058"/>
                </a:lnTo>
                <a:lnTo>
                  <a:pt x="5203" y="6059"/>
                </a:lnTo>
                <a:lnTo>
                  <a:pt x="5282" y="6059"/>
                </a:lnTo>
                <a:lnTo>
                  <a:pt x="5282" y="6059"/>
                </a:lnTo>
                <a:lnTo>
                  <a:pt x="5294" y="6060"/>
                </a:lnTo>
                <a:lnTo>
                  <a:pt x="5298" y="6061"/>
                </a:lnTo>
                <a:lnTo>
                  <a:pt x="5303" y="6062"/>
                </a:lnTo>
                <a:lnTo>
                  <a:pt x="5306" y="6066"/>
                </a:lnTo>
                <a:lnTo>
                  <a:pt x="5310" y="6069"/>
                </a:lnTo>
                <a:lnTo>
                  <a:pt x="5313" y="6072"/>
                </a:lnTo>
                <a:lnTo>
                  <a:pt x="5317" y="6078"/>
                </a:lnTo>
                <a:lnTo>
                  <a:pt x="5317" y="6078"/>
                </a:lnTo>
                <a:lnTo>
                  <a:pt x="5642" y="6836"/>
                </a:lnTo>
                <a:lnTo>
                  <a:pt x="5642" y="6836"/>
                </a:lnTo>
                <a:lnTo>
                  <a:pt x="5645" y="6843"/>
                </a:lnTo>
                <a:lnTo>
                  <a:pt x="5647" y="6851"/>
                </a:lnTo>
                <a:lnTo>
                  <a:pt x="2619" y="685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90" name="TextBox 17"/>
          <p:cNvSpPr txBox="1">
            <a:spLocks noChangeArrowheads="1"/>
          </p:cNvSpPr>
          <p:nvPr userDrawn="1"/>
        </p:nvSpPr>
        <p:spPr bwMode="auto">
          <a:xfrm>
            <a:off x="1782252" y="5096617"/>
            <a:ext cx="101320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nvironment</a:t>
            </a:r>
          </a:p>
        </p:txBody>
      </p:sp>
      <p:sp>
        <p:nvSpPr>
          <p:cNvPr id="91" name="TextBox 17"/>
          <p:cNvSpPr txBox="1">
            <a:spLocks noChangeArrowheads="1"/>
          </p:cNvSpPr>
          <p:nvPr userDrawn="1"/>
        </p:nvSpPr>
        <p:spPr bwMode="auto">
          <a:xfrm>
            <a:off x="3217526" y="5096617"/>
            <a:ext cx="109625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scars</a:t>
            </a:r>
          </a:p>
        </p:txBody>
      </p:sp>
      <p:sp>
        <p:nvSpPr>
          <p:cNvPr id="92" name="TextBox 17"/>
          <p:cNvSpPr txBox="1">
            <a:spLocks noChangeArrowheads="1"/>
          </p:cNvSpPr>
          <p:nvPr userDrawn="1"/>
        </p:nvSpPr>
        <p:spPr bwMode="auto">
          <a:xfrm>
            <a:off x="4665507" y="5096617"/>
            <a:ext cx="120571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turn On Investment</a:t>
            </a:r>
          </a:p>
        </p:txBody>
      </p:sp>
      <p:sp>
        <p:nvSpPr>
          <p:cNvPr id="93" name="TextBox 17"/>
          <p:cNvSpPr txBox="1">
            <a:spLocks noChangeArrowheads="1"/>
          </p:cNvSpPr>
          <p:nvPr userDrawn="1"/>
        </p:nvSpPr>
        <p:spPr bwMode="auto">
          <a:xfrm>
            <a:off x="6201770" y="5096617"/>
            <a:ext cx="108720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ondon</a:t>
            </a:r>
            <a:endParaRPr lang="en-GB" altLang="en-US" sz="900" dirty="0">
              <a:solidFill>
                <a:schemeClr val="bg1"/>
              </a:solidFill>
            </a:endParaRPr>
          </a:p>
        </p:txBody>
      </p:sp>
      <p:sp>
        <p:nvSpPr>
          <p:cNvPr id="94" name="TextBox 17"/>
          <p:cNvSpPr txBox="1">
            <a:spLocks noChangeArrowheads="1"/>
          </p:cNvSpPr>
          <p:nvPr userDrawn="1"/>
        </p:nvSpPr>
        <p:spPr bwMode="auto">
          <a:xfrm>
            <a:off x="7691105" y="5096617"/>
            <a:ext cx="1073428"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dea</a:t>
            </a:r>
            <a:endParaRPr lang="en-GB" altLang="en-US" sz="900" dirty="0">
              <a:solidFill>
                <a:schemeClr val="bg1"/>
              </a:solidFill>
            </a:endParaRPr>
          </a:p>
        </p:txBody>
      </p:sp>
      <p:sp>
        <p:nvSpPr>
          <p:cNvPr id="95" name="TextBox 44"/>
          <p:cNvSpPr txBox="1">
            <a:spLocks noChangeArrowheads="1"/>
          </p:cNvSpPr>
          <p:nvPr userDrawn="1"/>
        </p:nvSpPr>
        <p:spPr bwMode="auto">
          <a:xfrm>
            <a:off x="10642171" y="5096617"/>
            <a:ext cx="1076794"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Ticket</a:t>
            </a:r>
          </a:p>
        </p:txBody>
      </p:sp>
      <p:sp>
        <p:nvSpPr>
          <p:cNvPr id="96" name="Freeform 425"/>
          <p:cNvSpPr>
            <a:spLocks noEditPoints="1"/>
          </p:cNvSpPr>
          <p:nvPr userDrawn="1"/>
        </p:nvSpPr>
        <p:spPr bwMode="auto">
          <a:xfrm>
            <a:off x="10614848" y="3994458"/>
            <a:ext cx="1080000" cy="1080000"/>
          </a:xfrm>
          <a:custGeom>
            <a:avLst/>
            <a:gdLst>
              <a:gd name="T0" fmla="*/ 338 w 726"/>
              <a:gd name="T1" fmla="*/ 456 h 726"/>
              <a:gd name="T2" fmla="*/ 398 w 726"/>
              <a:gd name="T3" fmla="*/ 456 h 726"/>
              <a:gd name="T4" fmla="*/ 280 w 726"/>
              <a:gd name="T5" fmla="*/ 268 h 726"/>
              <a:gd name="T6" fmla="*/ 324 w 726"/>
              <a:gd name="T7" fmla="*/ 344 h 726"/>
              <a:gd name="T8" fmla="*/ 334 w 726"/>
              <a:gd name="T9" fmla="*/ 308 h 726"/>
              <a:gd name="T10" fmla="*/ 322 w 726"/>
              <a:gd name="T11" fmla="*/ 272 h 726"/>
              <a:gd name="T12" fmla="*/ 298 w 726"/>
              <a:gd name="T13" fmla="*/ 280 h 726"/>
              <a:gd name="T14" fmla="*/ 316 w 726"/>
              <a:gd name="T15" fmla="*/ 290 h 726"/>
              <a:gd name="T16" fmla="*/ 316 w 726"/>
              <a:gd name="T17" fmla="*/ 330 h 726"/>
              <a:gd name="T18" fmla="*/ 402 w 726"/>
              <a:gd name="T19" fmla="*/ 268 h 726"/>
              <a:gd name="T20" fmla="*/ 348 w 726"/>
              <a:gd name="T21" fmla="*/ 350 h 726"/>
              <a:gd name="T22" fmla="*/ 396 w 726"/>
              <a:gd name="T23" fmla="*/ 350 h 726"/>
              <a:gd name="T24" fmla="*/ 232 w 726"/>
              <a:gd name="T25" fmla="*/ 392 h 726"/>
              <a:gd name="T26" fmla="*/ 204 w 726"/>
              <a:gd name="T27" fmla="*/ 430 h 726"/>
              <a:gd name="T28" fmla="*/ 232 w 726"/>
              <a:gd name="T29" fmla="*/ 392 h 726"/>
              <a:gd name="T30" fmla="*/ 276 w 726"/>
              <a:gd name="T31" fmla="*/ 382 h 726"/>
              <a:gd name="T32" fmla="*/ 268 w 726"/>
              <a:gd name="T33" fmla="*/ 416 h 726"/>
              <a:gd name="T34" fmla="*/ 280 w 726"/>
              <a:gd name="T35" fmla="*/ 454 h 726"/>
              <a:gd name="T36" fmla="*/ 312 w 726"/>
              <a:gd name="T37" fmla="*/ 454 h 726"/>
              <a:gd name="T38" fmla="*/ 324 w 726"/>
              <a:gd name="T39" fmla="*/ 416 h 726"/>
              <a:gd name="T40" fmla="*/ 318 w 726"/>
              <a:gd name="T41" fmla="*/ 382 h 726"/>
              <a:gd name="T42" fmla="*/ 296 w 726"/>
              <a:gd name="T43" fmla="*/ 446 h 726"/>
              <a:gd name="T44" fmla="*/ 286 w 726"/>
              <a:gd name="T45" fmla="*/ 416 h 726"/>
              <a:gd name="T46" fmla="*/ 296 w 726"/>
              <a:gd name="T47" fmla="*/ 386 h 726"/>
              <a:gd name="T48" fmla="*/ 308 w 726"/>
              <a:gd name="T49" fmla="*/ 416 h 726"/>
              <a:gd name="T50" fmla="*/ 250 w 726"/>
              <a:gd name="T51" fmla="*/ 268 h 726"/>
              <a:gd name="T52" fmla="*/ 250 w 726"/>
              <a:gd name="T53" fmla="*/ 332 h 726"/>
              <a:gd name="T54" fmla="*/ 238 w 726"/>
              <a:gd name="T55" fmla="*/ 284 h 726"/>
              <a:gd name="T56" fmla="*/ 504 w 726"/>
              <a:gd name="T57" fmla="*/ 376 h 726"/>
              <a:gd name="T58" fmla="*/ 504 w 726"/>
              <a:gd name="T59" fmla="*/ 422 h 726"/>
              <a:gd name="T60" fmla="*/ 364 w 726"/>
              <a:gd name="T61" fmla="*/ 0 h 726"/>
              <a:gd name="T62" fmla="*/ 222 w 726"/>
              <a:gd name="T63" fmla="*/ 28 h 726"/>
              <a:gd name="T64" fmla="*/ 84 w 726"/>
              <a:gd name="T65" fmla="*/ 132 h 726"/>
              <a:gd name="T66" fmla="*/ 8 w 726"/>
              <a:gd name="T67" fmla="*/ 290 h 726"/>
              <a:gd name="T68" fmla="*/ 8 w 726"/>
              <a:gd name="T69" fmla="*/ 436 h 726"/>
              <a:gd name="T70" fmla="*/ 84 w 726"/>
              <a:gd name="T71" fmla="*/ 594 h 726"/>
              <a:gd name="T72" fmla="*/ 222 w 726"/>
              <a:gd name="T73" fmla="*/ 698 h 726"/>
              <a:gd name="T74" fmla="*/ 364 w 726"/>
              <a:gd name="T75" fmla="*/ 726 h 726"/>
              <a:gd name="T76" fmla="*/ 536 w 726"/>
              <a:gd name="T77" fmla="*/ 682 h 726"/>
              <a:gd name="T78" fmla="*/ 664 w 726"/>
              <a:gd name="T79" fmla="*/ 566 h 726"/>
              <a:gd name="T80" fmla="*/ 724 w 726"/>
              <a:gd name="T81" fmla="*/ 400 h 726"/>
              <a:gd name="T82" fmla="*/ 710 w 726"/>
              <a:gd name="T83" fmla="*/ 254 h 726"/>
              <a:gd name="T84" fmla="*/ 620 w 726"/>
              <a:gd name="T85" fmla="*/ 106 h 726"/>
              <a:gd name="T86" fmla="*/ 472 w 726"/>
              <a:gd name="T87" fmla="*/ 16 h 726"/>
              <a:gd name="T88" fmla="*/ 602 w 726"/>
              <a:gd name="T89" fmla="*/ 460 h 726"/>
              <a:gd name="T90" fmla="*/ 552 w 726"/>
              <a:gd name="T91" fmla="*/ 486 h 726"/>
              <a:gd name="T92" fmla="*/ 184 w 726"/>
              <a:gd name="T93" fmla="*/ 518 h 726"/>
              <a:gd name="T94" fmla="*/ 158 w 726"/>
              <a:gd name="T95" fmla="*/ 470 h 726"/>
              <a:gd name="T96" fmla="*/ 126 w 726"/>
              <a:gd name="T97" fmla="*/ 266 h 726"/>
              <a:gd name="T98" fmla="*/ 174 w 726"/>
              <a:gd name="T99" fmla="*/ 240 h 726"/>
              <a:gd name="T100" fmla="*/ 542 w 726"/>
              <a:gd name="T101" fmla="*/ 208 h 726"/>
              <a:gd name="T102" fmla="*/ 568 w 726"/>
              <a:gd name="T103" fmla="*/ 256 h 726"/>
              <a:gd name="T104" fmla="*/ 442 w 726"/>
              <a:gd name="T105" fmla="*/ 350 h 726"/>
              <a:gd name="T106" fmla="*/ 430 w 726"/>
              <a:gd name="T107" fmla="*/ 420 h 726"/>
              <a:gd name="T108" fmla="*/ 456 w 726"/>
              <a:gd name="T109" fmla="*/ 388 h 726"/>
              <a:gd name="T110" fmla="*/ 458 w 726"/>
              <a:gd name="T111" fmla="*/ 444 h 726"/>
              <a:gd name="T112" fmla="*/ 502 w 726"/>
              <a:gd name="T113" fmla="*/ 282 h 726"/>
              <a:gd name="T114" fmla="*/ 486 w 726"/>
              <a:gd name="T115" fmla="*/ 282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82" y="430"/>
                </a:moveTo>
                <a:lnTo>
                  <a:pt x="382" y="430"/>
                </a:lnTo>
                <a:lnTo>
                  <a:pt x="360" y="374"/>
                </a:lnTo>
                <a:lnTo>
                  <a:pt x="338" y="374"/>
                </a:lnTo>
                <a:lnTo>
                  <a:pt x="338" y="456"/>
                </a:lnTo>
                <a:lnTo>
                  <a:pt x="354" y="456"/>
                </a:lnTo>
                <a:lnTo>
                  <a:pt x="354" y="396"/>
                </a:lnTo>
                <a:lnTo>
                  <a:pt x="376" y="456"/>
                </a:lnTo>
                <a:lnTo>
                  <a:pt x="398" y="456"/>
                </a:lnTo>
                <a:lnTo>
                  <a:pt x="398" y="374"/>
                </a:lnTo>
                <a:lnTo>
                  <a:pt x="382" y="374"/>
                </a:lnTo>
                <a:lnTo>
                  <a:pt x="382" y="430"/>
                </a:lnTo>
                <a:close/>
                <a:moveTo>
                  <a:pt x="308" y="268"/>
                </a:moveTo>
                <a:lnTo>
                  <a:pt x="280" y="268"/>
                </a:lnTo>
                <a:lnTo>
                  <a:pt x="280" y="350"/>
                </a:lnTo>
                <a:lnTo>
                  <a:pt x="308" y="350"/>
                </a:lnTo>
                <a:lnTo>
                  <a:pt x="318" y="348"/>
                </a:lnTo>
                <a:lnTo>
                  <a:pt x="324" y="344"/>
                </a:lnTo>
                <a:lnTo>
                  <a:pt x="330" y="340"/>
                </a:lnTo>
                <a:lnTo>
                  <a:pt x="332" y="334"/>
                </a:lnTo>
                <a:lnTo>
                  <a:pt x="334" y="320"/>
                </a:lnTo>
                <a:lnTo>
                  <a:pt x="334" y="308"/>
                </a:lnTo>
                <a:lnTo>
                  <a:pt x="334" y="292"/>
                </a:lnTo>
                <a:lnTo>
                  <a:pt x="332" y="284"/>
                </a:lnTo>
                <a:lnTo>
                  <a:pt x="330" y="280"/>
                </a:lnTo>
                <a:lnTo>
                  <a:pt x="326" y="274"/>
                </a:lnTo>
                <a:lnTo>
                  <a:pt x="322" y="272"/>
                </a:lnTo>
                <a:lnTo>
                  <a:pt x="316" y="270"/>
                </a:lnTo>
                <a:lnTo>
                  <a:pt x="308" y="268"/>
                </a:lnTo>
                <a:close/>
                <a:moveTo>
                  <a:pt x="306" y="336"/>
                </a:moveTo>
                <a:lnTo>
                  <a:pt x="298" y="336"/>
                </a:lnTo>
                <a:lnTo>
                  <a:pt x="298" y="280"/>
                </a:lnTo>
                <a:lnTo>
                  <a:pt x="306" y="280"/>
                </a:lnTo>
                <a:lnTo>
                  <a:pt x="310" y="282"/>
                </a:lnTo>
                <a:lnTo>
                  <a:pt x="312" y="284"/>
                </a:lnTo>
                <a:lnTo>
                  <a:pt x="316" y="290"/>
                </a:lnTo>
                <a:lnTo>
                  <a:pt x="318" y="298"/>
                </a:lnTo>
                <a:lnTo>
                  <a:pt x="318" y="308"/>
                </a:lnTo>
                <a:lnTo>
                  <a:pt x="318" y="322"/>
                </a:lnTo>
                <a:lnTo>
                  <a:pt x="316" y="330"/>
                </a:lnTo>
                <a:lnTo>
                  <a:pt x="312" y="336"/>
                </a:lnTo>
                <a:lnTo>
                  <a:pt x="306" y="336"/>
                </a:lnTo>
                <a:close/>
                <a:moveTo>
                  <a:pt x="428" y="350"/>
                </a:moveTo>
                <a:lnTo>
                  <a:pt x="428" y="268"/>
                </a:lnTo>
                <a:lnTo>
                  <a:pt x="402" y="268"/>
                </a:lnTo>
                <a:lnTo>
                  <a:pt x="388" y="324"/>
                </a:lnTo>
                <a:lnTo>
                  <a:pt x="376" y="268"/>
                </a:lnTo>
                <a:lnTo>
                  <a:pt x="348" y="268"/>
                </a:lnTo>
                <a:lnTo>
                  <a:pt x="348" y="350"/>
                </a:lnTo>
                <a:lnTo>
                  <a:pt x="364" y="350"/>
                </a:lnTo>
                <a:lnTo>
                  <a:pt x="364" y="286"/>
                </a:lnTo>
                <a:lnTo>
                  <a:pt x="380" y="350"/>
                </a:lnTo>
                <a:lnTo>
                  <a:pt x="396" y="350"/>
                </a:lnTo>
                <a:lnTo>
                  <a:pt x="412" y="286"/>
                </a:lnTo>
                <a:lnTo>
                  <a:pt x="412" y="350"/>
                </a:lnTo>
                <a:lnTo>
                  <a:pt x="428" y="350"/>
                </a:lnTo>
                <a:close/>
                <a:moveTo>
                  <a:pt x="232" y="392"/>
                </a:moveTo>
                <a:lnTo>
                  <a:pt x="222" y="376"/>
                </a:lnTo>
                <a:lnTo>
                  <a:pt x="212" y="392"/>
                </a:lnTo>
                <a:lnTo>
                  <a:pt x="192" y="396"/>
                </a:lnTo>
                <a:lnTo>
                  <a:pt x="206" y="412"/>
                </a:lnTo>
                <a:lnTo>
                  <a:pt x="204" y="430"/>
                </a:lnTo>
                <a:lnTo>
                  <a:pt x="222" y="422"/>
                </a:lnTo>
                <a:lnTo>
                  <a:pt x="240" y="430"/>
                </a:lnTo>
                <a:lnTo>
                  <a:pt x="238" y="410"/>
                </a:lnTo>
                <a:lnTo>
                  <a:pt x="250" y="396"/>
                </a:lnTo>
                <a:lnTo>
                  <a:pt x="232" y="392"/>
                </a:lnTo>
                <a:close/>
                <a:moveTo>
                  <a:pt x="296" y="374"/>
                </a:moveTo>
                <a:lnTo>
                  <a:pt x="296" y="374"/>
                </a:lnTo>
                <a:lnTo>
                  <a:pt x="288" y="374"/>
                </a:lnTo>
                <a:lnTo>
                  <a:pt x="280" y="378"/>
                </a:lnTo>
                <a:lnTo>
                  <a:pt x="276" y="382"/>
                </a:lnTo>
                <a:lnTo>
                  <a:pt x="272" y="386"/>
                </a:lnTo>
                <a:lnTo>
                  <a:pt x="270" y="392"/>
                </a:lnTo>
                <a:lnTo>
                  <a:pt x="270" y="400"/>
                </a:lnTo>
                <a:lnTo>
                  <a:pt x="268" y="416"/>
                </a:lnTo>
                <a:lnTo>
                  <a:pt x="270" y="430"/>
                </a:lnTo>
                <a:lnTo>
                  <a:pt x="270" y="438"/>
                </a:lnTo>
                <a:lnTo>
                  <a:pt x="272" y="444"/>
                </a:lnTo>
                <a:lnTo>
                  <a:pt x="276" y="450"/>
                </a:lnTo>
                <a:lnTo>
                  <a:pt x="280" y="454"/>
                </a:lnTo>
                <a:lnTo>
                  <a:pt x="288" y="456"/>
                </a:lnTo>
                <a:lnTo>
                  <a:pt x="296" y="458"/>
                </a:lnTo>
                <a:lnTo>
                  <a:pt x="306" y="456"/>
                </a:lnTo>
                <a:lnTo>
                  <a:pt x="312" y="454"/>
                </a:lnTo>
                <a:lnTo>
                  <a:pt x="318" y="450"/>
                </a:lnTo>
                <a:lnTo>
                  <a:pt x="322" y="444"/>
                </a:lnTo>
                <a:lnTo>
                  <a:pt x="324" y="438"/>
                </a:lnTo>
                <a:lnTo>
                  <a:pt x="324" y="430"/>
                </a:lnTo>
                <a:lnTo>
                  <a:pt x="324" y="416"/>
                </a:lnTo>
                <a:lnTo>
                  <a:pt x="324" y="400"/>
                </a:lnTo>
                <a:lnTo>
                  <a:pt x="324" y="392"/>
                </a:lnTo>
                <a:lnTo>
                  <a:pt x="322" y="386"/>
                </a:lnTo>
                <a:lnTo>
                  <a:pt x="318" y="382"/>
                </a:lnTo>
                <a:lnTo>
                  <a:pt x="312" y="378"/>
                </a:lnTo>
                <a:lnTo>
                  <a:pt x="306" y="374"/>
                </a:lnTo>
                <a:lnTo>
                  <a:pt x="296" y="374"/>
                </a:lnTo>
                <a:close/>
                <a:moveTo>
                  <a:pt x="296" y="446"/>
                </a:moveTo>
                <a:lnTo>
                  <a:pt x="296" y="446"/>
                </a:lnTo>
                <a:lnTo>
                  <a:pt x="290" y="444"/>
                </a:lnTo>
                <a:lnTo>
                  <a:pt x="288" y="438"/>
                </a:lnTo>
                <a:lnTo>
                  <a:pt x="286" y="428"/>
                </a:lnTo>
                <a:lnTo>
                  <a:pt x="286" y="416"/>
                </a:lnTo>
                <a:lnTo>
                  <a:pt x="286" y="402"/>
                </a:lnTo>
                <a:lnTo>
                  <a:pt x="288" y="392"/>
                </a:lnTo>
                <a:lnTo>
                  <a:pt x="290" y="388"/>
                </a:lnTo>
                <a:lnTo>
                  <a:pt x="296" y="386"/>
                </a:lnTo>
                <a:lnTo>
                  <a:pt x="302" y="388"/>
                </a:lnTo>
                <a:lnTo>
                  <a:pt x="306" y="392"/>
                </a:lnTo>
                <a:lnTo>
                  <a:pt x="308" y="402"/>
                </a:lnTo>
                <a:lnTo>
                  <a:pt x="308" y="416"/>
                </a:lnTo>
                <a:lnTo>
                  <a:pt x="308" y="428"/>
                </a:lnTo>
                <a:lnTo>
                  <a:pt x="306" y="438"/>
                </a:lnTo>
                <a:lnTo>
                  <a:pt x="302" y="444"/>
                </a:lnTo>
                <a:lnTo>
                  <a:pt x="296" y="446"/>
                </a:lnTo>
                <a:close/>
                <a:moveTo>
                  <a:pt x="250" y="268"/>
                </a:moveTo>
                <a:lnTo>
                  <a:pt x="228" y="268"/>
                </a:lnTo>
                <a:lnTo>
                  <a:pt x="206" y="350"/>
                </a:lnTo>
                <a:lnTo>
                  <a:pt x="222" y="350"/>
                </a:lnTo>
                <a:lnTo>
                  <a:pt x="226" y="332"/>
                </a:lnTo>
                <a:lnTo>
                  <a:pt x="250" y="332"/>
                </a:lnTo>
                <a:lnTo>
                  <a:pt x="254" y="350"/>
                </a:lnTo>
                <a:lnTo>
                  <a:pt x="272" y="350"/>
                </a:lnTo>
                <a:lnTo>
                  <a:pt x="250" y="268"/>
                </a:lnTo>
                <a:close/>
                <a:moveTo>
                  <a:pt x="230" y="320"/>
                </a:moveTo>
                <a:lnTo>
                  <a:pt x="238" y="284"/>
                </a:lnTo>
                <a:lnTo>
                  <a:pt x="246" y="320"/>
                </a:lnTo>
                <a:lnTo>
                  <a:pt x="230" y="320"/>
                </a:lnTo>
                <a:close/>
                <a:moveTo>
                  <a:pt x="514" y="392"/>
                </a:moveTo>
                <a:lnTo>
                  <a:pt x="504" y="376"/>
                </a:lnTo>
                <a:lnTo>
                  <a:pt x="496" y="392"/>
                </a:lnTo>
                <a:lnTo>
                  <a:pt x="476" y="396"/>
                </a:lnTo>
                <a:lnTo>
                  <a:pt x="490" y="412"/>
                </a:lnTo>
                <a:lnTo>
                  <a:pt x="486" y="430"/>
                </a:lnTo>
                <a:lnTo>
                  <a:pt x="504" y="422"/>
                </a:lnTo>
                <a:lnTo>
                  <a:pt x="522" y="430"/>
                </a:lnTo>
                <a:lnTo>
                  <a:pt x="520" y="410"/>
                </a:lnTo>
                <a:lnTo>
                  <a:pt x="534" y="396"/>
                </a:lnTo>
                <a:lnTo>
                  <a:pt x="514" y="39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602" y="460"/>
                </a:moveTo>
                <a:lnTo>
                  <a:pt x="602" y="460"/>
                </a:lnTo>
                <a:lnTo>
                  <a:pt x="590" y="462"/>
                </a:lnTo>
                <a:lnTo>
                  <a:pt x="578" y="464"/>
                </a:lnTo>
                <a:lnTo>
                  <a:pt x="568" y="470"/>
                </a:lnTo>
                <a:lnTo>
                  <a:pt x="560" y="478"/>
                </a:lnTo>
                <a:lnTo>
                  <a:pt x="552" y="486"/>
                </a:lnTo>
                <a:lnTo>
                  <a:pt x="548" y="496"/>
                </a:lnTo>
                <a:lnTo>
                  <a:pt x="544" y="506"/>
                </a:lnTo>
                <a:lnTo>
                  <a:pt x="542" y="518"/>
                </a:lnTo>
                <a:lnTo>
                  <a:pt x="184" y="518"/>
                </a:lnTo>
                <a:lnTo>
                  <a:pt x="184" y="506"/>
                </a:lnTo>
                <a:lnTo>
                  <a:pt x="180" y="496"/>
                </a:lnTo>
                <a:lnTo>
                  <a:pt x="174" y="486"/>
                </a:lnTo>
                <a:lnTo>
                  <a:pt x="168" y="478"/>
                </a:lnTo>
                <a:lnTo>
                  <a:pt x="158" y="470"/>
                </a:lnTo>
                <a:lnTo>
                  <a:pt x="148" y="464"/>
                </a:lnTo>
                <a:lnTo>
                  <a:pt x="138" y="462"/>
                </a:lnTo>
                <a:lnTo>
                  <a:pt x="126" y="460"/>
                </a:lnTo>
                <a:lnTo>
                  <a:pt x="126" y="266"/>
                </a:lnTo>
                <a:lnTo>
                  <a:pt x="138" y="264"/>
                </a:lnTo>
                <a:lnTo>
                  <a:pt x="148" y="262"/>
                </a:lnTo>
                <a:lnTo>
                  <a:pt x="158" y="256"/>
                </a:lnTo>
                <a:lnTo>
                  <a:pt x="168" y="248"/>
                </a:lnTo>
                <a:lnTo>
                  <a:pt x="174" y="240"/>
                </a:lnTo>
                <a:lnTo>
                  <a:pt x="180" y="230"/>
                </a:lnTo>
                <a:lnTo>
                  <a:pt x="184" y="218"/>
                </a:lnTo>
                <a:lnTo>
                  <a:pt x="184" y="208"/>
                </a:lnTo>
                <a:lnTo>
                  <a:pt x="542" y="208"/>
                </a:lnTo>
                <a:lnTo>
                  <a:pt x="544" y="218"/>
                </a:lnTo>
                <a:lnTo>
                  <a:pt x="546" y="230"/>
                </a:lnTo>
                <a:lnTo>
                  <a:pt x="552" y="240"/>
                </a:lnTo>
                <a:lnTo>
                  <a:pt x="560" y="248"/>
                </a:lnTo>
                <a:lnTo>
                  <a:pt x="568" y="256"/>
                </a:lnTo>
                <a:lnTo>
                  <a:pt x="578" y="262"/>
                </a:lnTo>
                <a:lnTo>
                  <a:pt x="590" y="264"/>
                </a:lnTo>
                <a:lnTo>
                  <a:pt x="602" y="266"/>
                </a:lnTo>
                <a:lnTo>
                  <a:pt x="602" y="460"/>
                </a:lnTo>
                <a:close/>
                <a:moveTo>
                  <a:pt x="442" y="350"/>
                </a:moveTo>
                <a:lnTo>
                  <a:pt x="458" y="350"/>
                </a:lnTo>
                <a:lnTo>
                  <a:pt x="458" y="268"/>
                </a:lnTo>
                <a:lnTo>
                  <a:pt x="442" y="268"/>
                </a:lnTo>
                <a:lnTo>
                  <a:pt x="442" y="350"/>
                </a:lnTo>
                <a:close/>
                <a:moveTo>
                  <a:pt x="430" y="420"/>
                </a:moveTo>
                <a:lnTo>
                  <a:pt x="454" y="420"/>
                </a:lnTo>
                <a:lnTo>
                  <a:pt x="454" y="408"/>
                </a:lnTo>
                <a:lnTo>
                  <a:pt x="430" y="408"/>
                </a:lnTo>
                <a:lnTo>
                  <a:pt x="430" y="388"/>
                </a:lnTo>
                <a:lnTo>
                  <a:pt x="456" y="388"/>
                </a:lnTo>
                <a:lnTo>
                  <a:pt x="456" y="374"/>
                </a:lnTo>
                <a:lnTo>
                  <a:pt x="412" y="374"/>
                </a:lnTo>
                <a:lnTo>
                  <a:pt x="412" y="456"/>
                </a:lnTo>
                <a:lnTo>
                  <a:pt x="458" y="456"/>
                </a:lnTo>
                <a:lnTo>
                  <a:pt x="458" y="444"/>
                </a:lnTo>
                <a:lnTo>
                  <a:pt x="430" y="444"/>
                </a:lnTo>
                <a:lnTo>
                  <a:pt x="430" y="420"/>
                </a:lnTo>
                <a:close/>
                <a:moveTo>
                  <a:pt x="486" y="350"/>
                </a:moveTo>
                <a:lnTo>
                  <a:pt x="502" y="350"/>
                </a:lnTo>
                <a:lnTo>
                  <a:pt x="502" y="282"/>
                </a:lnTo>
                <a:lnTo>
                  <a:pt x="522" y="282"/>
                </a:lnTo>
                <a:lnTo>
                  <a:pt x="522" y="268"/>
                </a:lnTo>
                <a:lnTo>
                  <a:pt x="466" y="268"/>
                </a:lnTo>
                <a:lnTo>
                  <a:pt x="466" y="282"/>
                </a:lnTo>
                <a:lnTo>
                  <a:pt x="486" y="282"/>
                </a:lnTo>
                <a:lnTo>
                  <a:pt x="486" y="35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7" name="TextBox 43"/>
          <p:cNvSpPr txBox="1">
            <a:spLocks noChangeArrowheads="1"/>
          </p:cNvSpPr>
          <p:nvPr userDrawn="1"/>
        </p:nvSpPr>
        <p:spPr bwMode="auto">
          <a:xfrm>
            <a:off x="9164126" y="5096617"/>
            <a:ext cx="107837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anced Booking</a:t>
            </a:r>
          </a:p>
        </p:txBody>
      </p:sp>
      <p:sp>
        <p:nvSpPr>
          <p:cNvPr id="98" name="Freeform 40"/>
          <p:cNvSpPr>
            <a:spLocks noEditPoints="1"/>
          </p:cNvSpPr>
          <p:nvPr userDrawn="1"/>
        </p:nvSpPr>
        <p:spPr bwMode="auto">
          <a:xfrm>
            <a:off x="9132115" y="3994458"/>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08 w 726"/>
              <a:gd name="T23" fmla="*/ 562 h 726"/>
              <a:gd name="T24" fmla="*/ 440 w 726"/>
              <a:gd name="T25" fmla="*/ 548 h 726"/>
              <a:gd name="T26" fmla="*/ 604 w 726"/>
              <a:gd name="T27" fmla="*/ 442 h 726"/>
              <a:gd name="T28" fmla="*/ 352 w 726"/>
              <a:gd name="T29" fmla="*/ 374 h 726"/>
              <a:gd name="T30" fmla="*/ 328 w 726"/>
              <a:gd name="T31" fmla="*/ 354 h 726"/>
              <a:gd name="T32" fmla="*/ 328 w 726"/>
              <a:gd name="T33" fmla="*/ 358 h 726"/>
              <a:gd name="T34" fmla="*/ 338 w 726"/>
              <a:gd name="T35" fmla="*/ 444 h 726"/>
              <a:gd name="T36" fmla="*/ 114 w 726"/>
              <a:gd name="T37" fmla="*/ 426 h 726"/>
              <a:gd name="T38" fmla="*/ 132 w 726"/>
              <a:gd name="T39" fmla="*/ 276 h 726"/>
              <a:gd name="T40" fmla="*/ 614 w 726"/>
              <a:gd name="T41" fmla="*/ 294 h 726"/>
              <a:gd name="T42" fmla="*/ 190 w 726"/>
              <a:gd name="T43" fmla="*/ 354 h 726"/>
              <a:gd name="T44" fmla="*/ 180 w 726"/>
              <a:gd name="T45" fmla="*/ 326 h 726"/>
              <a:gd name="T46" fmla="*/ 180 w 726"/>
              <a:gd name="T47" fmla="*/ 392 h 726"/>
              <a:gd name="T48" fmla="*/ 194 w 726"/>
              <a:gd name="T49" fmla="*/ 376 h 726"/>
              <a:gd name="T50" fmla="*/ 172 w 726"/>
              <a:gd name="T51" fmla="*/ 336 h 726"/>
              <a:gd name="T52" fmla="*/ 180 w 726"/>
              <a:gd name="T53" fmla="*/ 344 h 726"/>
              <a:gd name="T54" fmla="*/ 170 w 726"/>
              <a:gd name="T55" fmla="*/ 382 h 726"/>
              <a:gd name="T56" fmla="*/ 178 w 726"/>
              <a:gd name="T57" fmla="*/ 366 h 726"/>
              <a:gd name="T58" fmla="*/ 170 w 726"/>
              <a:gd name="T59" fmla="*/ 382 h 726"/>
              <a:gd name="T60" fmla="*/ 204 w 726"/>
              <a:gd name="T61" fmla="*/ 336 h 726"/>
              <a:gd name="T62" fmla="*/ 206 w 726"/>
              <a:gd name="T63" fmla="*/ 388 h 726"/>
              <a:gd name="T64" fmla="*/ 238 w 726"/>
              <a:gd name="T65" fmla="*/ 392 h 726"/>
              <a:gd name="T66" fmla="*/ 248 w 726"/>
              <a:gd name="T67" fmla="*/ 346 h 726"/>
              <a:gd name="T68" fmla="*/ 224 w 726"/>
              <a:gd name="T69" fmla="*/ 384 h 726"/>
              <a:gd name="T70" fmla="*/ 216 w 726"/>
              <a:gd name="T71" fmla="*/ 360 h 726"/>
              <a:gd name="T72" fmla="*/ 230 w 726"/>
              <a:gd name="T73" fmla="*/ 336 h 726"/>
              <a:gd name="T74" fmla="*/ 232 w 726"/>
              <a:gd name="T75" fmla="*/ 378 h 726"/>
              <a:gd name="T76" fmla="*/ 266 w 726"/>
              <a:gd name="T77" fmla="*/ 328 h 726"/>
              <a:gd name="T78" fmla="*/ 258 w 726"/>
              <a:gd name="T79" fmla="*/ 372 h 726"/>
              <a:gd name="T80" fmla="*/ 280 w 726"/>
              <a:gd name="T81" fmla="*/ 394 h 726"/>
              <a:gd name="T82" fmla="*/ 304 w 726"/>
              <a:gd name="T83" fmla="*/ 360 h 726"/>
              <a:gd name="T84" fmla="*/ 288 w 726"/>
              <a:gd name="T85" fmla="*/ 326 h 726"/>
              <a:gd name="T86" fmla="*/ 272 w 726"/>
              <a:gd name="T87" fmla="*/ 370 h 726"/>
              <a:gd name="T88" fmla="*/ 280 w 726"/>
              <a:gd name="T89" fmla="*/ 334 h 726"/>
              <a:gd name="T90" fmla="*/ 290 w 726"/>
              <a:gd name="T91" fmla="*/ 360 h 726"/>
              <a:gd name="T92" fmla="*/ 422 w 726"/>
              <a:gd name="T93" fmla="*/ 372 h 726"/>
              <a:gd name="T94" fmla="*/ 400 w 726"/>
              <a:gd name="T95" fmla="*/ 344 h 726"/>
              <a:gd name="T96" fmla="*/ 468 w 726"/>
              <a:gd name="T97" fmla="*/ 324 h 726"/>
              <a:gd name="T98" fmla="*/ 446 w 726"/>
              <a:gd name="T99" fmla="*/ 346 h 726"/>
              <a:gd name="T100" fmla="*/ 456 w 726"/>
              <a:gd name="T101" fmla="*/ 392 h 726"/>
              <a:gd name="T102" fmla="*/ 486 w 726"/>
              <a:gd name="T103" fmla="*/ 388 h 726"/>
              <a:gd name="T104" fmla="*/ 488 w 726"/>
              <a:gd name="T105" fmla="*/ 336 h 726"/>
              <a:gd name="T106" fmla="*/ 468 w 726"/>
              <a:gd name="T107" fmla="*/ 384 h 726"/>
              <a:gd name="T108" fmla="*/ 460 w 726"/>
              <a:gd name="T109" fmla="*/ 348 h 726"/>
              <a:gd name="T110" fmla="*/ 476 w 726"/>
              <a:gd name="T111" fmla="*/ 340 h 726"/>
              <a:gd name="T112" fmla="*/ 474 w 726"/>
              <a:gd name="T113" fmla="*/ 382 h 726"/>
              <a:gd name="T114" fmla="*/ 520 w 726"/>
              <a:gd name="T115" fmla="*/ 374 h 726"/>
              <a:gd name="T116" fmla="*/ 538 w 726"/>
              <a:gd name="T117" fmla="*/ 344 h 726"/>
              <a:gd name="T118" fmla="*/ 558 w 726"/>
              <a:gd name="T119" fmla="*/ 37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4" y="624"/>
                </a:moveTo>
                <a:lnTo>
                  <a:pt x="442" y="638"/>
                </a:lnTo>
                <a:lnTo>
                  <a:pt x="408" y="562"/>
                </a:lnTo>
                <a:lnTo>
                  <a:pt x="360" y="602"/>
                </a:lnTo>
                <a:lnTo>
                  <a:pt x="362" y="444"/>
                </a:lnTo>
                <a:lnTo>
                  <a:pt x="362" y="416"/>
                </a:lnTo>
                <a:lnTo>
                  <a:pt x="392" y="444"/>
                </a:lnTo>
                <a:lnTo>
                  <a:pt x="502" y="540"/>
                </a:lnTo>
                <a:lnTo>
                  <a:pt x="440" y="548"/>
                </a:lnTo>
                <a:lnTo>
                  <a:pt x="474" y="624"/>
                </a:lnTo>
                <a:close/>
                <a:moveTo>
                  <a:pt x="614" y="426"/>
                </a:moveTo>
                <a:lnTo>
                  <a:pt x="614" y="426"/>
                </a:lnTo>
                <a:lnTo>
                  <a:pt x="614" y="432"/>
                </a:lnTo>
                <a:lnTo>
                  <a:pt x="610" y="438"/>
                </a:lnTo>
                <a:lnTo>
                  <a:pt x="604" y="442"/>
                </a:lnTo>
                <a:lnTo>
                  <a:pt x="598" y="444"/>
                </a:lnTo>
                <a:lnTo>
                  <a:pt x="430" y="444"/>
                </a:lnTo>
                <a:lnTo>
                  <a:pt x="392" y="410"/>
                </a:lnTo>
                <a:lnTo>
                  <a:pt x="364" y="386"/>
                </a:lnTo>
                <a:lnTo>
                  <a:pt x="352" y="374"/>
                </a:lnTo>
                <a:lnTo>
                  <a:pt x="348" y="372"/>
                </a:lnTo>
                <a:lnTo>
                  <a:pt x="340" y="356"/>
                </a:lnTo>
                <a:lnTo>
                  <a:pt x="360" y="326"/>
                </a:lnTo>
                <a:lnTo>
                  <a:pt x="344" y="326"/>
                </a:lnTo>
                <a:lnTo>
                  <a:pt x="328" y="354"/>
                </a:lnTo>
                <a:lnTo>
                  <a:pt x="328" y="326"/>
                </a:lnTo>
                <a:lnTo>
                  <a:pt x="314" y="326"/>
                </a:lnTo>
                <a:lnTo>
                  <a:pt x="314" y="394"/>
                </a:lnTo>
                <a:lnTo>
                  <a:pt x="328" y="394"/>
                </a:lnTo>
                <a:lnTo>
                  <a:pt x="328" y="358"/>
                </a:lnTo>
                <a:lnTo>
                  <a:pt x="338" y="380"/>
                </a:lnTo>
                <a:lnTo>
                  <a:pt x="338" y="398"/>
                </a:lnTo>
                <a:lnTo>
                  <a:pt x="338" y="434"/>
                </a:lnTo>
                <a:lnTo>
                  <a:pt x="338" y="444"/>
                </a:lnTo>
                <a:lnTo>
                  <a:pt x="132" y="444"/>
                </a:lnTo>
                <a:lnTo>
                  <a:pt x="124" y="442"/>
                </a:lnTo>
                <a:lnTo>
                  <a:pt x="118" y="438"/>
                </a:lnTo>
                <a:lnTo>
                  <a:pt x="116" y="432"/>
                </a:lnTo>
                <a:lnTo>
                  <a:pt x="114" y="426"/>
                </a:lnTo>
                <a:lnTo>
                  <a:pt x="114" y="294"/>
                </a:lnTo>
                <a:lnTo>
                  <a:pt x="116" y="286"/>
                </a:lnTo>
                <a:lnTo>
                  <a:pt x="118" y="280"/>
                </a:lnTo>
                <a:lnTo>
                  <a:pt x="124" y="278"/>
                </a:lnTo>
                <a:lnTo>
                  <a:pt x="132" y="276"/>
                </a:lnTo>
                <a:lnTo>
                  <a:pt x="598" y="276"/>
                </a:lnTo>
                <a:lnTo>
                  <a:pt x="604" y="278"/>
                </a:lnTo>
                <a:lnTo>
                  <a:pt x="610" y="280"/>
                </a:lnTo>
                <a:lnTo>
                  <a:pt x="614" y="286"/>
                </a:lnTo>
                <a:lnTo>
                  <a:pt x="614" y="294"/>
                </a:lnTo>
                <a:lnTo>
                  <a:pt x="614" y="426"/>
                </a:lnTo>
                <a:close/>
                <a:moveTo>
                  <a:pt x="182" y="358"/>
                </a:moveTo>
                <a:lnTo>
                  <a:pt x="182" y="358"/>
                </a:lnTo>
                <a:lnTo>
                  <a:pt x="186" y="356"/>
                </a:lnTo>
                <a:lnTo>
                  <a:pt x="190" y="354"/>
                </a:lnTo>
                <a:lnTo>
                  <a:pt x="192" y="348"/>
                </a:lnTo>
                <a:lnTo>
                  <a:pt x="192" y="344"/>
                </a:lnTo>
                <a:lnTo>
                  <a:pt x="192" y="334"/>
                </a:lnTo>
                <a:lnTo>
                  <a:pt x="188" y="330"/>
                </a:lnTo>
                <a:lnTo>
                  <a:pt x="180" y="326"/>
                </a:lnTo>
                <a:lnTo>
                  <a:pt x="174" y="326"/>
                </a:lnTo>
                <a:lnTo>
                  <a:pt x="148" y="326"/>
                </a:lnTo>
                <a:lnTo>
                  <a:pt x="148" y="394"/>
                </a:lnTo>
                <a:lnTo>
                  <a:pt x="174" y="394"/>
                </a:lnTo>
                <a:lnTo>
                  <a:pt x="180" y="392"/>
                </a:lnTo>
                <a:lnTo>
                  <a:pt x="186" y="390"/>
                </a:lnTo>
                <a:lnTo>
                  <a:pt x="190" y="388"/>
                </a:lnTo>
                <a:lnTo>
                  <a:pt x="192" y="386"/>
                </a:lnTo>
                <a:lnTo>
                  <a:pt x="194" y="382"/>
                </a:lnTo>
                <a:lnTo>
                  <a:pt x="194" y="376"/>
                </a:lnTo>
                <a:lnTo>
                  <a:pt x="194" y="368"/>
                </a:lnTo>
                <a:lnTo>
                  <a:pt x="192" y="364"/>
                </a:lnTo>
                <a:lnTo>
                  <a:pt x="188" y="360"/>
                </a:lnTo>
                <a:lnTo>
                  <a:pt x="182" y="358"/>
                </a:lnTo>
                <a:close/>
                <a:moveTo>
                  <a:pt x="162" y="336"/>
                </a:moveTo>
                <a:lnTo>
                  <a:pt x="172" y="336"/>
                </a:lnTo>
                <a:lnTo>
                  <a:pt x="174" y="336"/>
                </a:lnTo>
                <a:lnTo>
                  <a:pt x="176" y="338"/>
                </a:lnTo>
                <a:lnTo>
                  <a:pt x="178" y="342"/>
                </a:lnTo>
                <a:lnTo>
                  <a:pt x="180" y="344"/>
                </a:lnTo>
                <a:lnTo>
                  <a:pt x="178" y="348"/>
                </a:lnTo>
                <a:lnTo>
                  <a:pt x="176" y="352"/>
                </a:lnTo>
                <a:lnTo>
                  <a:pt x="172" y="354"/>
                </a:lnTo>
                <a:lnTo>
                  <a:pt x="162" y="354"/>
                </a:lnTo>
                <a:lnTo>
                  <a:pt x="162" y="336"/>
                </a:lnTo>
                <a:close/>
                <a:moveTo>
                  <a:pt x="170" y="382"/>
                </a:moveTo>
                <a:lnTo>
                  <a:pt x="162" y="382"/>
                </a:lnTo>
                <a:lnTo>
                  <a:pt x="162" y="364"/>
                </a:lnTo>
                <a:lnTo>
                  <a:pt x="170" y="364"/>
                </a:lnTo>
                <a:lnTo>
                  <a:pt x="176" y="364"/>
                </a:lnTo>
                <a:lnTo>
                  <a:pt x="178" y="366"/>
                </a:lnTo>
                <a:lnTo>
                  <a:pt x="180" y="370"/>
                </a:lnTo>
                <a:lnTo>
                  <a:pt x="180" y="374"/>
                </a:lnTo>
                <a:lnTo>
                  <a:pt x="178" y="378"/>
                </a:lnTo>
                <a:lnTo>
                  <a:pt x="176" y="382"/>
                </a:lnTo>
                <a:lnTo>
                  <a:pt x="170" y="382"/>
                </a:lnTo>
                <a:close/>
                <a:moveTo>
                  <a:pt x="224" y="324"/>
                </a:moveTo>
                <a:lnTo>
                  <a:pt x="224" y="324"/>
                </a:lnTo>
                <a:lnTo>
                  <a:pt x="216" y="326"/>
                </a:lnTo>
                <a:lnTo>
                  <a:pt x="212" y="328"/>
                </a:lnTo>
                <a:lnTo>
                  <a:pt x="206" y="332"/>
                </a:lnTo>
                <a:lnTo>
                  <a:pt x="204" y="336"/>
                </a:lnTo>
                <a:lnTo>
                  <a:pt x="202" y="346"/>
                </a:lnTo>
                <a:lnTo>
                  <a:pt x="202" y="360"/>
                </a:lnTo>
                <a:lnTo>
                  <a:pt x="202" y="372"/>
                </a:lnTo>
                <a:lnTo>
                  <a:pt x="204" y="384"/>
                </a:lnTo>
                <a:lnTo>
                  <a:pt x="206" y="388"/>
                </a:lnTo>
                <a:lnTo>
                  <a:pt x="212" y="392"/>
                </a:lnTo>
                <a:lnTo>
                  <a:pt x="216" y="394"/>
                </a:lnTo>
                <a:lnTo>
                  <a:pt x="224" y="394"/>
                </a:lnTo>
                <a:lnTo>
                  <a:pt x="232" y="394"/>
                </a:lnTo>
                <a:lnTo>
                  <a:pt x="238" y="392"/>
                </a:lnTo>
                <a:lnTo>
                  <a:pt x="242" y="388"/>
                </a:lnTo>
                <a:lnTo>
                  <a:pt x="244" y="384"/>
                </a:lnTo>
                <a:lnTo>
                  <a:pt x="248" y="372"/>
                </a:lnTo>
                <a:lnTo>
                  <a:pt x="248" y="360"/>
                </a:lnTo>
                <a:lnTo>
                  <a:pt x="248" y="346"/>
                </a:lnTo>
                <a:lnTo>
                  <a:pt x="244" y="336"/>
                </a:lnTo>
                <a:lnTo>
                  <a:pt x="242" y="332"/>
                </a:lnTo>
                <a:lnTo>
                  <a:pt x="238" y="328"/>
                </a:lnTo>
                <a:lnTo>
                  <a:pt x="232" y="326"/>
                </a:lnTo>
                <a:lnTo>
                  <a:pt x="224" y="324"/>
                </a:lnTo>
                <a:close/>
                <a:moveTo>
                  <a:pt x="224" y="384"/>
                </a:moveTo>
                <a:lnTo>
                  <a:pt x="224" y="384"/>
                </a:lnTo>
                <a:lnTo>
                  <a:pt x="220" y="382"/>
                </a:lnTo>
                <a:lnTo>
                  <a:pt x="218" y="378"/>
                </a:lnTo>
                <a:lnTo>
                  <a:pt x="216" y="370"/>
                </a:lnTo>
                <a:lnTo>
                  <a:pt x="216" y="360"/>
                </a:lnTo>
                <a:lnTo>
                  <a:pt x="216" y="348"/>
                </a:lnTo>
                <a:lnTo>
                  <a:pt x="218" y="340"/>
                </a:lnTo>
                <a:lnTo>
                  <a:pt x="220" y="336"/>
                </a:lnTo>
                <a:lnTo>
                  <a:pt x="224" y="334"/>
                </a:lnTo>
                <a:lnTo>
                  <a:pt x="230" y="336"/>
                </a:lnTo>
                <a:lnTo>
                  <a:pt x="232" y="340"/>
                </a:lnTo>
                <a:lnTo>
                  <a:pt x="234" y="348"/>
                </a:lnTo>
                <a:lnTo>
                  <a:pt x="234" y="360"/>
                </a:lnTo>
                <a:lnTo>
                  <a:pt x="234" y="370"/>
                </a:lnTo>
                <a:lnTo>
                  <a:pt x="232" y="378"/>
                </a:lnTo>
                <a:lnTo>
                  <a:pt x="230" y="382"/>
                </a:lnTo>
                <a:lnTo>
                  <a:pt x="224" y="384"/>
                </a:lnTo>
                <a:close/>
                <a:moveTo>
                  <a:pt x="280" y="324"/>
                </a:moveTo>
                <a:lnTo>
                  <a:pt x="280" y="324"/>
                </a:lnTo>
                <a:lnTo>
                  <a:pt x="272" y="326"/>
                </a:lnTo>
                <a:lnTo>
                  <a:pt x="266" y="328"/>
                </a:lnTo>
                <a:lnTo>
                  <a:pt x="262" y="332"/>
                </a:lnTo>
                <a:lnTo>
                  <a:pt x="260" y="336"/>
                </a:lnTo>
                <a:lnTo>
                  <a:pt x="258" y="346"/>
                </a:lnTo>
                <a:lnTo>
                  <a:pt x="256" y="360"/>
                </a:lnTo>
                <a:lnTo>
                  <a:pt x="258" y="372"/>
                </a:lnTo>
                <a:lnTo>
                  <a:pt x="260" y="384"/>
                </a:lnTo>
                <a:lnTo>
                  <a:pt x="262" y="388"/>
                </a:lnTo>
                <a:lnTo>
                  <a:pt x="266" y="392"/>
                </a:lnTo>
                <a:lnTo>
                  <a:pt x="272" y="394"/>
                </a:lnTo>
                <a:lnTo>
                  <a:pt x="280" y="394"/>
                </a:lnTo>
                <a:lnTo>
                  <a:pt x="288" y="394"/>
                </a:lnTo>
                <a:lnTo>
                  <a:pt x="294" y="392"/>
                </a:lnTo>
                <a:lnTo>
                  <a:pt x="298" y="388"/>
                </a:lnTo>
                <a:lnTo>
                  <a:pt x="300" y="384"/>
                </a:lnTo>
                <a:lnTo>
                  <a:pt x="302" y="372"/>
                </a:lnTo>
                <a:lnTo>
                  <a:pt x="304" y="360"/>
                </a:lnTo>
                <a:lnTo>
                  <a:pt x="302" y="346"/>
                </a:lnTo>
                <a:lnTo>
                  <a:pt x="300" y="336"/>
                </a:lnTo>
                <a:lnTo>
                  <a:pt x="298" y="332"/>
                </a:lnTo>
                <a:lnTo>
                  <a:pt x="294" y="328"/>
                </a:lnTo>
                <a:lnTo>
                  <a:pt x="288" y="326"/>
                </a:lnTo>
                <a:lnTo>
                  <a:pt x="280" y="324"/>
                </a:lnTo>
                <a:close/>
                <a:moveTo>
                  <a:pt x="280" y="384"/>
                </a:moveTo>
                <a:lnTo>
                  <a:pt x="280" y="384"/>
                </a:lnTo>
                <a:lnTo>
                  <a:pt x="276" y="382"/>
                </a:lnTo>
                <a:lnTo>
                  <a:pt x="272" y="378"/>
                </a:lnTo>
                <a:lnTo>
                  <a:pt x="272" y="370"/>
                </a:lnTo>
                <a:lnTo>
                  <a:pt x="272" y="360"/>
                </a:lnTo>
                <a:lnTo>
                  <a:pt x="272" y="348"/>
                </a:lnTo>
                <a:lnTo>
                  <a:pt x="272" y="340"/>
                </a:lnTo>
                <a:lnTo>
                  <a:pt x="276" y="336"/>
                </a:lnTo>
                <a:lnTo>
                  <a:pt x="280" y="334"/>
                </a:lnTo>
                <a:lnTo>
                  <a:pt x="284" y="336"/>
                </a:lnTo>
                <a:lnTo>
                  <a:pt x="288" y="340"/>
                </a:lnTo>
                <a:lnTo>
                  <a:pt x="288" y="348"/>
                </a:lnTo>
                <a:lnTo>
                  <a:pt x="290" y="360"/>
                </a:lnTo>
                <a:lnTo>
                  <a:pt x="288" y="370"/>
                </a:lnTo>
                <a:lnTo>
                  <a:pt x="288" y="378"/>
                </a:lnTo>
                <a:lnTo>
                  <a:pt x="284" y="382"/>
                </a:lnTo>
                <a:lnTo>
                  <a:pt x="280" y="384"/>
                </a:lnTo>
                <a:close/>
                <a:moveTo>
                  <a:pt x="422" y="372"/>
                </a:moveTo>
                <a:lnTo>
                  <a:pt x="422" y="372"/>
                </a:lnTo>
                <a:lnTo>
                  <a:pt x="404" y="326"/>
                </a:lnTo>
                <a:lnTo>
                  <a:pt x="386" y="326"/>
                </a:lnTo>
                <a:lnTo>
                  <a:pt x="386" y="394"/>
                </a:lnTo>
                <a:lnTo>
                  <a:pt x="398" y="394"/>
                </a:lnTo>
                <a:lnTo>
                  <a:pt x="398" y="344"/>
                </a:lnTo>
                <a:lnTo>
                  <a:pt x="400" y="344"/>
                </a:lnTo>
                <a:lnTo>
                  <a:pt x="418" y="394"/>
                </a:lnTo>
                <a:lnTo>
                  <a:pt x="436" y="394"/>
                </a:lnTo>
                <a:lnTo>
                  <a:pt x="436" y="326"/>
                </a:lnTo>
                <a:lnTo>
                  <a:pt x="422" y="326"/>
                </a:lnTo>
                <a:lnTo>
                  <a:pt x="422" y="372"/>
                </a:lnTo>
                <a:close/>
                <a:moveTo>
                  <a:pt x="468" y="324"/>
                </a:moveTo>
                <a:lnTo>
                  <a:pt x="468" y="324"/>
                </a:lnTo>
                <a:lnTo>
                  <a:pt x="460" y="326"/>
                </a:lnTo>
                <a:lnTo>
                  <a:pt x="456" y="328"/>
                </a:lnTo>
                <a:lnTo>
                  <a:pt x="450" y="332"/>
                </a:lnTo>
                <a:lnTo>
                  <a:pt x="448" y="336"/>
                </a:lnTo>
                <a:lnTo>
                  <a:pt x="446" y="346"/>
                </a:lnTo>
                <a:lnTo>
                  <a:pt x="446" y="360"/>
                </a:lnTo>
                <a:lnTo>
                  <a:pt x="446" y="372"/>
                </a:lnTo>
                <a:lnTo>
                  <a:pt x="448" y="384"/>
                </a:lnTo>
                <a:lnTo>
                  <a:pt x="450" y="388"/>
                </a:lnTo>
                <a:lnTo>
                  <a:pt x="456" y="392"/>
                </a:lnTo>
                <a:lnTo>
                  <a:pt x="460" y="394"/>
                </a:lnTo>
                <a:lnTo>
                  <a:pt x="468" y="394"/>
                </a:lnTo>
                <a:lnTo>
                  <a:pt x="476" y="394"/>
                </a:lnTo>
                <a:lnTo>
                  <a:pt x="482" y="392"/>
                </a:lnTo>
                <a:lnTo>
                  <a:pt x="486" y="388"/>
                </a:lnTo>
                <a:lnTo>
                  <a:pt x="488" y="384"/>
                </a:lnTo>
                <a:lnTo>
                  <a:pt x="492" y="372"/>
                </a:lnTo>
                <a:lnTo>
                  <a:pt x="492" y="360"/>
                </a:lnTo>
                <a:lnTo>
                  <a:pt x="492" y="346"/>
                </a:lnTo>
                <a:lnTo>
                  <a:pt x="488" y="336"/>
                </a:lnTo>
                <a:lnTo>
                  <a:pt x="486" y="332"/>
                </a:lnTo>
                <a:lnTo>
                  <a:pt x="482" y="328"/>
                </a:lnTo>
                <a:lnTo>
                  <a:pt x="476" y="326"/>
                </a:lnTo>
                <a:lnTo>
                  <a:pt x="468" y="324"/>
                </a:lnTo>
                <a:close/>
                <a:moveTo>
                  <a:pt x="468" y="384"/>
                </a:moveTo>
                <a:lnTo>
                  <a:pt x="468" y="384"/>
                </a:lnTo>
                <a:lnTo>
                  <a:pt x="464" y="382"/>
                </a:lnTo>
                <a:lnTo>
                  <a:pt x="462" y="378"/>
                </a:lnTo>
                <a:lnTo>
                  <a:pt x="460" y="370"/>
                </a:lnTo>
                <a:lnTo>
                  <a:pt x="460" y="360"/>
                </a:lnTo>
                <a:lnTo>
                  <a:pt x="460" y="348"/>
                </a:lnTo>
                <a:lnTo>
                  <a:pt x="462" y="340"/>
                </a:lnTo>
                <a:lnTo>
                  <a:pt x="464" y="336"/>
                </a:lnTo>
                <a:lnTo>
                  <a:pt x="468" y="334"/>
                </a:lnTo>
                <a:lnTo>
                  <a:pt x="474" y="336"/>
                </a:lnTo>
                <a:lnTo>
                  <a:pt x="476" y="340"/>
                </a:lnTo>
                <a:lnTo>
                  <a:pt x="478" y="348"/>
                </a:lnTo>
                <a:lnTo>
                  <a:pt x="478" y="360"/>
                </a:lnTo>
                <a:lnTo>
                  <a:pt x="478" y="370"/>
                </a:lnTo>
                <a:lnTo>
                  <a:pt x="476" y="378"/>
                </a:lnTo>
                <a:lnTo>
                  <a:pt x="474" y="382"/>
                </a:lnTo>
                <a:lnTo>
                  <a:pt x="468" y="384"/>
                </a:lnTo>
                <a:close/>
                <a:moveTo>
                  <a:pt x="558" y="374"/>
                </a:moveTo>
                <a:lnTo>
                  <a:pt x="558" y="374"/>
                </a:lnTo>
                <a:lnTo>
                  <a:pt x="548" y="326"/>
                </a:lnTo>
                <a:lnTo>
                  <a:pt x="532" y="326"/>
                </a:lnTo>
                <a:lnTo>
                  <a:pt x="520" y="374"/>
                </a:lnTo>
                <a:lnTo>
                  <a:pt x="512" y="326"/>
                </a:lnTo>
                <a:lnTo>
                  <a:pt x="496" y="326"/>
                </a:lnTo>
                <a:lnTo>
                  <a:pt x="512" y="394"/>
                </a:lnTo>
                <a:lnTo>
                  <a:pt x="528" y="394"/>
                </a:lnTo>
                <a:lnTo>
                  <a:pt x="538" y="344"/>
                </a:lnTo>
                <a:lnTo>
                  <a:pt x="540" y="344"/>
                </a:lnTo>
                <a:lnTo>
                  <a:pt x="550" y="394"/>
                </a:lnTo>
                <a:lnTo>
                  <a:pt x="566" y="394"/>
                </a:lnTo>
                <a:lnTo>
                  <a:pt x="580" y="326"/>
                </a:lnTo>
                <a:lnTo>
                  <a:pt x="566" y="326"/>
                </a:lnTo>
                <a:lnTo>
                  <a:pt x="558"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9" name="TextBox 98"/>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MISCELLANEOUS</a:t>
            </a:r>
          </a:p>
        </p:txBody>
      </p:sp>
    </p:spTree>
    <p:extLst>
      <p:ext uri="{BB962C8B-B14F-4D97-AF65-F5344CB8AC3E}">
        <p14:creationId xmlns:p14="http://schemas.microsoft.com/office/powerpoint/2010/main" val="368111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31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0" y="-1"/>
            <a:ext cx="13442950" cy="7069864"/>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01138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71888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741169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27202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22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78498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11239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22259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94637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151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vmlDrawing" Target="../drawings/vmlDrawing73.v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theme" Target="../theme/theme10.xml"/><Relationship Id="rId17" Type="http://schemas.openxmlformats.org/officeDocument/2006/relationships/image" Target="../media/image2.png"/><Relationship Id="rId2" Type="http://schemas.openxmlformats.org/officeDocument/2006/relationships/slideLayout" Target="../slideLayouts/slideLayout91.xml"/><Relationship Id="rId16" Type="http://schemas.openxmlformats.org/officeDocument/2006/relationships/image" Target="../media/image1.emf"/><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5" Type="http://schemas.openxmlformats.org/officeDocument/2006/relationships/oleObject" Target="../embeddings/oleObject73.bin"/><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tags" Target="../tags/tag74.xml"/></Relationships>
</file>

<file path=ppt/slideMasters/_rels/slideMaster11.xml.rels><?xml version="1.0" encoding="UTF-8" standalone="yes"?>
<Relationships xmlns="http://schemas.openxmlformats.org/package/2006/relationships"><Relationship Id="rId3" Type="http://schemas.openxmlformats.org/officeDocument/2006/relationships/vmlDrawing" Target="../drawings/vmlDrawing74.vml"/><Relationship Id="rId7" Type="http://schemas.openxmlformats.org/officeDocument/2006/relationships/image" Target="../media/image2.png"/><Relationship Id="rId2" Type="http://schemas.openxmlformats.org/officeDocument/2006/relationships/theme" Target="../theme/theme11.xml"/><Relationship Id="rId1" Type="http://schemas.openxmlformats.org/officeDocument/2006/relationships/slideLayout" Target="../slideLayouts/slideLayout101.xml"/><Relationship Id="rId6" Type="http://schemas.openxmlformats.org/officeDocument/2006/relationships/image" Target="../media/image1.emf"/><Relationship Id="rId5" Type="http://schemas.openxmlformats.org/officeDocument/2006/relationships/oleObject" Target="../embeddings/oleObject74.bin"/><Relationship Id="rId4" Type="http://schemas.openxmlformats.org/officeDocument/2006/relationships/tags" Target="../tags/tag75.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vmlDrawing" Target="../drawings/vmlDrawing76.vml"/><Relationship Id="rId3" Type="http://schemas.openxmlformats.org/officeDocument/2006/relationships/slideLayout" Target="../slideLayouts/slideLayout104.xml"/><Relationship Id="rId7" Type="http://schemas.openxmlformats.org/officeDocument/2006/relationships/slideLayout" Target="../slideLayouts/slideLayout108.xml"/><Relationship Id="rId12" Type="http://schemas.openxmlformats.org/officeDocument/2006/relationships/theme" Target="../theme/theme12.xml"/><Relationship Id="rId17" Type="http://schemas.openxmlformats.org/officeDocument/2006/relationships/image" Target="../media/image2.png"/><Relationship Id="rId2" Type="http://schemas.openxmlformats.org/officeDocument/2006/relationships/slideLayout" Target="../slideLayouts/slideLayout103.xml"/><Relationship Id="rId16" Type="http://schemas.openxmlformats.org/officeDocument/2006/relationships/image" Target="../media/image1.emf"/><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5" Type="http://schemas.openxmlformats.org/officeDocument/2006/relationships/slideLayout" Target="../slideLayouts/slideLayout106.xml"/><Relationship Id="rId15" Type="http://schemas.openxmlformats.org/officeDocument/2006/relationships/oleObject" Target="../embeddings/oleObject76.bin"/><Relationship Id="rId10" Type="http://schemas.openxmlformats.org/officeDocument/2006/relationships/slideLayout" Target="../slideLayouts/slideLayout111.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tags" Target="../tags/tag77.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26" Type="http://schemas.openxmlformats.org/officeDocument/2006/relationships/oleObject" Target="../embeddings/oleObject87.bin"/><Relationship Id="rId3" Type="http://schemas.openxmlformats.org/officeDocument/2006/relationships/slideLayout" Target="../slideLayouts/slideLayout115.xml"/><Relationship Id="rId21" Type="http://schemas.openxmlformats.org/officeDocument/2006/relationships/slideLayout" Target="../slideLayouts/slideLayout133.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5" Type="http://schemas.openxmlformats.org/officeDocument/2006/relationships/tags" Target="../tags/tag88.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0" Type="http://schemas.openxmlformats.org/officeDocument/2006/relationships/slideLayout" Target="../slideLayouts/slideLayout132.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24" Type="http://schemas.openxmlformats.org/officeDocument/2006/relationships/vmlDrawing" Target="../drawings/vmlDrawing87.v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23" Type="http://schemas.openxmlformats.org/officeDocument/2006/relationships/theme" Target="../theme/theme13.xml"/><Relationship Id="rId28" Type="http://schemas.openxmlformats.org/officeDocument/2006/relationships/image" Target="../media/image2.png"/><Relationship Id="rId10" Type="http://schemas.openxmlformats.org/officeDocument/2006/relationships/slideLayout" Target="../slideLayouts/slideLayout122.xml"/><Relationship Id="rId19" Type="http://schemas.openxmlformats.org/officeDocument/2006/relationships/slideLayout" Target="../slideLayouts/slideLayout131.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 Id="rId22" Type="http://schemas.openxmlformats.org/officeDocument/2006/relationships/slideLayout" Target="../slideLayouts/slideLayout134.xml"/><Relationship Id="rId27" Type="http://schemas.openxmlformats.org/officeDocument/2006/relationships/image" Target="../media/image1.emf"/></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slideLayout" Target="../slideLayouts/slideLayout147.xml"/><Relationship Id="rId18" Type="http://schemas.openxmlformats.org/officeDocument/2006/relationships/slideLayout" Target="../slideLayouts/slideLayout152.xml"/><Relationship Id="rId3" Type="http://schemas.openxmlformats.org/officeDocument/2006/relationships/slideLayout" Target="../slideLayouts/slideLayout137.xml"/><Relationship Id="rId21" Type="http://schemas.openxmlformats.org/officeDocument/2006/relationships/tags" Target="../tags/tag103.xml"/><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slideLayout" Target="../slideLayouts/slideLayout151.xml"/><Relationship Id="rId2" Type="http://schemas.openxmlformats.org/officeDocument/2006/relationships/slideLayout" Target="../slideLayouts/slideLayout136.xml"/><Relationship Id="rId16" Type="http://schemas.openxmlformats.org/officeDocument/2006/relationships/slideLayout" Target="../slideLayouts/slideLayout150.xml"/><Relationship Id="rId20" Type="http://schemas.openxmlformats.org/officeDocument/2006/relationships/vmlDrawing" Target="../drawings/vmlDrawing102.v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24" Type="http://schemas.openxmlformats.org/officeDocument/2006/relationships/image" Target="../media/image2.png"/><Relationship Id="rId5" Type="http://schemas.openxmlformats.org/officeDocument/2006/relationships/slideLayout" Target="../slideLayouts/slideLayout139.xml"/><Relationship Id="rId15" Type="http://schemas.openxmlformats.org/officeDocument/2006/relationships/slideLayout" Target="../slideLayouts/slideLayout149.xml"/><Relationship Id="rId23" Type="http://schemas.openxmlformats.org/officeDocument/2006/relationships/image" Target="../media/image1.emf"/><Relationship Id="rId10" Type="http://schemas.openxmlformats.org/officeDocument/2006/relationships/slideLayout" Target="../slideLayouts/slideLayout144.xml"/><Relationship Id="rId19" Type="http://schemas.openxmlformats.org/officeDocument/2006/relationships/theme" Target="../theme/theme14.xml"/><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slideLayout" Target="../slideLayouts/slideLayout148.xml"/><Relationship Id="rId22" Type="http://schemas.openxmlformats.org/officeDocument/2006/relationships/oleObject" Target="../embeddings/oleObject102.bin"/></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slideLayout" Target="../slideLayouts/slideLayout165.xml"/><Relationship Id="rId18" Type="http://schemas.openxmlformats.org/officeDocument/2006/relationships/slideLayout" Target="../slideLayouts/slideLayout170.xml"/><Relationship Id="rId26" Type="http://schemas.openxmlformats.org/officeDocument/2006/relationships/image" Target="../media/image1.emf"/><Relationship Id="rId3" Type="http://schemas.openxmlformats.org/officeDocument/2006/relationships/slideLayout" Target="../slideLayouts/slideLayout155.xml"/><Relationship Id="rId21" Type="http://schemas.openxmlformats.org/officeDocument/2006/relationships/slideLayout" Target="../slideLayouts/slideLayout173.xml"/><Relationship Id="rId7" Type="http://schemas.openxmlformats.org/officeDocument/2006/relationships/slideLayout" Target="../slideLayouts/slideLayout159.xml"/><Relationship Id="rId12" Type="http://schemas.openxmlformats.org/officeDocument/2006/relationships/slideLayout" Target="../slideLayouts/slideLayout164.xml"/><Relationship Id="rId17" Type="http://schemas.openxmlformats.org/officeDocument/2006/relationships/slideLayout" Target="../slideLayouts/slideLayout169.xml"/><Relationship Id="rId25" Type="http://schemas.openxmlformats.org/officeDocument/2006/relationships/oleObject" Target="../embeddings/oleObject121.bin"/><Relationship Id="rId2" Type="http://schemas.openxmlformats.org/officeDocument/2006/relationships/slideLayout" Target="../slideLayouts/slideLayout154.xml"/><Relationship Id="rId16" Type="http://schemas.openxmlformats.org/officeDocument/2006/relationships/slideLayout" Target="../slideLayouts/slideLayout168.xml"/><Relationship Id="rId20" Type="http://schemas.openxmlformats.org/officeDocument/2006/relationships/slideLayout" Target="../slideLayouts/slideLayout172.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slideLayout" Target="../slideLayouts/slideLayout163.xml"/><Relationship Id="rId24" Type="http://schemas.openxmlformats.org/officeDocument/2006/relationships/tags" Target="../tags/tag122.xml"/><Relationship Id="rId5" Type="http://schemas.openxmlformats.org/officeDocument/2006/relationships/slideLayout" Target="../slideLayouts/slideLayout157.xml"/><Relationship Id="rId15" Type="http://schemas.openxmlformats.org/officeDocument/2006/relationships/slideLayout" Target="../slideLayouts/slideLayout167.xml"/><Relationship Id="rId23" Type="http://schemas.openxmlformats.org/officeDocument/2006/relationships/vmlDrawing" Target="../drawings/vmlDrawing121.vml"/><Relationship Id="rId10" Type="http://schemas.openxmlformats.org/officeDocument/2006/relationships/slideLayout" Target="../slideLayouts/slideLayout162.xml"/><Relationship Id="rId19" Type="http://schemas.openxmlformats.org/officeDocument/2006/relationships/slideLayout" Target="../slideLayouts/slideLayout171.xml"/><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slideLayout" Target="../slideLayouts/slideLayout166.xml"/><Relationship Id="rId22" Type="http://schemas.openxmlformats.org/officeDocument/2006/relationships/theme" Target="../theme/theme15.xml"/><Relationship Id="rId27" Type="http://schemas.openxmlformats.org/officeDocument/2006/relationships/image" Target="../media/image2.pn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81.xml"/><Relationship Id="rId13" Type="http://schemas.openxmlformats.org/officeDocument/2006/relationships/slideLayout" Target="../slideLayouts/slideLayout186.xml"/><Relationship Id="rId18" Type="http://schemas.openxmlformats.org/officeDocument/2006/relationships/theme" Target="../theme/theme16.xml"/><Relationship Id="rId3" Type="http://schemas.openxmlformats.org/officeDocument/2006/relationships/slideLayout" Target="../slideLayouts/slideLayout176.xml"/><Relationship Id="rId21" Type="http://schemas.openxmlformats.org/officeDocument/2006/relationships/oleObject" Target="../embeddings/oleObject135.bin"/><Relationship Id="rId7" Type="http://schemas.openxmlformats.org/officeDocument/2006/relationships/slideLayout" Target="../slideLayouts/slideLayout180.xml"/><Relationship Id="rId12" Type="http://schemas.openxmlformats.org/officeDocument/2006/relationships/slideLayout" Target="../slideLayouts/slideLayout185.xml"/><Relationship Id="rId17" Type="http://schemas.openxmlformats.org/officeDocument/2006/relationships/slideLayout" Target="../slideLayouts/slideLayout190.xml"/><Relationship Id="rId2" Type="http://schemas.openxmlformats.org/officeDocument/2006/relationships/slideLayout" Target="../slideLayouts/slideLayout175.xml"/><Relationship Id="rId16" Type="http://schemas.openxmlformats.org/officeDocument/2006/relationships/slideLayout" Target="../slideLayouts/slideLayout189.xml"/><Relationship Id="rId20" Type="http://schemas.openxmlformats.org/officeDocument/2006/relationships/tags" Target="../tags/tag136.xml"/><Relationship Id="rId1" Type="http://schemas.openxmlformats.org/officeDocument/2006/relationships/slideLayout" Target="../slideLayouts/slideLayout174.xml"/><Relationship Id="rId6" Type="http://schemas.openxmlformats.org/officeDocument/2006/relationships/slideLayout" Target="../slideLayouts/slideLayout179.xml"/><Relationship Id="rId11" Type="http://schemas.openxmlformats.org/officeDocument/2006/relationships/slideLayout" Target="../slideLayouts/slideLayout184.xml"/><Relationship Id="rId24" Type="http://schemas.openxmlformats.org/officeDocument/2006/relationships/image" Target="../media/image7.png"/><Relationship Id="rId5" Type="http://schemas.openxmlformats.org/officeDocument/2006/relationships/slideLayout" Target="../slideLayouts/slideLayout178.xml"/><Relationship Id="rId15" Type="http://schemas.openxmlformats.org/officeDocument/2006/relationships/slideLayout" Target="../slideLayouts/slideLayout188.xml"/><Relationship Id="rId23" Type="http://schemas.openxmlformats.org/officeDocument/2006/relationships/image" Target="../media/image6.emf"/><Relationship Id="rId10" Type="http://schemas.openxmlformats.org/officeDocument/2006/relationships/slideLayout" Target="../slideLayouts/slideLayout183.xml"/><Relationship Id="rId19" Type="http://schemas.openxmlformats.org/officeDocument/2006/relationships/vmlDrawing" Target="../drawings/vmlDrawing135.vml"/><Relationship Id="rId4" Type="http://schemas.openxmlformats.org/officeDocument/2006/relationships/slideLayout" Target="../slideLayouts/slideLayout177.xml"/><Relationship Id="rId9" Type="http://schemas.openxmlformats.org/officeDocument/2006/relationships/slideLayout" Target="../slideLayouts/slideLayout182.xml"/><Relationship Id="rId14" Type="http://schemas.openxmlformats.org/officeDocument/2006/relationships/slideLayout" Target="../slideLayouts/slideLayout187.xml"/><Relationship Id="rId22" Type="http://schemas.openxmlformats.org/officeDocument/2006/relationships/image" Target="../media/image1.emf"/></Relationships>
</file>

<file path=ppt/slideMasters/_rels/slideMaster17.xml.rels><?xml version="1.0" encoding="UTF-8" standalone="yes"?>
<Relationships xmlns="http://schemas.openxmlformats.org/package/2006/relationships"><Relationship Id="rId3" Type="http://schemas.openxmlformats.org/officeDocument/2006/relationships/vmlDrawing" Target="../drawings/vmlDrawing153.vml"/><Relationship Id="rId7" Type="http://schemas.openxmlformats.org/officeDocument/2006/relationships/image" Target="../media/image2.png"/><Relationship Id="rId2" Type="http://schemas.openxmlformats.org/officeDocument/2006/relationships/theme" Target="../theme/theme17.xml"/><Relationship Id="rId1" Type="http://schemas.openxmlformats.org/officeDocument/2006/relationships/slideLayout" Target="../slideLayouts/slideLayout191.xml"/><Relationship Id="rId6" Type="http://schemas.openxmlformats.org/officeDocument/2006/relationships/image" Target="../media/image1.emf"/><Relationship Id="rId5" Type="http://schemas.openxmlformats.org/officeDocument/2006/relationships/oleObject" Target="../embeddings/oleObject153.bin"/><Relationship Id="rId4" Type="http://schemas.openxmlformats.org/officeDocument/2006/relationships/tags" Target="../tags/tag154.xml"/></Relationships>
</file>

<file path=ppt/slideMasters/_rels/slideMaster18.xml.rels><?xml version="1.0" encoding="UTF-8" standalone="yes"?>
<Relationships xmlns="http://schemas.openxmlformats.org/package/2006/relationships"><Relationship Id="rId13" Type="http://schemas.openxmlformats.org/officeDocument/2006/relationships/slideLayout" Target="../slideLayouts/slideLayout204.xml"/><Relationship Id="rId18" Type="http://schemas.openxmlformats.org/officeDocument/2006/relationships/slideLayout" Target="../slideLayouts/slideLayout209.xml"/><Relationship Id="rId26" Type="http://schemas.openxmlformats.org/officeDocument/2006/relationships/slideLayout" Target="../slideLayouts/slideLayout217.xml"/><Relationship Id="rId3" Type="http://schemas.openxmlformats.org/officeDocument/2006/relationships/slideLayout" Target="../slideLayouts/slideLayout194.xml"/><Relationship Id="rId21" Type="http://schemas.openxmlformats.org/officeDocument/2006/relationships/slideLayout" Target="../slideLayouts/slideLayout212.xml"/><Relationship Id="rId34" Type="http://schemas.openxmlformats.org/officeDocument/2006/relationships/image" Target="../media/image1.emf"/><Relationship Id="rId7" Type="http://schemas.openxmlformats.org/officeDocument/2006/relationships/slideLayout" Target="../slideLayouts/slideLayout198.xml"/><Relationship Id="rId12" Type="http://schemas.openxmlformats.org/officeDocument/2006/relationships/slideLayout" Target="../slideLayouts/slideLayout203.xml"/><Relationship Id="rId17" Type="http://schemas.openxmlformats.org/officeDocument/2006/relationships/slideLayout" Target="../slideLayouts/slideLayout208.xml"/><Relationship Id="rId25" Type="http://schemas.openxmlformats.org/officeDocument/2006/relationships/slideLayout" Target="../slideLayouts/slideLayout216.xml"/><Relationship Id="rId33" Type="http://schemas.openxmlformats.org/officeDocument/2006/relationships/oleObject" Target="../embeddings/oleObject155.bin"/><Relationship Id="rId2" Type="http://schemas.openxmlformats.org/officeDocument/2006/relationships/slideLayout" Target="../slideLayouts/slideLayout193.xml"/><Relationship Id="rId16" Type="http://schemas.openxmlformats.org/officeDocument/2006/relationships/slideLayout" Target="../slideLayouts/slideLayout207.xml"/><Relationship Id="rId20" Type="http://schemas.openxmlformats.org/officeDocument/2006/relationships/slideLayout" Target="../slideLayouts/slideLayout211.xml"/><Relationship Id="rId29" Type="http://schemas.openxmlformats.org/officeDocument/2006/relationships/slideLayout" Target="../slideLayouts/slideLayout220.xml"/><Relationship Id="rId1" Type="http://schemas.openxmlformats.org/officeDocument/2006/relationships/slideLayout" Target="../slideLayouts/slideLayout192.xml"/><Relationship Id="rId6" Type="http://schemas.openxmlformats.org/officeDocument/2006/relationships/slideLayout" Target="../slideLayouts/slideLayout197.xml"/><Relationship Id="rId11" Type="http://schemas.openxmlformats.org/officeDocument/2006/relationships/slideLayout" Target="../slideLayouts/slideLayout202.xml"/><Relationship Id="rId24" Type="http://schemas.openxmlformats.org/officeDocument/2006/relationships/slideLayout" Target="../slideLayouts/slideLayout215.xml"/><Relationship Id="rId32" Type="http://schemas.openxmlformats.org/officeDocument/2006/relationships/tags" Target="../tags/tag156.xml"/><Relationship Id="rId5" Type="http://schemas.openxmlformats.org/officeDocument/2006/relationships/slideLayout" Target="../slideLayouts/slideLayout196.xml"/><Relationship Id="rId15" Type="http://schemas.openxmlformats.org/officeDocument/2006/relationships/slideLayout" Target="../slideLayouts/slideLayout206.xml"/><Relationship Id="rId23" Type="http://schemas.openxmlformats.org/officeDocument/2006/relationships/slideLayout" Target="../slideLayouts/slideLayout214.xml"/><Relationship Id="rId28" Type="http://schemas.openxmlformats.org/officeDocument/2006/relationships/slideLayout" Target="../slideLayouts/slideLayout219.xml"/><Relationship Id="rId10" Type="http://schemas.openxmlformats.org/officeDocument/2006/relationships/slideLayout" Target="../slideLayouts/slideLayout201.xml"/><Relationship Id="rId19" Type="http://schemas.openxmlformats.org/officeDocument/2006/relationships/slideLayout" Target="../slideLayouts/slideLayout210.xml"/><Relationship Id="rId31" Type="http://schemas.openxmlformats.org/officeDocument/2006/relationships/vmlDrawing" Target="../drawings/vmlDrawing155.vml"/><Relationship Id="rId4" Type="http://schemas.openxmlformats.org/officeDocument/2006/relationships/slideLayout" Target="../slideLayouts/slideLayout195.xml"/><Relationship Id="rId9" Type="http://schemas.openxmlformats.org/officeDocument/2006/relationships/slideLayout" Target="../slideLayouts/slideLayout200.xml"/><Relationship Id="rId14" Type="http://schemas.openxmlformats.org/officeDocument/2006/relationships/slideLayout" Target="../slideLayouts/slideLayout205.xml"/><Relationship Id="rId22" Type="http://schemas.openxmlformats.org/officeDocument/2006/relationships/slideLayout" Target="../slideLayouts/slideLayout213.xml"/><Relationship Id="rId27" Type="http://schemas.openxmlformats.org/officeDocument/2006/relationships/slideLayout" Target="../slideLayouts/slideLayout218.xml"/><Relationship Id="rId30" Type="http://schemas.openxmlformats.org/officeDocument/2006/relationships/theme" Target="../theme/theme18.xml"/><Relationship Id="rId35" Type="http://schemas.openxmlformats.org/officeDocument/2006/relationships/image" Target="../media/image2.png"/><Relationship Id="rId8" Type="http://schemas.openxmlformats.org/officeDocument/2006/relationships/slideLayout" Target="../slideLayouts/slideLayout199.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28.xml"/><Relationship Id="rId13" Type="http://schemas.openxmlformats.org/officeDocument/2006/relationships/slideLayout" Target="../slideLayouts/slideLayout233.xml"/><Relationship Id="rId18" Type="http://schemas.openxmlformats.org/officeDocument/2006/relationships/slideLayout" Target="../slideLayouts/slideLayout238.xml"/><Relationship Id="rId26" Type="http://schemas.openxmlformats.org/officeDocument/2006/relationships/tags" Target="../tags/tag177.xml"/><Relationship Id="rId3" Type="http://schemas.openxmlformats.org/officeDocument/2006/relationships/slideLayout" Target="../slideLayouts/slideLayout223.xml"/><Relationship Id="rId21" Type="http://schemas.openxmlformats.org/officeDocument/2006/relationships/slideLayout" Target="../slideLayouts/slideLayout241.xml"/><Relationship Id="rId7" Type="http://schemas.openxmlformats.org/officeDocument/2006/relationships/slideLayout" Target="../slideLayouts/slideLayout227.xml"/><Relationship Id="rId12" Type="http://schemas.openxmlformats.org/officeDocument/2006/relationships/slideLayout" Target="../slideLayouts/slideLayout232.xml"/><Relationship Id="rId17" Type="http://schemas.openxmlformats.org/officeDocument/2006/relationships/slideLayout" Target="../slideLayouts/slideLayout237.xml"/><Relationship Id="rId25" Type="http://schemas.openxmlformats.org/officeDocument/2006/relationships/vmlDrawing" Target="../drawings/vmlDrawing176.vml"/><Relationship Id="rId2" Type="http://schemas.openxmlformats.org/officeDocument/2006/relationships/slideLayout" Target="../slideLayouts/slideLayout222.xml"/><Relationship Id="rId16" Type="http://schemas.openxmlformats.org/officeDocument/2006/relationships/slideLayout" Target="../slideLayouts/slideLayout236.xml"/><Relationship Id="rId20" Type="http://schemas.openxmlformats.org/officeDocument/2006/relationships/slideLayout" Target="../slideLayouts/slideLayout240.xml"/><Relationship Id="rId29" Type="http://schemas.openxmlformats.org/officeDocument/2006/relationships/image" Target="../media/image2.png"/><Relationship Id="rId1" Type="http://schemas.openxmlformats.org/officeDocument/2006/relationships/slideLayout" Target="../slideLayouts/slideLayout221.xml"/><Relationship Id="rId6" Type="http://schemas.openxmlformats.org/officeDocument/2006/relationships/slideLayout" Target="../slideLayouts/slideLayout226.xml"/><Relationship Id="rId11" Type="http://schemas.openxmlformats.org/officeDocument/2006/relationships/slideLayout" Target="../slideLayouts/slideLayout231.xml"/><Relationship Id="rId24" Type="http://schemas.openxmlformats.org/officeDocument/2006/relationships/theme" Target="../theme/theme19.xml"/><Relationship Id="rId5" Type="http://schemas.openxmlformats.org/officeDocument/2006/relationships/slideLayout" Target="../slideLayouts/slideLayout225.xml"/><Relationship Id="rId15" Type="http://schemas.openxmlformats.org/officeDocument/2006/relationships/slideLayout" Target="../slideLayouts/slideLayout235.xml"/><Relationship Id="rId23" Type="http://schemas.openxmlformats.org/officeDocument/2006/relationships/slideLayout" Target="../slideLayouts/slideLayout243.xml"/><Relationship Id="rId28" Type="http://schemas.openxmlformats.org/officeDocument/2006/relationships/image" Target="../media/image1.emf"/><Relationship Id="rId10" Type="http://schemas.openxmlformats.org/officeDocument/2006/relationships/slideLayout" Target="../slideLayouts/slideLayout230.xml"/><Relationship Id="rId19" Type="http://schemas.openxmlformats.org/officeDocument/2006/relationships/slideLayout" Target="../slideLayouts/slideLayout239.xml"/><Relationship Id="rId4" Type="http://schemas.openxmlformats.org/officeDocument/2006/relationships/slideLayout" Target="../slideLayouts/slideLayout224.xml"/><Relationship Id="rId9" Type="http://schemas.openxmlformats.org/officeDocument/2006/relationships/slideLayout" Target="../slideLayouts/slideLayout229.xml"/><Relationship Id="rId14" Type="http://schemas.openxmlformats.org/officeDocument/2006/relationships/slideLayout" Target="../slideLayouts/slideLayout234.xml"/><Relationship Id="rId22" Type="http://schemas.openxmlformats.org/officeDocument/2006/relationships/slideLayout" Target="../slideLayouts/slideLayout242.xml"/><Relationship Id="rId27" Type="http://schemas.openxmlformats.org/officeDocument/2006/relationships/oleObject" Target="../embeddings/oleObject176.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18" Type="http://schemas.openxmlformats.org/officeDocument/2006/relationships/image" Target="../media/image2.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oleObject" Target="../embeddings/oleObject12.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13.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vmlDrawing" Target="../drawings/vmlDrawing12.v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251.xml"/><Relationship Id="rId13" Type="http://schemas.openxmlformats.org/officeDocument/2006/relationships/slideLayout" Target="../slideLayouts/slideLayout256.xml"/><Relationship Id="rId18" Type="http://schemas.openxmlformats.org/officeDocument/2006/relationships/slideLayout" Target="../slideLayouts/slideLayout261.xml"/><Relationship Id="rId26" Type="http://schemas.openxmlformats.org/officeDocument/2006/relationships/tags" Target="../tags/tag193.xml"/><Relationship Id="rId3" Type="http://schemas.openxmlformats.org/officeDocument/2006/relationships/slideLayout" Target="../slideLayouts/slideLayout246.xml"/><Relationship Id="rId21" Type="http://schemas.openxmlformats.org/officeDocument/2006/relationships/slideLayout" Target="../slideLayouts/slideLayout264.xml"/><Relationship Id="rId7" Type="http://schemas.openxmlformats.org/officeDocument/2006/relationships/slideLayout" Target="../slideLayouts/slideLayout250.xml"/><Relationship Id="rId12" Type="http://schemas.openxmlformats.org/officeDocument/2006/relationships/slideLayout" Target="../slideLayouts/slideLayout255.xml"/><Relationship Id="rId17" Type="http://schemas.openxmlformats.org/officeDocument/2006/relationships/slideLayout" Target="../slideLayouts/slideLayout260.xml"/><Relationship Id="rId25" Type="http://schemas.openxmlformats.org/officeDocument/2006/relationships/vmlDrawing" Target="../drawings/vmlDrawing192.vml"/><Relationship Id="rId2" Type="http://schemas.openxmlformats.org/officeDocument/2006/relationships/slideLayout" Target="../slideLayouts/slideLayout245.xml"/><Relationship Id="rId16" Type="http://schemas.openxmlformats.org/officeDocument/2006/relationships/slideLayout" Target="../slideLayouts/slideLayout259.xml"/><Relationship Id="rId20" Type="http://schemas.openxmlformats.org/officeDocument/2006/relationships/slideLayout" Target="../slideLayouts/slideLayout263.xml"/><Relationship Id="rId29" Type="http://schemas.openxmlformats.org/officeDocument/2006/relationships/image" Target="../media/image2.png"/><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slideLayout" Target="../slideLayouts/slideLayout254.xml"/><Relationship Id="rId24" Type="http://schemas.openxmlformats.org/officeDocument/2006/relationships/theme" Target="../theme/theme20.xml"/><Relationship Id="rId5" Type="http://schemas.openxmlformats.org/officeDocument/2006/relationships/slideLayout" Target="../slideLayouts/slideLayout248.xml"/><Relationship Id="rId15" Type="http://schemas.openxmlformats.org/officeDocument/2006/relationships/slideLayout" Target="../slideLayouts/slideLayout258.xml"/><Relationship Id="rId23" Type="http://schemas.openxmlformats.org/officeDocument/2006/relationships/slideLayout" Target="../slideLayouts/slideLayout266.xml"/><Relationship Id="rId28" Type="http://schemas.openxmlformats.org/officeDocument/2006/relationships/image" Target="../media/image1.emf"/><Relationship Id="rId10" Type="http://schemas.openxmlformats.org/officeDocument/2006/relationships/slideLayout" Target="../slideLayouts/slideLayout253.xml"/><Relationship Id="rId19" Type="http://schemas.openxmlformats.org/officeDocument/2006/relationships/slideLayout" Target="../slideLayouts/slideLayout262.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4" Type="http://schemas.openxmlformats.org/officeDocument/2006/relationships/slideLayout" Target="../slideLayouts/slideLayout257.xml"/><Relationship Id="rId22" Type="http://schemas.openxmlformats.org/officeDocument/2006/relationships/slideLayout" Target="../slideLayouts/slideLayout265.xml"/><Relationship Id="rId27" Type="http://schemas.openxmlformats.org/officeDocument/2006/relationships/oleObject" Target="../embeddings/oleObject19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oleObject" Target="../embeddings/oleObject22.bin"/><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tags" Target="../tags/tag23.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vmlDrawing" Target="../drawings/vmlDrawing22.v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theme" Target="../theme/theme3.xml"/><Relationship Id="rId28" Type="http://schemas.openxmlformats.org/officeDocument/2006/relationships/image" Target="../media/image2.png"/><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38.xml"/><Relationship Id="rId3" Type="http://schemas.openxmlformats.org/officeDocument/2006/relationships/slideLayout" Target="../slideLayouts/slideLayout48.xml"/><Relationship Id="rId7" Type="http://schemas.openxmlformats.org/officeDocument/2006/relationships/vmlDrawing" Target="../drawings/vmlDrawing37.v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theme" Target="../theme/theme4.xml"/><Relationship Id="rId11" Type="http://schemas.openxmlformats.org/officeDocument/2006/relationships/image" Target="../media/image2.png"/><Relationship Id="rId5" Type="http://schemas.openxmlformats.org/officeDocument/2006/relationships/slideLayout" Target="../slideLayouts/slideLayout50.xml"/><Relationship Id="rId10" Type="http://schemas.openxmlformats.org/officeDocument/2006/relationships/image" Target="../media/image1.emf"/><Relationship Id="rId4" Type="http://schemas.openxmlformats.org/officeDocument/2006/relationships/slideLayout" Target="../slideLayouts/slideLayout49.xml"/><Relationship Id="rId9" Type="http://schemas.openxmlformats.org/officeDocument/2006/relationships/oleObject" Target="../embeddings/oleObject37.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image" Target="../media/image1.emf"/><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oleObject" Target="../embeddings/oleObject43.bin"/><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tags" Target="../tags/tag44.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vmlDrawing" Target="../drawings/vmlDrawing43.v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theme" Target="../theme/theme5.xml"/><Relationship Id="rId27"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74.xml"/><Relationship Id="rId7" Type="http://schemas.openxmlformats.org/officeDocument/2006/relationships/oleObject" Target="../embeddings/oleObject57.bin"/><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tags" Target="../tags/tag58.xml"/><Relationship Id="rId5" Type="http://schemas.openxmlformats.org/officeDocument/2006/relationships/vmlDrawing" Target="../drawings/vmlDrawing57.vml"/><Relationship Id="rId4" Type="http://schemas.openxmlformats.org/officeDocument/2006/relationships/theme" Target="../theme/theme6.xml"/><Relationship Id="rId9"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vmlDrawing" Target="../drawings/vmlDrawing60.vml"/><Relationship Id="rId3" Type="http://schemas.openxmlformats.org/officeDocument/2006/relationships/slideLayout" Target="../slideLayouts/slideLayout77.xml"/><Relationship Id="rId7" Type="http://schemas.openxmlformats.org/officeDocument/2006/relationships/theme" Target="../theme/theme7.xml"/><Relationship Id="rId12" Type="http://schemas.openxmlformats.org/officeDocument/2006/relationships/image" Target="../media/image2.png"/><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image" Target="../media/image1.emf"/><Relationship Id="rId5" Type="http://schemas.openxmlformats.org/officeDocument/2006/relationships/slideLayout" Target="../slideLayouts/slideLayout79.xml"/><Relationship Id="rId10" Type="http://schemas.openxmlformats.org/officeDocument/2006/relationships/oleObject" Target="../embeddings/oleObject60.bin"/><Relationship Id="rId4" Type="http://schemas.openxmlformats.org/officeDocument/2006/relationships/slideLayout" Target="../slideLayouts/slideLayout78.xml"/><Relationship Id="rId9" Type="http://schemas.openxmlformats.org/officeDocument/2006/relationships/tags" Target="../tags/tag61.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67.xml"/><Relationship Id="rId3" Type="http://schemas.openxmlformats.org/officeDocument/2006/relationships/slideLayout" Target="../slideLayouts/slideLayout83.xml"/><Relationship Id="rId7" Type="http://schemas.openxmlformats.org/officeDocument/2006/relationships/vmlDrawing" Target="../drawings/vmlDrawing66.v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theme" Target="../theme/theme8.xml"/><Relationship Id="rId11" Type="http://schemas.openxmlformats.org/officeDocument/2006/relationships/image" Target="../media/image2.png"/><Relationship Id="rId5" Type="http://schemas.openxmlformats.org/officeDocument/2006/relationships/slideLayout" Target="../slideLayouts/slideLayout85.xml"/><Relationship Id="rId10" Type="http://schemas.openxmlformats.org/officeDocument/2006/relationships/image" Target="../media/image1.emf"/><Relationship Id="rId4" Type="http://schemas.openxmlformats.org/officeDocument/2006/relationships/slideLayout" Target="../slideLayouts/slideLayout84.xml"/><Relationship Id="rId9" Type="http://schemas.openxmlformats.org/officeDocument/2006/relationships/oleObject" Target="../embeddings/oleObject66.bin"/></Relationships>
</file>

<file path=ppt/slideMasters/_rels/slideMaster9.xml.rels><?xml version="1.0" encoding="UTF-8" standalone="yes"?>
<Relationships xmlns="http://schemas.openxmlformats.org/package/2006/relationships"><Relationship Id="rId8" Type="http://schemas.openxmlformats.org/officeDocument/2006/relationships/oleObject" Target="../embeddings/oleObject72.bin"/><Relationship Id="rId3" Type="http://schemas.openxmlformats.org/officeDocument/2006/relationships/slideLayout" Target="../slideLayouts/slideLayout88.xml"/><Relationship Id="rId7" Type="http://schemas.openxmlformats.org/officeDocument/2006/relationships/tags" Target="../tags/tag73.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vmlDrawing" Target="../drawings/vmlDrawing72.vml"/><Relationship Id="rId5" Type="http://schemas.openxmlformats.org/officeDocument/2006/relationships/theme" Target="../theme/theme9.xml"/><Relationship Id="rId10" Type="http://schemas.openxmlformats.org/officeDocument/2006/relationships/image" Target="../media/image2.png"/><Relationship Id="rId4" Type="http://schemas.openxmlformats.org/officeDocument/2006/relationships/slideLayout" Target="../slideLayouts/slideLayout89.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97" name="think-cell Slide" r:id="rId15" imgW="6350000" imgH="6350000" progId="">
                  <p:embed/>
                </p:oleObj>
              </mc:Choice>
              <mc:Fallback>
                <p:oleObj name="think-cell Slide" r:id="rId15" imgW="6350000" imgH="6350000" progId="">
                  <p:embed/>
                  <p:pic>
                    <p:nvPicPr>
                      <p:cNvPr id="8" name="Object 7"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 id="2147483941" r:id="rId1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4825" name="think-cell Slide" r:id="rId15" imgW="6350000" imgH="6350000" progId="">
                  <p:embed/>
                </p:oleObj>
              </mc:Choice>
              <mc:Fallback>
                <p:oleObj name="think-cell Slide" r:id="rId15" imgW="6350000" imgH="6350000" progId="">
                  <p:embed/>
                  <p:pic>
                    <p:nvPicPr>
                      <p:cNvPr id="8" name="Object 7"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1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678919422"/>
      </p:ext>
    </p:extLst>
  </p:cSld>
  <p:clrMap bg1="lt1" tx1="dk1" bg2="lt2" tx2="dk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25" r:id="rId5"/>
    <p:sldLayoutId id="2147484026" r:id="rId6"/>
    <p:sldLayoutId id="2147484016" r:id="rId7"/>
    <p:sldLayoutId id="2147484017" r:id="rId8"/>
    <p:sldLayoutId id="2147484018" r:id="rId9"/>
    <p:sldLayoutId id="2147484019" r:id="rId10"/>
    <p:sldLayoutId id="2147484033" r:id="rId1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5849"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823764720"/>
      </p:ext>
    </p:extLst>
  </p:cSld>
  <p:clrMap bg1="lt1" tx1="dk1" bg2="lt2" tx2="dk2" accent1="accent1" accent2="accent2" accent3="accent3" accent4="accent4" accent5="accent5" accent6="accent6" hlink="hlink" folHlink="folHlink"/>
  <p:sldLayoutIdLst>
    <p:sldLayoutId id="2147484011"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7897" name="think-cell Slide" r:id="rId15" imgW="6350000" imgH="6350000" progId="">
                  <p:embed/>
                </p:oleObj>
              </mc:Choice>
              <mc:Fallback>
                <p:oleObj name="think-cell Slide" r:id="rId15" imgW="6350000" imgH="6350000" progId="">
                  <p:embed/>
                  <p:pic>
                    <p:nvPicPr>
                      <p:cNvPr id="8" name="Object 7"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19160560"/>
      </p:ext>
    </p:extLst>
  </p:cSld>
  <p:clrMap bg1="lt1" tx1="dk1" bg2="lt2" tx2="dk2" accent1="accent1" accent2="accent2" accent3="accent3" accent4="accent4" accent5="accent5" accent6="accent6" hlink="hlink" folHlink="folHlink"/>
  <p:sldLayoutIdLst>
    <p:sldLayoutId id="2147484056" r:id="rId1"/>
    <p:sldLayoutId id="2147484057" r:id="rId2"/>
    <p:sldLayoutId id="2147484058" r:id="rId3"/>
    <p:sldLayoutId id="2147484059" r:id="rId4"/>
    <p:sldLayoutId id="2147484060" r:id="rId5"/>
    <p:sldLayoutId id="2147484061" r:id="rId6"/>
    <p:sldLayoutId id="2147484062" r:id="rId7"/>
    <p:sldLayoutId id="2147484063" r:id="rId8"/>
    <p:sldLayoutId id="2147484064" r:id="rId9"/>
    <p:sldLayoutId id="2147484065" r:id="rId10"/>
    <p:sldLayoutId id="2147484066" r:id="rId1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89161"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627337418"/>
      </p:ext>
    </p:extLst>
  </p:cSld>
  <p:clrMap bg1="lt1" tx1="dk1" bg2="lt2" tx2="dk2" accent1="accent1" accent2="accent2" accent3="accent3" accent4="accent4" accent5="accent5" accent6="accent6" hlink="hlink" folHlink="folHlink"/>
  <p:sldLayoutIdLst>
    <p:sldLayoutId id="2147484068" r:id="rId1"/>
    <p:sldLayoutId id="2147484069" r:id="rId2"/>
    <p:sldLayoutId id="2147484070" r:id="rId3"/>
    <p:sldLayoutId id="2147484071" r:id="rId4"/>
    <p:sldLayoutId id="2147484072" r:id="rId5"/>
    <p:sldLayoutId id="2147484073" r:id="rId6"/>
    <p:sldLayoutId id="2147484074" r:id="rId7"/>
    <p:sldLayoutId id="2147484075" r:id="rId8"/>
    <p:sldLayoutId id="2147484076" r:id="rId9"/>
    <p:sldLayoutId id="2147484077" r:id="rId10"/>
    <p:sldLayoutId id="2147484078" r:id="rId11"/>
    <p:sldLayoutId id="2147484079" r:id="rId12"/>
    <p:sldLayoutId id="2147484080" r:id="rId13"/>
    <p:sldLayoutId id="2147484081" r:id="rId14"/>
    <p:sldLayoutId id="2147484082" r:id="rId15"/>
    <p:sldLayoutId id="2147484083" r:id="rId16"/>
    <p:sldLayoutId id="2147484084" r:id="rId17"/>
    <p:sldLayoutId id="2147484085" r:id="rId18"/>
    <p:sldLayoutId id="2147484086" r:id="rId19"/>
    <p:sldLayoutId id="2147484087" r:id="rId20"/>
    <p:sldLayoutId id="2147484088" r:id="rId21"/>
    <p:sldLayoutId id="2147484089" r:id="rId2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4521" name="think-cell Slide" r:id="rId22" imgW="6350000" imgH="6350000" progId="">
                  <p:embed/>
                </p:oleObj>
              </mc:Choice>
              <mc:Fallback>
                <p:oleObj name="think-cell Slide" r:id="rId22" imgW="6350000" imgH="6350000" progId="">
                  <p:embed/>
                  <p:pic>
                    <p:nvPicPr>
                      <p:cNvPr id="8" name="Object 7"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1"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A84EC456-35A8-744E-B007-55313A310340}"/>
              </a:ext>
            </a:extLst>
          </p:cNvPr>
          <p:cNvPicPr>
            <a:picLocks noChangeAspect="1"/>
          </p:cNvPicPr>
          <p:nvPr userDrawn="1"/>
        </p:nvPicPr>
        <p:blipFill>
          <a:blip r:embed="rId24"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357580830"/>
      </p:ext>
    </p:extLst>
  </p:cSld>
  <p:clrMap bg1="lt1" tx1="dk1" bg2="lt2" tx2="dk2" accent1="accent1" accent2="accent2" accent3="accent3" accent4="accent4" accent5="accent5" accent6="accent6" hlink="hlink" folHlink="folHlink"/>
  <p:sldLayoutIdLst>
    <p:sldLayoutId id="2147484091" r:id="rId1"/>
    <p:sldLayoutId id="2147484092" r:id="rId2"/>
    <p:sldLayoutId id="2147484093" r:id="rId3"/>
    <p:sldLayoutId id="2147484094" r:id="rId4"/>
    <p:sldLayoutId id="2147484095" r:id="rId5"/>
    <p:sldLayoutId id="2147484096" r:id="rId6"/>
    <p:sldLayoutId id="2147484097" r:id="rId7"/>
    <p:sldLayoutId id="2147484098" r:id="rId8"/>
    <p:sldLayoutId id="2147484099" r:id="rId9"/>
    <p:sldLayoutId id="2147484100" r:id="rId10"/>
    <p:sldLayoutId id="2147484101" r:id="rId11"/>
    <p:sldLayoutId id="2147484102" r:id="rId12"/>
    <p:sldLayoutId id="2147484103" r:id="rId13"/>
    <p:sldLayoutId id="2147484104" r:id="rId14"/>
    <p:sldLayoutId id="2147484105" r:id="rId15"/>
    <p:sldLayoutId id="2147484106" r:id="rId16"/>
    <p:sldLayoutId id="2147484107" r:id="rId17"/>
    <p:sldLayoutId id="2147484108" r:id="rId18"/>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FFFFFF"/>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3977" name="think-cell Slide" r:id="rId25" imgW="6350000" imgH="6350000" progId="">
                  <p:embed/>
                </p:oleObj>
              </mc:Choice>
              <mc:Fallback>
                <p:oleObj name="think-cell Slide" r:id="rId25" imgW="6350000" imgH="635000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871978154"/>
      </p:ext>
    </p:extLst>
  </p:cSld>
  <p:clrMap bg1="lt1" tx1="dk1" bg2="lt2" tx2="dk2" accent1="accent1" accent2="accent2" accent3="accent3" accent4="accent4" accent5="accent5" accent6="accent6" hlink="hlink" folHlink="folHlink"/>
  <p:sldLayoutIdLst>
    <p:sldLayoutId id="2147484123" r:id="rId1"/>
    <p:sldLayoutId id="2147484124" r:id="rId2"/>
    <p:sldLayoutId id="2147484125" r:id="rId3"/>
    <p:sldLayoutId id="2147484126" r:id="rId4"/>
    <p:sldLayoutId id="2147484127" r:id="rId5"/>
    <p:sldLayoutId id="2147484128" r:id="rId6"/>
    <p:sldLayoutId id="2147484129" r:id="rId7"/>
    <p:sldLayoutId id="2147484130" r:id="rId8"/>
    <p:sldLayoutId id="2147484131" r:id="rId9"/>
    <p:sldLayoutId id="2147484132" r:id="rId10"/>
    <p:sldLayoutId id="2147484133" r:id="rId11"/>
    <p:sldLayoutId id="2147484134" r:id="rId12"/>
    <p:sldLayoutId id="2147484135" r:id="rId13"/>
    <p:sldLayoutId id="2147484136" r:id="rId14"/>
    <p:sldLayoutId id="2147484137" r:id="rId15"/>
    <p:sldLayoutId id="2147484138" r:id="rId16"/>
    <p:sldLayoutId id="2147484139" r:id="rId17"/>
    <p:sldLayoutId id="2147484140" r:id="rId18"/>
    <p:sldLayoutId id="2147484141" r:id="rId19"/>
    <p:sldLayoutId id="2147484142" r:id="rId20"/>
    <p:sldLayoutId id="2147484143" r:id="rId2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38313" name="think-cell Slide" r:id="rId21" imgW="6350000" imgH="6350000" progId="">
                  <p:embed/>
                </p:oleObj>
              </mc:Choice>
              <mc:Fallback>
                <p:oleObj name="think-cell Slide" r:id="rId21" imgW="6350000" imgH="6350000" progId="">
                  <p:embed/>
                  <p:pic>
                    <p:nvPicPr>
                      <p:cNvPr id="8" name="Object 7"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a:xfrm>
            <a:off x="1" y="1"/>
            <a:ext cx="13442950" cy="7561262"/>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1"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9" name="Picture 8"/>
          <p:cNvPicPr>
            <a:picLocks noChangeAspect="1"/>
          </p:cNvPicPr>
          <p:nvPr userDrawn="1"/>
        </p:nvPicPr>
        <p:blipFill>
          <a:blip r:embed="rId23" cstate="print">
            <a:extLst>
              <a:ext uri="{28A0092B-C50C-407E-A947-70E740481C1C}">
                <a14:useLocalDpi xmlns:a14="http://schemas.microsoft.com/office/drawing/2010/main"/>
              </a:ext>
            </a:extLst>
          </a:blip>
          <a:stretch>
            <a:fillRect/>
          </a:stretch>
        </p:blipFill>
        <p:spPr>
          <a:xfrm>
            <a:off x="149350" y="7168845"/>
            <a:ext cx="931586" cy="324208"/>
          </a:xfrm>
          <a:prstGeom prst="rect">
            <a:avLst/>
          </a:prstGeom>
        </p:spPr>
      </p:pic>
      <p:pic>
        <p:nvPicPr>
          <p:cNvPr id="15" name="Picture 14"/>
          <p:cNvPicPr>
            <a:picLocks noChangeAspect="1"/>
          </p:cNvPicPr>
          <p:nvPr userDrawn="1"/>
        </p:nvPicPr>
        <p:blipFill>
          <a:blip r:embed="rId24">
            <a:extLst>
              <a:ext uri="{28A0092B-C50C-407E-A947-70E740481C1C}">
                <a14:useLocalDpi xmlns:a14="http://schemas.microsoft.com/office/drawing/2010/main"/>
              </a:ext>
            </a:extLst>
          </a:blip>
          <a:stretch>
            <a:fillRect/>
          </a:stretch>
        </p:blipFill>
        <p:spPr>
          <a:xfrm>
            <a:off x="1388415" y="7233159"/>
            <a:ext cx="1235710" cy="195580"/>
          </a:xfrm>
          <a:prstGeom prst="rect">
            <a:avLst/>
          </a:prstGeom>
        </p:spPr>
      </p:pic>
      <p:cxnSp>
        <p:nvCxnSpPr>
          <p:cNvPr id="16" name="Straight Connector 15"/>
          <p:cNvCxnSpPr/>
          <p:nvPr userDrawn="1"/>
        </p:nvCxnSpPr>
        <p:spPr>
          <a:xfrm>
            <a:off x="1234675" y="7153109"/>
            <a:ext cx="0" cy="327427"/>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1862453"/>
      </p:ext>
    </p:extLst>
  </p:cSld>
  <p:clrMap bg1="lt1" tx1="dk1" bg2="lt2" tx2="dk2" accent1="accent1" accent2="accent2" accent3="accent3" accent4="accent4" accent5="accent5" accent6="accent6" hlink="hlink" folHlink="folHlink"/>
  <p:sldLayoutIdLst>
    <p:sldLayoutId id="2147484145" r:id="rId1"/>
    <p:sldLayoutId id="2147484146" r:id="rId2"/>
    <p:sldLayoutId id="2147484147" r:id="rId3"/>
    <p:sldLayoutId id="2147484148" r:id="rId4"/>
    <p:sldLayoutId id="2147484149" r:id="rId5"/>
    <p:sldLayoutId id="2147484150" r:id="rId6"/>
    <p:sldLayoutId id="2147484151" r:id="rId7"/>
    <p:sldLayoutId id="2147484152" r:id="rId8"/>
    <p:sldLayoutId id="2147484153" r:id="rId9"/>
    <p:sldLayoutId id="2147484154" r:id="rId10"/>
    <p:sldLayoutId id="2147484155" r:id="rId11"/>
    <p:sldLayoutId id="2147484156" r:id="rId12"/>
    <p:sldLayoutId id="2147484157" r:id="rId13"/>
    <p:sldLayoutId id="2147484158" r:id="rId14"/>
    <p:sldLayoutId id="2147484159" r:id="rId15"/>
    <p:sldLayoutId id="2147484160" r:id="rId16"/>
    <p:sldLayoutId id="2147484161" r:id="rId17"/>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FFFFFF"/>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3" y="1751"/>
          <a:ext cx="2154" cy="1750"/>
        </p:xfrm>
        <a:graphic>
          <a:graphicData uri="http://schemas.openxmlformats.org/presentationml/2006/ole">
            <mc:AlternateContent xmlns:mc="http://schemas.openxmlformats.org/markup-compatibility/2006">
              <mc:Choice xmlns:v="urn:schemas-microsoft-com:vml" Requires="v">
                <p:oleObj spid="_x0000_s156745"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3"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1"/>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2"/>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6"/>
            <a:ext cx="931586" cy="323837"/>
          </a:xfrm>
          <a:prstGeom prst="rect">
            <a:avLst/>
          </a:prstGeom>
        </p:spPr>
      </p:pic>
    </p:spTree>
    <p:extLst>
      <p:ext uri="{BB962C8B-B14F-4D97-AF65-F5344CB8AC3E}">
        <p14:creationId xmlns:p14="http://schemas.microsoft.com/office/powerpoint/2010/main" val="2316387782"/>
      </p:ext>
    </p:extLst>
  </p:cSld>
  <p:clrMap bg1="lt1" tx1="dk1" bg2="lt2" tx2="dk2" accent1="accent1" accent2="accent2" accent3="accent3" accent4="accent4" accent5="accent5" accent6="accent6" hlink="hlink" folHlink="folHlink"/>
  <p:sldLayoutIdLst>
    <p:sldLayoutId id="2147484163"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706" rtl="0" eaLnBrk="1" latinLnBrk="0" hangingPunct="1">
        <a:spcBef>
          <a:spcPct val="0"/>
        </a:spcBef>
        <a:buNone/>
        <a:defRPr sz="2799" b="0" kern="1200" cap="all" spc="0">
          <a:ln w="22225">
            <a:noFill/>
            <a:prstDash val="solid"/>
          </a:ln>
          <a:solidFill>
            <a:srgbClr val="000000"/>
          </a:solidFill>
          <a:effectLst/>
          <a:latin typeface="+mj-lt"/>
          <a:ea typeface="+mj-ea"/>
          <a:cs typeface="+mj-cs"/>
        </a:defRPr>
      </a:lvl1pPr>
    </p:titleStyle>
    <p:bodyStyle>
      <a:lvl1pPr marL="0" indent="0" algn="l" defTabSz="961706" rtl="0" eaLnBrk="1" latinLnBrk="0" hangingPunct="1">
        <a:lnSpc>
          <a:spcPts val="1900"/>
        </a:lnSpc>
        <a:spcBef>
          <a:spcPts val="0"/>
        </a:spcBef>
        <a:buClr>
          <a:srgbClr val="FFFFFF"/>
        </a:buClr>
        <a:buSzPct val="100000"/>
        <a:buFont typeface="Arial"/>
        <a:buNone/>
        <a:defRPr sz="1799" b="1" kern="1200">
          <a:solidFill>
            <a:schemeClr val="tx2"/>
          </a:solidFill>
          <a:latin typeface="+mn-lt"/>
          <a:ea typeface="+mn-ea"/>
          <a:cs typeface="+mn-cs"/>
        </a:defRPr>
      </a:lvl1pPr>
      <a:lvl2pPr marL="0" indent="0" algn="l" defTabSz="961706" rtl="0" eaLnBrk="1" latinLnBrk="0" hangingPunct="1">
        <a:lnSpc>
          <a:spcPts val="1900"/>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706" rtl="0" eaLnBrk="1" latinLnBrk="0" hangingPunct="1">
        <a:lnSpc>
          <a:spcPts val="1499"/>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706"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706"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697"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551"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405"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259"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706" rtl="0" eaLnBrk="1" latinLnBrk="0" hangingPunct="1">
        <a:defRPr sz="1900" kern="1200">
          <a:solidFill>
            <a:schemeClr val="tx1"/>
          </a:solidFill>
          <a:latin typeface="+mn-lt"/>
          <a:ea typeface="+mn-ea"/>
          <a:cs typeface="+mn-cs"/>
        </a:defRPr>
      </a:lvl1pPr>
      <a:lvl2pPr marL="480854" algn="l" defTabSz="961706" rtl="0" eaLnBrk="1" latinLnBrk="0" hangingPunct="1">
        <a:defRPr sz="1900" kern="1200">
          <a:solidFill>
            <a:schemeClr val="tx1"/>
          </a:solidFill>
          <a:latin typeface="+mn-lt"/>
          <a:ea typeface="+mn-ea"/>
          <a:cs typeface="+mn-cs"/>
        </a:defRPr>
      </a:lvl2pPr>
      <a:lvl3pPr marL="961706" algn="l" defTabSz="961706" rtl="0" eaLnBrk="1" latinLnBrk="0" hangingPunct="1">
        <a:defRPr sz="1900" kern="1200">
          <a:solidFill>
            <a:schemeClr val="tx1"/>
          </a:solidFill>
          <a:latin typeface="+mn-lt"/>
          <a:ea typeface="+mn-ea"/>
          <a:cs typeface="+mn-cs"/>
        </a:defRPr>
      </a:lvl3pPr>
      <a:lvl4pPr marL="1442563" algn="l" defTabSz="961706" rtl="0" eaLnBrk="1" latinLnBrk="0" hangingPunct="1">
        <a:defRPr sz="1900" kern="1200">
          <a:solidFill>
            <a:schemeClr val="tx1"/>
          </a:solidFill>
          <a:latin typeface="+mn-lt"/>
          <a:ea typeface="+mn-ea"/>
          <a:cs typeface="+mn-cs"/>
        </a:defRPr>
      </a:lvl4pPr>
      <a:lvl5pPr marL="1923416" algn="l" defTabSz="961706" rtl="0" eaLnBrk="1" latinLnBrk="0" hangingPunct="1">
        <a:defRPr sz="1900" kern="1200">
          <a:solidFill>
            <a:schemeClr val="tx1"/>
          </a:solidFill>
          <a:latin typeface="+mn-lt"/>
          <a:ea typeface="+mn-ea"/>
          <a:cs typeface="+mn-cs"/>
        </a:defRPr>
      </a:lvl5pPr>
      <a:lvl6pPr marL="2404270" algn="l" defTabSz="961706" rtl="0" eaLnBrk="1" latinLnBrk="0" hangingPunct="1">
        <a:defRPr sz="1900" kern="1200">
          <a:solidFill>
            <a:schemeClr val="tx1"/>
          </a:solidFill>
          <a:latin typeface="+mn-lt"/>
          <a:ea typeface="+mn-ea"/>
          <a:cs typeface="+mn-cs"/>
        </a:defRPr>
      </a:lvl6pPr>
      <a:lvl7pPr marL="2885123" algn="l" defTabSz="961706" rtl="0" eaLnBrk="1" latinLnBrk="0" hangingPunct="1">
        <a:defRPr sz="1900" kern="1200">
          <a:solidFill>
            <a:schemeClr val="tx1"/>
          </a:solidFill>
          <a:latin typeface="+mn-lt"/>
          <a:ea typeface="+mn-ea"/>
          <a:cs typeface="+mn-cs"/>
        </a:defRPr>
      </a:lvl7pPr>
      <a:lvl8pPr marL="3365978" algn="l" defTabSz="961706" rtl="0" eaLnBrk="1" latinLnBrk="0" hangingPunct="1">
        <a:defRPr sz="1900" kern="1200">
          <a:solidFill>
            <a:schemeClr val="tx1"/>
          </a:solidFill>
          <a:latin typeface="+mn-lt"/>
          <a:ea typeface="+mn-ea"/>
          <a:cs typeface="+mn-cs"/>
        </a:defRPr>
      </a:lvl8pPr>
      <a:lvl9pPr marL="3846829" algn="l" defTabSz="961706" rtl="0" eaLnBrk="1" latinLnBrk="0" hangingPunct="1">
        <a:defRPr sz="19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2"/>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58793" name="think-cell Slide" r:id="rId33" imgW="6350000" imgH="6350000" progId="">
                  <p:embed/>
                </p:oleObj>
              </mc:Choice>
              <mc:Fallback>
                <p:oleObj name="think-cell Slide" r:id="rId33" imgW="6350000" imgH="6350000" progId="">
                  <p:embed/>
                  <p:pic>
                    <p:nvPicPr>
                      <p:cNvPr id="8" name="Object 7" hidden="1"/>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5"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982340770"/>
      </p:ext>
    </p:extLst>
  </p:cSld>
  <p:clrMap bg1="lt1" tx1="dk1" bg2="lt2" tx2="dk2" accent1="accent1" accent2="accent2" accent3="accent3" accent4="accent4" accent5="accent5" accent6="accent6" hlink="hlink" folHlink="folHlink"/>
  <p:sldLayoutIdLst>
    <p:sldLayoutId id="2147484278" r:id="rId1"/>
    <p:sldLayoutId id="2147484279" r:id="rId2"/>
    <p:sldLayoutId id="2147484280" r:id="rId3"/>
    <p:sldLayoutId id="2147484281" r:id="rId4"/>
    <p:sldLayoutId id="2147484282" r:id="rId5"/>
    <p:sldLayoutId id="2147484283" r:id="rId6"/>
    <p:sldLayoutId id="2147484284" r:id="rId7"/>
    <p:sldLayoutId id="2147484285" r:id="rId8"/>
    <p:sldLayoutId id="2147484286" r:id="rId9"/>
    <p:sldLayoutId id="2147484287" r:id="rId10"/>
    <p:sldLayoutId id="2147484288" r:id="rId11"/>
    <p:sldLayoutId id="2147484289" r:id="rId12"/>
    <p:sldLayoutId id="2147484290" r:id="rId13"/>
    <p:sldLayoutId id="2147484291" r:id="rId14"/>
    <p:sldLayoutId id="2147484292" r:id="rId15"/>
    <p:sldLayoutId id="2147484293" r:id="rId16"/>
    <p:sldLayoutId id="2147484294" r:id="rId17"/>
    <p:sldLayoutId id="2147484295" r:id="rId18"/>
    <p:sldLayoutId id="2147484296" r:id="rId19"/>
    <p:sldLayoutId id="2147484297" r:id="rId20"/>
    <p:sldLayoutId id="2147484298" r:id="rId21"/>
    <p:sldLayoutId id="2147484299" r:id="rId22"/>
    <p:sldLayoutId id="2147484301" r:id="rId23"/>
    <p:sldLayoutId id="2147484302" r:id="rId24"/>
    <p:sldLayoutId id="2147484303" r:id="rId25"/>
    <p:sldLayoutId id="2147484354" r:id="rId26"/>
    <p:sldLayoutId id="2147484355" r:id="rId27"/>
    <p:sldLayoutId id="2147484359" r:id="rId28"/>
    <p:sldLayoutId id="2147484360" r:id="rId29"/>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77224" name="think-cell Slide" r:id="rId27" imgW="6350000" imgH="6350000" progId="">
                  <p:embed/>
                </p:oleObj>
              </mc:Choice>
              <mc:Fallback>
                <p:oleObj name="think-cell Slide" r:id="rId27" imgW="6350000" imgH="6350000" progId="">
                  <p:embed/>
                  <p:pic>
                    <p:nvPicPr>
                      <p:cNvPr id="8" name="Object 7" hidden="1"/>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9"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383885323"/>
      </p:ext>
    </p:extLst>
  </p:cSld>
  <p:clrMap bg1="lt1" tx1="dk1" bg2="lt2" tx2="dk2" accent1="accent1" accent2="accent2" accent3="accent3" accent4="accent4" accent5="accent5" accent6="accent6" hlink="hlink" folHlink="folHlink"/>
  <p:sldLayoutIdLst>
    <p:sldLayoutId id="2147484305" r:id="rId1"/>
    <p:sldLayoutId id="2147484306" r:id="rId2"/>
    <p:sldLayoutId id="2147484307" r:id="rId3"/>
    <p:sldLayoutId id="2147484308" r:id="rId4"/>
    <p:sldLayoutId id="2147484309" r:id="rId5"/>
    <p:sldLayoutId id="2147484310" r:id="rId6"/>
    <p:sldLayoutId id="2147484311" r:id="rId7"/>
    <p:sldLayoutId id="2147484312" r:id="rId8"/>
    <p:sldLayoutId id="2147484313" r:id="rId9"/>
    <p:sldLayoutId id="2147484314" r:id="rId10"/>
    <p:sldLayoutId id="2147484315" r:id="rId11"/>
    <p:sldLayoutId id="2147484316" r:id="rId12"/>
    <p:sldLayoutId id="2147484317" r:id="rId13"/>
    <p:sldLayoutId id="2147484318" r:id="rId14"/>
    <p:sldLayoutId id="2147484319" r:id="rId15"/>
    <p:sldLayoutId id="2147484320" r:id="rId16"/>
    <p:sldLayoutId id="2147484321" r:id="rId17"/>
    <p:sldLayoutId id="2147484322" r:id="rId18"/>
    <p:sldLayoutId id="2147484323" r:id="rId19"/>
    <p:sldLayoutId id="2147484324" r:id="rId20"/>
    <p:sldLayoutId id="2147484325" r:id="rId21"/>
    <p:sldLayoutId id="2147484326" r:id="rId22"/>
    <p:sldLayoutId id="2147484327" r:id="rId23"/>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361" name="think-cell Slide" r:id="rId16" imgW="6350000" imgH="6350000" progId="">
                  <p:embed/>
                </p:oleObj>
              </mc:Choice>
              <mc:Fallback>
                <p:oleObj name="think-cell Slide" r:id="rId16" imgW="6350000" imgH="6350000" progId="">
                  <p:embed/>
                  <p:pic>
                    <p:nvPicPr>
                      <p:cNvPr id="8" name="Object 7"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1"/>
            <a:endParaRPr lang="en-US" dirty="0"/>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7"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7" r:id="rId1"/>
    <p:sldLayoutId id="2147483689" r:id="rId2"/>
    <p:sldLayoutId id="2147483690" r:id="rId3"/>
    <p:sldLayoutId id="2147483691" r:id="rId4"/>
    <p:sldLayoutId id="2147483692" r:id="rId5"/>
    <p:sldLayoutId id="2147483693" r:id="rId6"/>
    <p:sldLayoutId id="2147483919" r:id="rId7"/>
    <p:sldLayoutId id="2147483694" r:id="rId8"/>
    <p:sldLayoutId id="2147483695" r:id="rId9"/>
    <p:sldLayoutId id="2147483920" r:id="rId10"/>
    <p:sldLayoutId id="2147483697" r:id="rId11"/>
    <p:sldLayoutId id="2147484045" r:id="rId1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93605" name="think-cell Slide" r:id="rId27" imgW="6350000" imgH="6350000" progId="">
                  <p:embed/>
                </p:oleObj>
              </mc:Choice>
              <mc:Fallback>
                <p:oleObj name="think-cell Slide" r:id="rId27" imgW="6350000" imgH="6350000" progId="">
                  <p:embed/>
                  <p:pic>
                    <p:nvPicPr>
                      <p:cNvPr id="8" name="Object 7" hidden="1"/>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9"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4059735914"/>
      </p:ext>
    </p:extLst>
  </p:cSld>
  <p:clrMap bg1="lt1" tx1="dk1" bg2="lt2" tx2="dk2" accent1="accent1" accent2="accent2" accent3="accent3" accent4="accent4" accent5="accent5" accent6="accent6" hlink="hlink" folHlink="folHlink"/>
  <p:sldLayoutIdLst>
    <p:sldLayoutId id="2147484329" r:id="rId1"/>
    <p:sldLayoutId id="2147484330" r:id="rId2"/>
    <p:sldLayoutId id="2147484331" r:id="rId3"/>
    <p:sldLayoutId id="2147484332" r:id="rId4"/>
    <p:sldLayoutId id="2147484333" r:id="rId5"/>
    <p:sldLayoutId id="2147484334" r:id="rId6"/>
    <p:sldLayoutId id="2147484335" r:id="rId7"/>
    <p:sldLayoutId id="2147484336" r:id="rId8"/>
    <p:sldLayoutId id="2147484337" r:id="rId9"/>
    <p:sldLayoutId id="2147484338" r:id="rId10"/>
    <p:sldLayoutId id="2147484339" r:id="rId11"/>
    <p:sldLayoutId id="2147484340" r:id="rId12"/>
    <p:sldLayoutId id="2147484341" r:id="rId13"/>
    <p:sldLayoutId id="2147484342" r:id="rId14"/>
    <p:sldLayoutId id="2147484343" r:id="rId15"/>
    <p:sldLayoutId id="2147484344" r:id="rId16"/>
    <p:sldLayoutId id="2147484345" r:id="rId17"/>
    <p:sldLayoutId id="2147484346" r:id="rId18"/>
    <p:sldLayoutId id="2147484347" r:id="rId19"/>
    <p:sldLayoutId id="2147484348" r:id="rId20"/>
    <p:sldLayoutId id="2147484349" r:id="rId21"/>
    <p:sldLayoutId id="2147484350" r:id="rId22"/>
    <p:sldLayoutId id="2147484351" r:id="rId23"/>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22601"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740" r:id="rId2"/>
    <p:sldLayoutId id="2147484049" r:id="rId3"/>
    <p:sldLayoutId id="2147484050" r:id="rId4"/>
    <p:sldLayoutId id="2147483699" r:id="rId5"/>
    <p:sldLayoutId id="2147483700" r:id="rId6"/>
    <p:sldLayoutId id="2147483739" r:id="rId7"/>
    <p:sldLayoutId id="2147483701" r:id="rId8"/>
    <p:sldLayoutId id="2147483702" r:id="rId9"/>
    <p:sldLayoutId id="2147483703" r:id="rId10"/>
    <p:sldLayoutId id="2147483704" r:id="rId11"/>
    <p:sldLayoutId id="2147483929" r:id="rId12"/>
    <p:sldLayoutId id="2147483930" r:id="rId13"/>
    <p:sldLayoutId id="2147483706" r:id="rId14"/>
    <p:sldLayoutId id="2147483707" r:id="rId15"/>
    <p:sldLayoutId id="2147483712" r:id="rId16"/>
    <p:sldLayoutId id="2147484037" r:id="rId17"/>
    <p:sldLayoutId id="2147484053" r:id="rId18"/>
    <p:sldLayoutId id="2147484038" r:id="rId19"/>
    <p:sldLayoutId id="2147484042" r:id="rId20"/>
    <p:sldLayoutId id="2147484043" r:id="rId21"/>
    <p:sldLayoutId id="2147484044" r:id="rId2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37961" name="think-cell Slide" r:id="rId9" imgW="6350000" imgH="6350000" progId="">
                  <p:embed/>
                </p:oleObj>
              </mc:Choice>
              <mc:Fallback>
                <p:oleObj name="think-cell Slide" r:id="rId9" imgW="6350000" imgH="635000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11"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802880744"/>
      </p:ext>
    </p:extLst>
  </p:cSld>
  <p:clrMap bg1="lt1" tx1="dk1" bg2="lt2" tx2="dk2" accent1="accent1" accent2="accent2" accent3="accent3" accent4="accent4" accent5="accent5" accent6="accent6" hlink="hlink" folHlink="folHlink"/>
  <p:sldLayoutIdLst>
    <p:sldLayoutId id="2147483705" r:id="rId1"/>
    <p:sldLayoutId id="2147483708" r:id="rId2"/>
    <p:sldLayoutId id="2147483709" r:id="rId3"/>
    <p:sldLayoutId id="2147483710" r:id="rId4"/>
    <p:sldLayoutId id="2147483711" r:id="rId5"/>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4105" name="think-cell Slide" r:id="rId25" imgW="6350000" imgH="6350000" progId="">
                  <p:embed/>
                </p:oleObj>
              </mc:Choice>
              <mc:Fallback>
                <p:oleObj name="think-cell Slide" r:id="rId25" imgW="6350000" imgH="635000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4046" r:id="rId12"/>
    <p:sldLayoutId id="2147484054" r:id="rId13"/>
    <p:sldLayoutId id="2147484047" r:id="rId14"/>
    <p:sldLayoutId id="2147484051" r:id="rId15"/>
    <p:sldLayoutId id="2147484052" r:id="rId16"/>
    <p:sldLayoutId id="2147483726" r:id="rId17"/>
    <p:sldLayoutId id="2147483727" r:id="rId18"/>
    <p:sldLayoutId id="2147484040" r:id="rId19"/>
    <p:sldLayoutId id="2147484039" r:id="rId20"/>
    <p:sldLayoutId id="2147484041" r:id="rId2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58441" name="think-cell Slide" r:id="rId7" imgW="6350000" imgH="6350000" progId="">
                  <p:embed/>
                </p:oleObj>
              </mc:Choice>
              <mc:Fallback>
                <p:oleObj name="think-cell Slide" r:id="rId7" imgW="6350000" imgH="6350000" progId="">
                  <p:embed/>
                  <p:pic>
                    <p:nvPicPr>
                      <p:cNvPr id="8" name="Object 7"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3" r:id="rId1"/>
    <p:sldLayoutId id="2147484048" r:id="rId2"/>
    <p:sldLayoutId id="2147483714" r:id="rId3"/>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1513" name="think-cell Slide" r:id="rId10" imgW="6350000" imgH="6350000" progId="">
                  <p:embed/>
                </p:oleObj>
              </mc:Choice>
              <mc:Fallback>
                <p:oleObj name="think-cell Slide" r:id="rId10" imgW="6350000" imgH="6350000" progId="">
                  <p:embed/>
                  <p:pic>
                    <p:nvPicPr>
                      <p:cNvPr id="8" name="Object 7"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308734"/>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11" name="Straight Connector 10"/>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923" r:id="rId4"/>
    <p:sldLayoutId id="2147483922" r:id="rId5"/>
    <p:sldLayoutId id="2147483731" r:id="rId6"/>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7657" name="think-cell Slide" r:id="rId9" imgW="6350000" imgH="6350000" progId="">
                  <p:embed/>
                </p:oleObj>
              </mc:Choice>
              <mc:Fallback>
                <p:oleObj name="think-cell Slide" r:id="rId9" imgW="6350000" imgH="635000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74010"/>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1"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32" r:id="rId1"/>
    <p:sldLayoutId id="2147483738" r:id="rId2"/>
    <p:sldLayoutId id="2147483737" r:id="rId3"/>
    <p:sldLayoutId id="2147483733" r:id="rId4"/>
    <p:sldLayoutId id="2147483734" r:id="rId5"/>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3801" name="think-cell Slide" r:id="rId8" imgW="6350000" imgH="6350000" progId="">
                  <p:embed/>
                </p:oleObj>
              </mc:Choice>
              <mc:Fallback>
                <p:oleObj name="think-cell Slide" r:id="rId8" imgW="6350000" imgH="635000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112.xml"/></Relationships>
</file>

<file path=ppt/slides/_rels/slide1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5.xml"/><Relationship Id="rId1" Type="http://schemas.openxmlformats.org/officeDocument/2006/relationships/slideLayout" Target="../slideLayouts/slideLayout220.xml"/><Relationship Id="rId5" Type="http://schemas.openxmlformats.org/officeDocument/2006/relationships/image" Target="../media/image13.jpeg"/><Relationship Id="rId4" Type="http://schemas.openxmlformats.org/officeDocument/2006/relationships/image" Target="../media/image12.jpeg"/></Relationships>
</file>

<file path=ppt/slides/_rels/slide11.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jpeg"/><Relationship Id="rId7" Type="http://schemas.openxmlformats.org/officeDocument/2006/relationships/image" Target="../media/image18.png"/><Relationship Id="rId12" Type="http://schemas.openxmlformats.org/officeDocument/2006/relationships/image" Target="../media/image23.jpeg"/><Relationship Id="rId2" Type="http://schemas.openxmlformats.org/officeDocument/2006/relationships/notesSlide" Target="../notesSlides/notesSlide6.xml"/><Relationship Id="rId1" Type="http://schemas.openxmlformats.org/officeDocument/2006/relationships/slideLayout" Target="../slideLayouts/slideLayout165.xml"/><Relationship Id="rId6" Type="http://schemas.openxmlformats.org/officeDocument/2006/relationships/image" Target="../media/image17.jpeg"/><Relationship Id="rId11" Type="http://schemas.openxmlformats.org/officeDocument/2006/relationships/image" Target="../media/image22.jpeg"/><Relationship Id="rId5" Type="http://schemas.openxmlformats.org/officeDocument/2006/relationships/image" Target="../media/image16.jpeg"/><Relationship Id="rId10" Type="http://schemas.openxmlformats.org/officeDocument/2006/relationships/image" Target="../media/image21.jpeg"/><Relationship Id="rId4" Type="http://schemas.openxmlformats.org/officeDocument/2006/relationships/image" Target="../media/image15.jpeg"/><Relationship Id="rId9" Type="http://schemas.openxmlformats.org/officeDocument/2006/relationships/image" Target="../media/image20.jpeg"/></Relationships>
</file>

<file path=ppt/slides/_rels/slide1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7.xml"/><Relationship Id="rId1" Type="http://schemas.openxmlformats.org/officeDocument/2006/relationships/slideLayout" Target="../slideLayouts/slideLayout220.xml"/><Relationship Id="rId6" Type="http://schemas.openxmlformats.org/officeDocument/2006/relationships/image" Target="../media/image27.jpeg"/><Relationship Id="rId5" Type="http://schemas.openxmlformats.org/officeDocument/2006/relationships/image" Target="../media/image26.jpeg"/><Relationship Id="rId4" Type="http://schemas.openxmlformats.org/officeDocument/2006/relationships/image" Target="../media/image25.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4.xml"/></Relationships>
</file>

<file path=ppt/slides/_rels/slide14.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8.xml"/><Relationship Id="rId1" Type="http://schemas.openxmlformats.org/officeDocument/2006/relationships/slideLayout" Target="../slideLayouts/slideLayout138.xml"/><Relationship Id="rId5" Type="http://schemas.openxmlformats.org/officeDocument/2006/relationships/chart" Target="../charts/chart8.xml"/><Relationship Id="rId4" Type="http://schemas.openxmlformats.org/officeDocument/2006/relationships/chart" Target="../charts/chart7.xml"/></Relationships>
</file>

<file path=ppt/slides/_rels/slide1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5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19.xml"/></Relationships>
</file>

<file path=ppt/slides/_rels/slide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1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18.xml"/></Relationships>
</file>

<file path=ppt/slides/_rels/slide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18.xml"/></Relationships>
</file>

<file path=ppt/slides/_rels/slide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xml"/><Relationship Id="rId1" Type="http://schemas.openxmlformats.org/officeDocument/2006/relationships/slideLayout" Target="../slideLayouts/slideLayout220.xml"/></Relationships>
</file>

<file path=ppt/slides/_rels/slide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2.xml"/><Relationship Id="rId1" Type="http://schemas.openxmlformats.org/officeDocument/2006/relationships/slideLayout" Target="../slideLayouts/slideLayout22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20.xml"/></Relationships>
</file>

<file path=ppt/slides/_rels/slide9.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4.xml"/><Relationship Id="rId1" Type="http://schemas.openxmlformats.org/officeDocument/2006/relationships/slideLayout" Target="../slideLayouts/slideLayout2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group of men posing for a picture&#10;&#10;Description automatically generated with medium confidence">
            <a:extLst>
              <a:ext uri="{FF2B5EF4-FFF2-40B4-BE49-F238E27FC236}">
                <a16:creationId xmlns:a16="http://schemas.microsoft.com/office/drawing/2014/main" id="{500FFD4F-36A7-E9BA-2EF4-D467B40ABBE6}"/>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0"/>
            <a:ext cx="13442950" cy="7065817"/>
          </a:xfrm>
          <a:prstGeom prst="rect">
            <a:avLst/>
          </a:prstGeom>
        </p:spPr>
      </p:pic>
      <p:sp>
        <p:nvSpPr>
          <p:cNvPr id="4" name="Title 3">
            <a:extLst>
              <a:ext uri="{FF2B5EF4-FFF2-40B4-BE49-F238E27FC236}">
                <a16:creationId xmlns:a16="http://schemas.microsoft.com/office/drawing/2014/main" id="{58F928EC-7E68-4F88-83A8-5037F72FB200}"/>
              </a:ext>
            </a:extLst>
          </p:cNvPr>
          <p:cNvSpPr>
            <a:spLocks noGrp="1"/>
          </p:cNvSpPr>
          <p:nvPr>
            <p:ph type="ctrTitle"/>
          </p:nvPr>
        </p:nvSpPr>
        <p:spPr>
          <a:xfrm>
            <a:off x="1289923" y="5234784"/>
            <a:ext cx="12331696" cy="709383"/>
          </a:xfrm>
        </p:spPr>
        <p:txBody>
          <a:bodyPr/>
          <a:lstStyle/>
          <a:p>
            <a:pPr>
              <a:lnSpc>
                <a:spcPts val="6500"/>
              </a:lnSpc>
            </a:pPr>
            <a:r>
              <a:rPr lang="en-GB" sz="6500" dirty="0">
                <a:solidFill>
                  <a:schemeClr val="tx1"/>
                </a:solidFill>
              </a:rPr>
              <a:t>The 16-34 audience</a:t>
            </a:r>
            <a:endParaRPr lang="en-US" sz="6500" dirty="0">
              <a:solidFill>
                <a:schemeClr val="tx1"/>
              </a:solidFill>
            </a:endParaRPr>
          </a:p>
        </p:txBody>
      </p:sp>
      <p:sp>
        <p:nvSpPr>
          <p:cNvPr id="45" name="Freeform: Shape 44">
            <a:extLst>
              <a:ext uri="{FF2B5EF4-FFF2-40B4-BE49-F238E27FC236}">
                <a16:creationId xmlns:a16="http://schemas.microsoft.com/office/drawing/2014/main" id="{84853ED8-61F0-8121-C55E-A02E07E039F4}"/>
              </a:ext>
            </a:extLst>
          </p:cNvPr>
          <p:cNvSpPr/>
          <p:nvPr/>
        </p:nvSpPr>
        <p:spPr>
          <a:xfrm rot="16200000">
            <a:off x="3792675" y="-2555520"/>
            <a:ext cx="5857600" cy="12197193"/>
          </a:xfrm>
          <a:custGeom>
            <a:avLst/>
            <a:gdLst>
              <a:gd name="connsiteX0" fmla="*/ 5850500 w 5857600"/>
              <a:gd name="connsiteY0" fmla="*/ 5228086 h 12197193"/>
              <a:gd name="connsiteX1" fmla="*/ 5433849 w 5857600"/>
              <a:gd name="connsiteY1" fmla="*/ 4942640 h 12197193"/>
              <a:gd name="connsiteX2" fmla="*/ 5419821 w 5857600"/>
              <a:gd name="connsiteY2" fmla="*/ 2246683 h 12197193"/>
              <a:gd name="connsiteX3" fmla="*/ 5832188 w 5857600"/>
              <a:gd name="connsiteY3" fmla="*/ 2147784 h 12197193"/>
              <a:gd name="connsiteX4" fmla="*/ 5857600 w 5857600"/>
              <a:gd name="connsiteY4" fmla="*/ 6216266 h 12197193"/>
              <a:gd name="connsiteX5" fmla="*/ 5832040 w 5857600"/>
              <a:gd name="connsiteY5" fmla="*/ 9644623 h 12197193"/>
              <a:gd name="connsiteX6" fmla="*/ 5833700 w 5857600"/>
              <a:gd name="connsiteY6" fmla="*/ 9640799 h 12197193"/>
              <a:gd name="connsiteX7" fmla="*/ 5826053 w 5857600"/>
              <a:gd name="connsiteY7" fmla="*/ 10977529 h 12197193"/>
              <a:gd name="connsiteX8" fmla="*/ 5821747 w 5857600"/>
              <a:gd name="connsiteY8" fmla="*/ 10974732 h 12197193"/>
              <a:gd name="connsiteX9" fmla="*/ 5821747 w 5857600"/>
              <a:gd name="connsiteY9" fmla="*/ 11689193 h 12197193"/>
              <a:gd name="connsiteX10" fmla="*/ 5821747 w 5857600"/>
              <a:gd name="connsiteY10" fmla="*/ 12197193 h 12197193"/>
              <a:gd name="connsiteX11" fmla="*/ 1 w 5857600"/>
              <a:gd name="connsiteY11" fmla="*/ 12197193 h 12197193"/>
              <a:gd name="connsiteX12" fmla="*/ 1 w 5857600"/>
              <a:gd name="connsiteY12" fmla="*/ 11866124 h 12197193"/>
              <a:gd name="connsiteX13" fmla="*/ 0 w 5857600"/>
              <a:gd name="connsiteY13" fmla="*/ 11866124 h 12197193"/>
              <a:gd name="connsiteX14" fmla="*/ 1 w 5857600"/>
              <a:gd name="connsiteY14" fmla="*/ 242743 h 12197193"/>
              <a:gd name="connsiteX15" fmla="*/ 2 w 5857600"/>
              <a:gd name="connsiteY15" fmla="*/ 242743 h 12197193"/>
              <a:gd name="connsiteX16" fmla="*/ 2 w 5857600"/>
              <a:gd name="connsiteY16" fmla="*/ 0 h 12197193"/>
              <a:gd name="connsiteX17" fmla="*/ 5833698 w 5857600"/>
              <a:gd name="connsiteY17" fmla="*/ 0 h 12197193"/>
              <a:gd name="connsiteX18" fmla="*/ 5833698 w 5857600"/>
              <a:gd name="connsiteY18" fmla="*/ 4524 h 12197193"/>
              <a:gd name="connsiteX19" fmla="*/ 5834838 w 5857600"/>
              <a:gd name="connsiteY19" fmla="*/ 4400 h 12197193"/>
              <a:gd name="connsiteX20" fmla="*/ 5846399 w 5857600"/>
              <a:gd name="connsiteY20" fmla="*/ 680764 h 12197193"/>
              <a:gd name="connsiteX21" fmla="*/ 5475509 w 5857600"/>
              <a:gd name="connsiteY21" fmla="*/ 485489 h 12197193"/>
              <a:gd name="connsiteX22" fmla="*/ 406401 w 5857600"/>
              <a:gd name="connsiteY22" fmla="*/ 485489 h 12197193"/>
              <a:gd name="connsiteX23" fmla="*/ 406401 w 5857600"/>
              <a:gd name="connsiteY23" fmla="*/ 11689192 h 12197193"/>
              <a:gd name="connsiteX24" fmla="*/ 5415342 w 5857600"/>
              <a:gd name="connsiteY24" fmla="*/ 11689193 h 12197193"/>
              <a:gd name="connsiteX25" fmla="*/ 5415342 w 5857600"/>
              <a:gd name="connsiteY25" fmla="*/ 10935892 h 12197193"/>
              <a:gd name="connsiteX26" fmla="*/ 5430429 w 5857600"/>
              <a:gd name="connsiteY26" fmla="*/ 10935892 h 12197193"/>
              <a:gd name="connsiteX27" fmla="*/ 5426837 w 5857600"/>
              <a:gd name="connsiteY27" fmla="*/ 10934577 h 12197193"/>
              <a:gd name="connsiteX28" fmla="*/ 5456482 w 5857600"/>
              <a:gd name="connsiteY28" fmla="*/ 10864397 h 12197193"/>
              <a:gd name="connsiteX29" fmla="*/ 5688825 w 5857600"/>
              <a:gd name="connsiteY29" fmla="*/ 9974371 h 12197193"/>
              <a:gd name="connsiteX30" fmla="*/ 5693965 w 5857600"/>
              <a:gd name="connsiteY30" fmla="*/ 9962537 h 12197193"/>
              <a:gd name="connsiteX31" fmla="*/ 5415342 w 5857600"/>
              <a:gd name="connsiteY31" fmla="*/ 9417405 h 12197193"/>
              <a:gd name="connsiteX32" fmla="*/ 5427295 w 5857600"/>
              <a:gd name="connsiteY32" fmla="*/ 6491184 h 12197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857600" h="12197193">
                <a:moveTo>
                  <a:pt x="5850500" y="5228086"/>
                </a:moveTo>
                <a:lnTo>
                  <a:pt x="5433849" y="4942640"/>
                </a:lnTo>
                <a:lnTo>
                  <a:pt x="5419821" y="2246683"/>
                </a:lnTo>
                <a:lnTo>
                  <a:pt x="5832188" y="2147784"/>
                </a:lnTo>
                <a:close/>
                <a:moveTo>
                  <a:pt x="5857600" y="6216266"/>
                </a:moveTo>
                <a:lnTo>
                  <a:pt x="5832040" y="9644623"/>
                </a:lnTo>
                <a:lnTo>
                  <a:pt x="5833700" y="9640799"/>
                </a:lnTo>
                <a:lnTo>
                  <a:pt x="5826053" y="10977529"/>
                </a:lnTo>
                <a:lnTo>
                  <a:pt x="5821747" y="10974732"/>
                </a:lnTo>
                <a:lnTo>
                  <a:pt x="5821747" y="11689193"/>
                </a:lnTo>
                <a:lnTo>
                  <a:pt x="5821747" y="12197193"/>
                </a:lnTo>
                <a:lnTo>
                  <a:pt x="1" y="12197193"/>
                </a:lnTo>
                <a:lnTo>
                  <a:pt x="1" y="11866124"/>
                </a:lnTo>
                <a:lnTo>
                  <a:pt x="0" y="11866124"/>
                </a:lnTo>
                <a:lnTo>
                  <a:pt x="1" y="242743"/>
                </a:lnTo>
                <a:lnTo>
                  <a:pt x="2" y="242743"/>
                </a:lnTo>
                <a:lnTo>
                  <a:pt x="2" y="0"/>
                </a:lnTo>
                <a:lnTo>
                  <a:pt x="5833698" y="0"/>
                </a:lnTo>
                <a:lnTo>
                  <a:pt x="5833698" y="4524"/>
                </a:lnTo>
                <a:lnTo>
                  <a:pt x="5834838" y="4400"/>
                </a:lnTo>
                <a:lnTo>
                  <a:pt x="5846399" y="680764"/>
                </a:lnTo>
                <a:lnTo>
                  <a:pt x="5475509" y="485489"/>
                </a:lnTo>
                <a:lnTo>
                  <a:pt x="406401" y="485489"/>
                </a:lnTo>
                <a:lnTo>
                  <a:pt x="406401" y="11689192"/>
                </a:lnTo>
                <a:lnTo>
                  <a:pt x="5415342" y="11689193"/>
                </a:lnTo>
                <a:lnTo>
                  <a:pt x="5415342" y="10935892"/>
                </a:lnTo>
                <a:lnTo>
                  <a:pt x="5430429" y="10935892"/>
                </a:lnTo>
                <a:lnTo>
                  <a:pt x="5426837" y="10934577"/>
                </a:lnTo>
                <a:cubicBezTo>
                  <a:pt x="5406636" y="10922870"/>
                  <a:pt x="5411010" y="10901820"/>
                  <a:pt x="5456482" y="10864397"/>
                </a:cubicBezTo>
                <a:cubicBezTo>
                  <a:pt x="5626646" y="10572732"/>
                  <a:pt x="5617037" y="10664831"/>
                  <a:pt x="5688825" y="9974371"/>
                </a:cubicBezTo>
                <a:lnTo>
                  <a:pt x="5693965" y="9962537"/>
                </a:lnTo>
                <a:lnTo>
                  <a:pt x="5415342" y="9417405"/>
                </a:lnTo>
                <a:lnTo>
                  <a:pt x="5427295" y="6491184"/>
                </a:lnTo>
                <a:close/>
              </a:path>
            </a:pathLst>
          </a:custGeom>
          <a:solidFill>
            <a:srgbClr val="00B1C4"/>
          </a:solidFill>
          <a:ln>
            <a:solidFill>
              <a:srgbClr val="00B1C4"/>
            </a:solidFill>
          </a:ln>
        </p:spPr>
        <p:style>
          <a:lnRef idx="1">
            <a:schemeClr val="accent1"/>
          </a:lnRef>
          <a:fillRef idx="2">
            <a:schemeClr val="accent1"/>
          </a:fillRef>
          <a:effectRef idx="1">
            <a:schemeClr val="accent1"/>
          </a:effectRef>
          <a:fontRef idx="minor">
            <a:schemeClr val="dk1"/>
          </a:fontRef>
        </p:style>
        <p:txBody>
          <a:bodyPr wrap="square" lIns="0" tIns="0" rIns="0" bIns="0" rtlCol="0" anchor="ctr">
            <a:noAutofit/>
          </a:bodyPr>
          <a:lstStyle/>
          <a:p>
            <a:pPr algn="ctr"/>
            <a:endParaRPr lang="en-GB" dirty="0">
              <a:solidFill>
                <a:schemeClr val="bg1"/>
              </a:solidFill>
            </a:endParaRPr>
          </a:p>
        </p:txBody>
      </p:sp>
      <p:sp>
        <p:nvSpPr>
          <p:cNvPr id="39" name="Rectangle 31">
            <a:extLst>
              <a:ext uri="{FF2B5EF4-FFF2-40B4-BE49-F238E27FC236}">
                <a16:creationId xmlns:a16="http://schemas.microsoft.com/office/drawing/2014/main" id="{9264CF7B-9F90-29F7-7E1F-E1F827EDC948}"/>
              </a:ext>
            </a:extLst>
          </p:cNvPr>
          <p:cNvSpPr/>
          <p:nvPr/>
        </p:nvSpPr>
        <p:spPr>
          <a:xfrm rot="21096418">
            <a:off x="10395710" y="649575"/>
            <a:ext cx="496189" cy="170446"/>
          </a:xfrm>
          <a:custGeom>
            <a:avLst/>
            <a:gdLst>
              <a:gd name="connsiteX0" fmla="*/ 0 w 2991962"/>
              <a:gd name="connsiteY0" fmla="*/ 0 h 406400"/>
              <a:gd name="connsiteX1" fmla="*/ 2991962 w 2991962"/>
              <a:gd name="connsiteY1" fmla="*/ 0 h 406400"/>
              <a:gd name="connsiteX2" fmla="*/ 2991962 w 2991962"/>
              <a:gd name="connsiteY2" fmla="*/ 406400 h 406400"/>
              <a:gd name="connsiteX3" fmla="*/ 0 w 2991962"/>
              <a:gd name="connsiteY3" fmla="*/ 406400 h 406400"/>
              <a:gd name="connsiteX4" fmla="*/ 0 w 2991962"/>
              <a:gd name="connsiteY4" fmla="*/ 0 h 406400"/>
              <a:gd name="connsiteX0" fmla="*/ 0 w 3266880"/>
              <a:gd name="connsiteY0" fmla="*/ 0 h 430305"/>
              <a:gd name="connsiteX1" fmla="*/ 3266880 w 3266880"/>
              <a:gd name="connsiteY1" fmla="*/ 23905 h 430305"/>
              <a:gd name="connsiteX2" fmla="*/ 3266880 w 3266880"/>
              <a:gd name="connsiteY2" fmla="*/ 430305 h 430305"/>
              <a:gd name="connsiteX3" fmla="*/ 274918 w 3266880"/>
              <a:gd name="connsiteY3" fmla="*/ 430305 h 430305"/>
              <a:gd name="connsiteX4" fmla="*/ 0 w 3266880"/>
              <a:gd name="connsiteY4" fmla="*/ 0 h 430305"/>
              <a:gd name="connsiteX0" fmla="*/ 0 w 4007963"/>
              <a:gd name="connsiteY0" fmla="*/ 0 h 430305"/>
              <a:gd name="connsiteX1" fmla="*/ 4007963 w 4007963"/>
              <a:gd name="connsiteY1" fmla="*/ 29882 h 430305"/>
              <a:gd name="connsiteX2" fmla="*/ 3266880 w 4007963"/>
              <a:gd name="connsiteY2" fmla="*/ 430305 h 430305"/>
              <a:gd name="connsiteX3" fmla="*/ 274918 w 4007963"/>
              <a:gd name="connsiteY3" fmla="*/ 430305 h 430305"/>
              <a:gd name="connsiteX4" fmla="*/ 0 w 4007963"/>
              <a:gd name="connsiteY4" fmla="*/ 0 h 430305"/>
              <a:gd name="connsiteX0" fmla="*/ 0 w 4007963"/>
              <a:gd name="connsiteY0" fmla="*/ 0 h 430305"/>
              <a:gd name="connsiteX1" fmla="*/ 4007963 w 4007963"/>
              <a:gd name="connsiteY1" fmla="*/ 29882 h 430305"/>
              <a:gd name="connsiteX2" fmla="*/ 3201139 w 4007963"/>
              <a:gd name="connsiteY2" fmla="*/ 418352 h 430305"/>
              <a:gd name="connsiteX3" fmla="*/ 274918 w 4007963"/>
              <a:gd name="connsiteY3" fmla="*/ 430305 h 430305"/>
              <a:gd name="connsiteX4" fmla="*/ 0 w 4007963"/>
              <a:gd name="connsiteY4" fmla="*/ 0 h 430305"/>
              <a:gd name="connsiteX0" fmla="*/ 0 w 4007963"/>
              <a:gd name="connsiteY0" fmla="*/ 0 h 442258"/>
              <a:gd name="connsiteX1" fmla="*/ 4007963 w 4007963"/>
              <a:gd name="connsiteY1" fmla="*/ 29882 h 442258"/>
              <a:gd name="connsiteX2" fmla="*/ 3201139 w 4007963"/>
              <a:gd name="connsiteY2" fmla="*/ 442258 h 442258"/>
              <a:gd name="connsiteX3" fmla="*/ 274918 w 4007963"/>
              <a:gd name="connsiteY3" fmla="*/ 430305 h 442258"/>
              <a:gd name="connsiteX4" fmla="*/ 0 w 4007963"/>
              <a:gd name="connsiteY4" fmla="*/ 0 h 442258"/>
              <a:gd name="connsiteX0" fmla="*/ 0 w 3201138"/>
              <a:gd name="connsiteY0" fmla="*/ 0 h 442258"/>
              <a:gd name="connsiteX1" fmla="*/ 2650314 w 3201138"/>
              <a:gd name="connsiteY1" fmla="*/ 114177 h 442258"/>
              <a:gd name="connsiteX2" fmla="*/ 3201139 w 3201138"/>
              <a:gd name="connsiteY2" fmla="*/ 442258 h 442258"/>
              <a:gd name="connsiteX3" fmla="*/ 274918 w 3201138"/>
              <a:gd name="connsiteY3" fmla="*/ 430305 h 442258"/>
              <a:gd name="connsiteX4" fmla="*/ 0 w 3201138"/>
              <a:gd name="connsiteY4" fmla="*/ 0 h 442258"/>
              <a:gd name="connsiteX0" fmla="*/ 0 w 3201138"/>
              <a:gd name="connsiteY0" fmla="*/ 0 h 442258"/>
              <a:gd name="connsiteX1" fmla="*/ 2737504 w 3201138"/>
              <a:gd name="connsiteY1" fmla="*/ 151642 h 442258"/>
              <a:gd name="connsiteX2" fmla="*/ 3201139 w 3201138"/>
              <a:gd name="connsiteY2" fmla="*/ 442258 h 442258"/>
              <a:gd name="connsiteX3" fmla="*/ 274918 w 3201138"/>
              <a:gd name="connsiteY3" fmla="*/ 430305 h 442258"/>
              <a:gd name="connsiteX4" fmla="*/ 0 w 3201138"/>
              <a:gd name="connsiteY4" fmla="*/ 0 h 442258"/>
              <a:gd name="connsiteX0" fmla="*/ 0 w 3064128"/>
              <a:gd name="connsiteY0" fmla="*/ 0 h 414158"/>
              <a:gd name="connsiteX1" fmla="*/ 2600494 w 3064128"/>
              <a:gd name="connsiteY1" fmla="*/ 123542 h 414158"/>
              <a:gd name="connsiteX2" fmla="*/ 3064129 w 3064128"/>
              <a:gd name="connsiteY2" fmla="*/ 414158 h 414158"/>
              <a:gd name="connsiteX3" fmla="*/ 137908 w 3064128"/>
              <a:gd name="connsiteY3" fmla="*/ 402205 h 414158"/>
              <a:gd name="connsiteX4" fmla="*/ 0 w 3064128"/>
              <a:gd name="connsiteY4" fmla="*/ 0 h 414158"/>
              <a:gd name="connsiteX0" fmla="*/ 0 w 3064128"/>
              <a:gd name="connsiteY0" fmla="*/ 0 h 414158"/>
              <a:gd name="connsiteX1" fmla="*/ 2600494 w 3064128"/>
              <a:gd name="connsiteY1" fmla="*/ 123542 h 414158"/>
              <a:gd name="connsiteX2" fmla="*/ 3064129 w 3064128"/>
              <a:gd name="connsiteY2" fmla="*/ 414158 h 414158"/>
              <a:gd name="connsiteX3" fmla="*/ 137908 w 3064128"/>
              <a:gd name="connsiteY3" fmla="*/ 402205 h 414158"/>
              <a:gd name="connsiteX4" fmla="*/ 0 w 3064128"/>
              <a:gd name="connsiteY4" fmla="*/ 0 h 414158"/>
              <a:gd name="connsiteX0" fmla="*/ 497322 w 2926220"/>
              <a:gd name="connsiteY0" fmla="*/ 0 h 367326"/>
              <a:gd name="connsiteX1" fmla="*/ 2462586 w 2926220"/>
              <a:gd name="connsiteY1" fmla="*/ 76710 h 367326"/>
              <a:gd name="connsiteX2" fmla="*/ 2926221 w 2926220"/>
              <a:gd name="connsiteY2" fmla="*/ 367326 h 367326"/>
              <a:gd name="connsiteX3" fmla="*/ 0 w 2926220"/>
              <a:gd name="connsiteY3" fmla="*/ 355373 h 367326"/>
              <a:gd name="connsiteX4" fmla="*/ 497322 w 2926220"/>
              <a:gd name="connsiteY4" fmla="*/ 0 h 367326"/>
              <a:gd name="connsiteX0" fmla="*/ 497322 w 2926220"/>
              <a:gd name="connsiteY0" fmla="*/ 83725 h 451051"/>
              <a:gd name="connsiteX1" fmla="*/ 2462586 w 2926220"/>
              <a:gd name="connsiteY1" fmla="*/ 160435 h 451051"/>
              <a:gd name="connsiteX2" fmla="*/ 2926221 w 2926220"/>
              <a:gd name="connsiteY2" fmla="*/ 451051 h 451051"/>
              <a:gd name="connsiteX3" fmla="*/ 0 w 2926220"/>
              <a:gd name="connsiteY3" fmla="*/ 439098 h 451051"/>
              <a:gd name="connsiteX4" fmla="*/ 497322 w 2926220"/>
              <a:gd name="connsiteY4" fmla="*/ 83725 h 451051"/>
              <a:gd name="connsiteX0" fmla="*/ 285578 w 2926220"/>
              <a:gd name="connsiteY0" fmla="*/ 74296 h 535284"/>
              <a:gd name="connsiteX1" fmla="*/ 2462586 w 2926220"/>
              <a:gd name="connsiteY1" fmla="*/ 244668 h 535284"/>
              <a:gd name="connsiteX2" fmla="*/ 2926221 w 2926220"/>
              <a:gd name="connsiteY2" fmla="*/ 535284 h 535284"/>
              <a:gd name="connsiteX3" fmla="*/ 0 w 2926220"/>
              <a:gd name="connsiteY3" fmla="*/ 523331 h 535284"/>
              <a:gd name="connsiteX4" fmla="*/ 285578 w 2926220"/>
              <a:gd name="connsiteY4" fmla="*/ 74296 h 535284"/>
              <a:gd name="connsiteX0" fmla="*/ 285578 w 2926220"/>
              <a:gd name="connsiteY0" fmla="*/ 64765 h 647514"/>
              <a:gd name="connsiteX1" fmla="*/ 2462586 w 2926220"/>
              <a:gd name="connsiteY1" fmla="*/ 356898 h 647514"/>
              <a:gd name="connsiteX2" fmla="*/ 2926221 w 2926220"/>
              <a:gd name="connsiteY2" fmla="*/ 647514 h 647514"/>
              <a:gd name="connsiteX3" fmla="*/ 0 w 2926220"/>
              <a:gd name="connsiteY3" fmla="*/ 635561 h 647514"/>
              <a:gd name="connsiteX4" fmla="*/ 285578 w 2926220"/>
              <a:gd name="connsiteY4" fmla="*/ 64765 h 647514"/>
              <a:gd name="connsiteX0" fmla="*/ 285578 w 2926220"/>
              <a:gd name="connsiteY0" fmla="*/ 64767 h 647516"/>
              <a:gd name="connsiteX1" fmla="*/ 2462586 w 2926220"/>
              <a:gd name="connsiteY1" fmla="*/ 356900 h 647516"/>
              <a:gd name="connsiteX2" fmla="*/ 2926221 w 2926220"/>
              <a:gd name="connsiteY2" fmla="*/ 647516 h 647516"/>
              <a:gd name="connsiteX3" fmla="*/ 0 w 2926220"/>
              <a:gd name="connsiteY3" fmla="*/ 635563 h 647516"/>
              <a:gd name="connsiteX4" fmla="*/ 285578 w 2926220"/>
              <a:gd name="connsiteY4" fmla="*/ 64767 h 647516"/>
              <a:gd name="connsiteX0" fmla="*/ 285578 w 2926220"/>
              <a:gd name="connsiteY0" fmla="*/ 64767 h 647516"/>
              <a:gd name="connsiteX1" fmla="*/ 2462586 w 2926220"/>
              <a:gd name="connsiteY1" fmla="*/ 356900 h 647516"/>
              <a:gd name="connsiteX2" fmla="*/ 2926221 w 2926220"/>
              <a:gd name="connsiteY2" fmla="*/ 647516 h 647516"/>
              <a:gd name="connsiteX3" fmla="*/ 0 w 2926220"/>
              <a:gd name="connsiteY3" fmla="*/ 635563 h 647516"/>
              <a:gd name="connsiteX4" fmla="*/ 285578 w 2926220"/>
              <a:gd name="connsiteY4" fmla="*/ 64767 h 647516"/>
              <a:gd name="connsiteX0" fmla="*/ 285578 w 2926220"/>
              <a:gd name="connsiteY0" fmla="*/ 64767 h 647516"/>
              <a:gd name="connsiteX1" fmla="*/ 2537319 w 2926220"/>
              <a:gd name="connsiteY1" fmla="*/ 394365 h 647516"/>
              <a:gd name="connsiteX2" fmla="*/ 2926221 w 2926220"/>
              <a:gd name="connsiteY2" fmla="*/ 647516 h 647516"/>
              <a:gd name="connsiteX3" fmla="*/ 0 w 2926220"/>
              <a:gd name="connsiteY3" fmla="*/ 635563 h 647516"/>
              <a:gd name="connsiteX4" fmla="*/ 285578 w 2926220"/>
              <a:gd name="connsiteY4" fmla="*/ 64767 h 647516"/>
              <a:gd name="connsiteX0" fmla="*/ 285578 w 2926220"/>
              <a:gd name="connsiteY0" fmla="*/ 64767 h 647516"/>
              <a:gd name="connsiteX1" fmla="*/ 2537319 w 2926220"/>
              <a:gd name="connsiteY1" fmla="*/ 394365 h 647516"/>
              <a:gd name="connsiteX2" fmla="*/ 2926221 w 2926220"/>
              <a:gd name="connsiteY2" fmla="*/ 647516 h 647516"/>
              <a:gd name="connsiteX3" fmla="*/ 0 w 2926220"/>
              <a:gd name="connsiteY3" fmla="*/ 635563 h 647516"/>
              <a:gd name="connsiteX4" fmla="*/ 285578 w 2926220"/>
              <a:gd name="connsiteY4" fmla="*/ 64767 h 647516"/>
              <a:gd name="connsiteX0" fmla="*/ 285578 w 2926220"/>
              <a:gd name="connsiteY0" fmla="*/ 64767 h 647516"/>
              <a:gd name="connsiteX1" fmla="*/ 2537319 w 2926220"/>
              <a:gd name="connsiteY1" fmla="*/ 366267 h 647516"/>
              <a:gd name="connsiteX2" fmla="*/ 2926221 w 2926220"/>
              <a:gd name="connsiteY2" fmla="*/ 647516 h 647516"/>
              <a:gd name="connsiteX3" fmla="*/ 0 w 2926220"/>
              <a:gd name="connsiteY3" fmla="*/ 635563 h 647516"/>
              <a:gd name="connsiteX4" fmla="*/ 285578 w 2926220"/>
              <a:gd name="connsiteY4" fmla="*/ 64767 h 647516"/>
              <a:gd name="connsiteX0" fmla="*/ 285578 w 2926220"/>
              <a:gd name="connsiteY0" fmla="*/ 64767 h 647516"/>
              <a:gd name="connsiteX1" fmla="*/ 1579735 w 2926220"/>
              <a:gd name="connsiteY1" fmla="*/ 421074 h 647516"/>
              <a:gd name="connsiteX2" fmla="*/ 2926221 w 2926220"/>
              <a:gd name="connsiteY2" fmla="*/ 647516 h 647516"/>
              <a:gd name="connsiteX3" fmla="*/ 0 w 2926220"/>
              <a:gd name="connsiteY3" fmla="*/ 635563 h 647516"/>
              <a:gd name="connsiteX4" fmla="*/ 285578 w 2926220"/>
              <a:gd name="connsiteY4" fmla="*/ 64767 h 647516"/>
              <a:gd name="connsiteX0" fmla="*/ 285578 w 2926220"/>
              <a:gd name="connsiteY0" fmla="*/ 64767 h 647516"/>
              <a:gd name="connsiteX1" fmla="*/ 849695 w 2926220"/>
              <a:gd name="connsiteY1" fmla="*/ 318310 h 647516"/>
              <a:gd name="connsiteX2" fmla="*/ 2926221 w 2926220"/>
              <a:gd name="connsiteY2" fmla="*/ 647516 h 647516"/>
              <a:gd name="connsiteX3" fmla="*/ 0 w 2926220"/>
              <a:gd name="connsiteY3" fmla="*/ 635563 h 647516"/>
              <a:gd name="connsiteX4" fmla="*/ 285578 w 2926220"/>
              <a:gd name="connsiteY4" fmla="*/ 64767 h 647516"/>
              <a:gd name="connsiteX0" fmla="*/ 588971 w 2926220"/>
              <a:gd name="connsiteY0" fmla="*/ 69810 h 584048"/>
              <a:gd name="connsiteX1" fmla="*/ 849695 w 2926220"/>
              <a:gd name="connsiteY1" fmla="*/ 254842 h 584048"/>
              <a:gd name="connsiteX2" fmla="*/ 2926221 w 2926220"/>
              <a:gd name="connsiteY2" fmla="*/ 584048 h 584048"/>
              <a:gd name="connsiteX3" fmla="*/ 0 w 2926220"/>
              <a:gd name="connsiteY3" fmla="*/ 572095 h 584048"/>
              <a:gd name="connsiteX4" fmla="*/ 588971 w 2926220"/>
              <a:gd name="connsiteY4" fmla="*/ 69810 h 584048"/>
              <a:gd name="connsiteX0" fmla="*/ 43432 w 4115710"/>
              <a:gd name="connsiteY0" fmla="*/ 70358 h 577746"/>
              <a:gd name="connsiteX1" fmla="*/ 2039185 w 4115710"/>
              <a:gd name="connsiteY1" fmla="*/ 248540 h 577746"/>
              <a:gd name="connsiteX2" fmla="*/ 4115711 w 4115710"/>
              <a:gd name="connsiteY2" fmla="*/ 577746 h 577746"/>
              <a:gd name="connsiteX3" fmla="*/ 1189490 w 4115710"/>
              <a:gd name="connsiteY3" fmla="*/ 565793 h 577746"/>
              <a:gd name="connsiteX4" fmla="*/ 43432 w 4115710"/>
              <a:gd name="connsiteY4" fmla="*/ 70358 h 577746"/>
              <a:gd name="connsiteX0" fmla="*/ 43432 w 4115710"/>
              <a:gd name="connsiteY0" fmla="*/ 70356 h 577744"/>
              <a:gd name="connsiteX1" fmla="*/ 3442379 w 4115710"/>
              <a:gd name="connsiteY1" fmla="*/ 303345 h 577744"/>
              <a:gd name="connsiteX2" fmla="*/ 4115711 w 4115710"/>
              <a:gd name="connsiteY2" fmla="*/ 577744 h 577744"/>
              <a:gd name="connsiteX3" fmla="*/ 1189490 w 4115710"/>
              <a:gd name="connsiteY3" fmla="*/ 565791 h 577744"/>
              <a:gd name="connsiteX4" fmla="*/ 43432 w 4115710"/>
              <a:gd name="connsiteY4" fmla="*/ 70356 h 577744"/>
              <a:gd name="connsiteX0" fmla="*/ 43432 w 4115710"/>
              <a:gd name="connsiteY0" fmla="*/ 70356 h 577744"/>
              <a:gd name="connsiteX1" fmla="*/ 3442379 w 4115710"/>
              <a:gd name="connsiteY1" fmla="*/ 303345 h 577744"/>
              <a:gd name="connsiteX2" fmla="*/ 4115711 w 4115710"/>
              <a:gd name="connsiteY2" fmla="*/ 577744 h 577744"/>
              <a:gd name="connsiteX3" fmla="*/ 1189490 w 4115710"/>
              <a:gd name="connsiteY3" fmla="*/ 565791 h 577744"/>
              <a:gd name="connsiteX4" fmla="*/ 43432 w 4115710"/>
              <a:gd name="connsiteY4" fmla="*/ 70356 h 577744"/>
              <a:gd name="connsiteX0" fmla="*/ 247656 w 2926220"/>
              <a:gd name="connsiteY0" fmla="*/ 64301 h 653900"/>
              <a:gd name="connsiteX1" fmla="*/ 2252889 w 2926220"/>
              <a:gd name="connsiteY1" fmla="*/ 379501 h 653900"/>
              <a:gd name="connsiteX2" fmla="*/ 2926221 w 2926220"/>
              <a:gd name="connsiteY2" fmla="*/ 653900 h 653900"/>
              <a:gd name="connsiteX3" fmla="*/ 0 w 2926220"/>
              <a:gd name="connsiteY3" fmla="*/ 641947 h 653900"/>
              <a:gd name="connsiteX4" fmla="*/ 247656 w 2926220"/>
              <a:gd name="connsiteY4" fmla="*/ 64301 h 653900"/>
              <a:gd name="connsiteX0" fmla="*/ 247656 w 2926220"/>
              <a:gd name="connsiteY0" fmla="*/ 64301 h 653900"/>
              <a:gd name="connsiteX1" fmla="*/ 2196002 w 2926220"/>
              <a:gd name="connsiteY1" fmla="*/ 427457 h 653900"/>
              <a:gd name="connsiteX2" fmla="*/ 2926221 w 2926220"/>
              <a:gd name="connsiteY2" fmla="*/ 653900 h 653900"/>
              <a:gd name="connsiteX3" fmla="*/ 0 w 2926220"/>
              <a:gd name="connsiteY3" fmla="*/ 641947 h 653900"/>
              <a:gd name="connsiteX4" fmla="*/ 247656 w 2926220"/>
              <a:gd name="connsiteY4" fmla="*/ 64301 h 65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220" h="653900">
                <a:moveTo>
                  <a:pt x="247656" y="64301"/>
                </a:moveTo>
                <a:cubicBezTo>
                  <a:pt x="886137" y="330270"/>
                  <a:pt x="684523" y="315251"/>
                  <a:pt x="2196002" y="427457"/>
                </a:cubicBezTo>
                <a:lnTo>
                  <a:pt x="2926221" y="653900"/>
                </a:lnTo>
                <a:lnTo>
                  <a:pt x="0" y="641947"/>
                </a:lnTo>
                <a:cubicBezTo>
                  <a:pt x="165774" y="523489"/>
                  <a:pt x="-80038" y="-219988"/>
                  <a:pt x="247656" y="64301"/>
                </a:cubicBezTo>
                <a:close/>
              </a:path>
            </a:pathLst>
          </a:custGeom>
          <a:solidFill>
            <a:srgbClr val="00B1C4"/>
          </a:solidFill>
          <a:ln>
            <a:solidFill>
              <a:srgbClr val="00B1C4"/>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spTree>
    <p:extLst>
      <p:ext uri="{BB962C8B-B14F-4D97-AF65-F5344CB8AC3E}">
        <p14:creationId xmlns:p14="http://schemas.microsoft.com/office/powerpoint/2010/main" val="1085425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EC604C8-DA25-4E17-AD53-C03B5779E127}"/>
              </a:ext>
            </a:extLst>
          </p:cNvPr>
          <p:cNvSpPr>
            <a:spLocks noGrp="1"/>
          </p:cNvSpPr>
          <p:nvPr>
            <p:ph type="title"/>
          </p:nvPr>
        </p:nvSpPr>
        <p:spPr/>
        <p:txBody>
          <a:bodyPr/>
          <a:lstStyle/>
          <a:p>
            <a:r>
              <a:rPr lang="en-GB" dirty="0"/>
              <a:t>Top genres  and post-film actions across a young audience</a:t>
            </a:r>
          </a:p>
        </p:txBody>
      </p:sp>
      <p:sp>
        <p:nvSpPr>
          <p:cNvPr id="8" name="Text Placeholder 7">
            <a:extLst>
              <a:ext uri="{FF2B5EF4-FFF2-40B4-BE49-F238E27FC236}">
                <a16:creationId xmlns:a16="http://schemas.microsoft.com/office/drawing/2014/main" id="{0407E781-6E09-4506-8909-A0C417AAC360}"/>
              </a:ext>
            </a:extLst>
          </p:cNvPr>
          <p:cNvSpPr>
            <a:spLocks noGrp="1"/>
          </p:cNvSpPr>
          <p:nvPr>
            <p:ph type="body" sz="quarter" idx="14"/>
          </p:nvPr>
        </p:nvSpPr>
        <p:spPr>
          <a:xfrm>
            <a:off x="284748" y="664058"/>
            <a:ext cx="11145252" cy="436608"/>
          </a:xfrm>
        </p:spPr>
        <p:txBody>
          <a:bodyPr/>
          <a:lstStyle/>
          <a:p>
            <a:pPr>
              <a:lnSpc>
                <a:spcPct val="100000"/>
              </a:lnSpc>
            </a:pPr>
            <a:r>
              <a:rPr lang="en-GB" dirty="0"/>
              <a:t>Younger adults are more likely to be inspired to buy products after watching their film</a:t>
            </a:r>
          </a:p>
        </p:txBody>
      </p:sp>
      <p:sp>
        <p:nvSpPr>
          <p:cNvPr id="7" name="Text Placeholder 6">
            <a:extLst>
              <a:ext uri="{FF2B5EF4-FFF2-40B4-BE49-F238E27FC236}">
                <a16:creationId xmlns:a16="http://schemas.microsoft.com/office/drawing/2014/main" id="{8A24AF01-3C66-45E1-8929-C945A42D6538}"/>
              </a:ext>
            </a:extLst>
          </p:cNvPr>
          <p:cNvSpPr>
            <a:spLocks noGrp="1"/>
          </p:cNvSpPr>
          <p:nvPr>
            <p:ph type="body" sz="quarter" idx="11"/>
          </p:nvPr>
        </p:nvSpPr>
        <p:spPr>
          <a:xfrm>
            <a:off x="6745316" y="7189564"/>
            <a:ext cx="6562409" cy="246221"/>
          </a:xfrm>
        </p:spPr>
        <p:txBody>
          <a:bodyPr/>
          <a:lstStyle/>
          <a:p>
            <a:pPr>
              <a:lnSpc>
                <a:spcPct val="100000"/>
              </a:lnSpc>
            </a:pPr>
            <a:r>
              <a:rPr lang="en-GB" dirty="0"/>
              <a:t>Source: TGI GB 2022, Index 1634 adults vs all adults</a:t>
            </a:r>
          </a:p>
          <a:p>
            <a:pPr>
              <a:lnSpc>
                <a:spcPct val="100000"/>
              </a:lnSpc>
            </a:pPr>
            <a:r>
              <a:rPr lang="en-GB" dirty="0"/>
              <a:t>FAME 2021, Index vs all respondents</a:t>
            </a:r>
          </a:p>
        </p:txBody>
      </p:sp>
      <p:cxnSp>
        <p:nvCxnSpPr>
          <p:cNvPr id="4" name="Straight Connector 3">
            <a:extLst>
              <a:ext uri="{FF2B5EF4-FFF2-40B4-BE49-F238E27FC236}">
                <a16:creationId xmlns:a16="http://schemas.microsoft.com/office/drawing/2014/main" id="{954EDECD-F295-DD9D-D929-8866BF8AB52A}"/>
              </a:ext>
            </a:extLst>
          </p:cNvPr>
          <p:cNvCxnSpPr>
            <a:cxnSpLocks/>
          </p:cNvCxnSpPr>
          <p:nvPr/>
        </p:nvCxnSpPr>
        <p:spPr>
          <a:xfrm>
            <a:off x="489528" y="4020776"/>
            <a:ext cx="12284363" cy="0"/>
          </a:xfrm>
          <a:prstGeom prst="line">
            <a:avLst/>
          </a:prstGeom>
        </p:spPr>
        <p:style>
          <a:lnRef idx="1">
            <a:schemeClr val="accent5"/>
          </a:lnRef>
          <a:fillRef idx="0">
            <a:schemeClr val="accent5"/>
          </a:fillRef>
          <a:effectRef idx="0">
            <a:schemeClr val="accent5"/>
          </a:effectRef>
          <a:fontRef idx="minor">
            <a:schemeClr val="tx1"/>
          </a:fontRef>
        </p:style>
      </p:cxnSp>
      <p:sp>
        <p:nvSpPr>
          <p:cNvPr id="10" name="Content Placeholder 2">
            <a:extLst>
              <a:ext uri="{FF2B5EF4-FFF2-40B4-BE49-F238E27FC236}">
                <a16:creationId xmlns:a16="http://schemas.microsoft.com/office/drawing/2014/main" id="{DC9833B1-AAB9-EEB5-D230-FA6696F055AE}"/>
              </a:ext>
            </a:extLst>
          </p:cNvPr>
          <p:cNvSpPr txBox="1">
            <a:spLocks/>
          </p:cNvSpPr>
          <p:nvPr/>
        </p:nvSpPr>
        <p:spPr bwMode="gray">
          <a:xfrm>
            <a:off x="489528" y="1678392"/>
            <a:ext cx="2330036"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1" algn="r">
              <a:lnSpc>
                <a:spcPct val="100000"/>
              </a:lnSpc>
            </a:pPr>
            <a:r>
              <a:rPr lang="en-GB" sz="3200" b="1" dirty="0">
                <a:solidFill>
                  <a:schemeClr val="accent4">
                    <a:lumMod val="75000"/>
                  </a:schemeClr>
                </a:solidFill>
              </a:rPr>
              <a:t>What do they watch?</a:t>
            </a:r>
            <a:r>
              <a:rPr lang="en-GB" sz="1400" dirty="0">
                <a:solidFill>
                  <a:schemeClr val="accent4">
                    <a:lumMod val="75000"/>
                  </a:schemeClr>
                </a:solidFill>
              </a:rPr>
              <a:t> </a:t>
            </a:r>
          </a:p>
        </p:txBody>
      </p:sp>
      <p:sp>
        <p:nvSpPr>
          <p:cNvPr id="11" name="Content Placeholder 2">
            <a:extLst>
              <a:ext uri="{FF2B5EF4-FFF2-40B4-BE49-F238E27FC236}">
                <a16:creationId xmlns:a16="http://schemas.microsoft.com/office/drawing/2014/main" id="{863EF74D-5515-0761-AFEE-96897D882011}"/>
              </a:ext>
            </a:extLst>
          </p:cNvPr>
          <p:cNvSpPr txBox="1">
            <a:spLocks/>
          </p:cNvSpPr>
          <p:nvPr/>
        </p:nvSpPr>
        <p:spPr bwMode="gray">
          <a:xfrm>
            <a:off x="489528" y="4264015"/>
            <a:ext cx="2330036"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1" algn="r">
              <a:lnSpc>
                <a:spcPct val="100000"/>
              </a:lnSpc>
            </a:pPr>
            <a:r>
              <a:rPr lang="en-GB" sz="3200" b="1" dirty="0">
                <a:solidFill>
                  <a:schemeClr val="accent4">
                    <a:lumMod val="75000"/>
                  </a:schemeClr>
                </a:solidFill>
              </a:rPr>
              <a:t>After the film they are more likely to…</a:t>
            </a:r>
            <a:endParaRPr lang="en-GB" sz="1400" dirty="0">
              <a:solidFill>
                <a:schemeClr val="accent4">
                  <a:lumMod val="75000"/>
                </a:schemeClr>
              </a:solidFill>
            </a:endParaRPr>
          </a:p>
        </p:txBody>
      </p:sp>
      <p:sp>
        <p:nvSpPr>
          <p:cNvPr id="12" name="Rectangle 11">
            <a:extLst>
              <a:ext uri="{FF2B5EF4-FFF2-40B4-BE49-F238E27FC236}">
                <a16:creationId xmlns:a16="http://schemas.microsoft.com/office/drawing/2014/main" id="{62DE2716-DDA5-9D5A-92F9-A7BE0454C12C}"/>
              </a:ext>
            </a:extLst>
          </p:cNvPr>
          <p:cNvSpPr/>
          <p:nvPr/>
        </p:nvSpPr>
        <p:spPr>
          <a:xfrm>
            <a:off x="3852393" y="3180624"/>
            <a:ext cx="2347061" cy="496611"/>
          </a:xfrm>
          <a:prstGeom prst="rect">
            <a:avLst/>
          </a:prstGeom>
        </p:spPr>
        <p:txBody>
          <a:bodyPr wrap="square">
            <a:spAutoFit/>
          </a:bodyPr>
          <a:lstStyle/>
          <a:p>
            <a:pPr lvl="0" algn="ctr">
              <a:buClr>
                <a:srgbClr val="FFFFFF"/>
              </a:buClr>
              <a:buSzPct val="100000"/>
            </a:pPr>
            <a:r>
              <a:rPr lang="en-GB" sz="1400" b="1" dirty="0">
                <a:solidFill>
                  <a:schemeClr val="accent6"/>
                </a:solidFill>
              </a:rPr>
              <a:t>Horror</a:t>
            </a:r>
          </a:p>
          <a:p>
            <a:pPr lvl="0" algn="ctr">
              <a:lnSpc>
                <a:spcPct val="150000"/>
              </a:lnSpc>
              <a:buClr>
                <a:srgbClr val="FFFFFF"/>
              </a:buClr>
              <a:buSzPct val="100000"/>
            </a:pPr>
            <a:r>
              <a:rPr lang="en-GB" sz="1400" b="1" baseline="30000" dirty="0">
                <a:solidFill>
                  <a:schemeClr val="accent6"/>
                </a:solidFill>
              </a:rPr>
              <a:t>(Index: 188)</a:t>
            </a:r>
            <a:endParaRPr lang="en-GB" sz="700" b="1" baseline="30000" dirty="0">
              <a:solidFill>
                <a:schemeClr val="accent6"/>
              </a:solidFill>
            </a:endParaRPr>
          </a:p>
        </p:txBody>
      </p:sp>
      <p:sp>
        <p:nvSpPr>
          <p:cNvPr id="15" name="Rectangle 14">
            <a:extLst>
              <a:ext uri="{FF2B5EF4-FFF2-40B4-BE49-F238E27FC236}">
                <a16:creationId xmlns:a16="http://schemas.microsoft.com/office/drawing/2014/main" id="{01E2D133-1D19-17B4-D87E-673CF73446A8}"/>
              </a:ext>
            </a:extLst>
          </p:cNvPr>
          <p:cNvSpPr/>
          <p:nvPr/>
        </p:nvSpPr>
        <p:spPr>
          <a:xfrm>
            <a:off x="6821884" y="3180623"/>
            <a:ext cx="2347061" cy="595035"/>
          </a:xfrm>
          <a:prstGeom prst="rect">
            <a:avLst/>
          </a:prstGeom>
        </p:spPr>
        <p:txBody>
          <a:bodyPr wrap="square">
            <a:spAutoFit/>
          </a:bodyPr>
          <a:lstStyle/>
          <a:p>
            <a:pPr lvl="0" algn="ctr">
              <a:buClr>
                <a:srgbClr val="FFFFFF"/>
              </a:buClr>
              <a:buSzPct val="100000"/>
            </a:pPr>
            <a:r>
              <a:rPr lang="en-GB" sz="1400" b="1" dirty="0">
                <a:solidFill>
                  <a:schemeClr val="accent6"/>
                </a:solidFill>
              </a:rPr>
              <a:t>Action &amp; Adventure</a:t>
            </a:r>
          </a:p>
          <a:p>
            <a:pPr algn="ctr">
              <a:lnSpc>
                <a:spcPct val="150000"/>
              </a:lnSpc>
              <a:buClr>
                <a:srgbClr val="FFFFFF"/>
              </a:buClr>
              <a:buSzPct val="100000"/>
            </a:pPr>
            <a:r>
              <a:rPr lang="en-GB" sz="1400" b="1" baseline="30000" dirty="0">
                <a:solidFill>
                  <a:schemeClr val="accent6"/>
                </a:solidFill>
              </a:rPr>
              <a:t>(Index: 123)</a:t>
            </a:r>
          </a:p>
          <a:p>
            <a:pPr lvl="0" algn="ctr">
              <a:buClr>
                <a:srgbClr val="FFFFFF"/>
              </a:buClr>
              <a:buSzPct val="100000"/>
            </a:pPr>
            <a:endParaRPr lang="en-GB" sz="700" b="1" baseline="30000" dirty="0">
              <a:solidFill>
                <a:schemeClr val="accent6"/>
              </a:solidFill>
            </a:endParaRPr>
          </a:p>
        </p:txBody>
      </p:sp>
      <p:sp>
        <p:nvSpPr>
          <p:cNvPr id="16" name="Rectangle 15">
            <a:extLst>
              <a:ext uri="{FF2B5EF4-FFF2-40B4-BE49-F238E27FC236}">
                <a16:creationId xmlns:a16="http://schemas.microsoft.com/office/drawing/2014/main" id="{E5F33341-80DB-6831-9D96-5BED7CCADCE3}"/>
              </a:ext>
            </a:extLst>
          </p:cNvPr>
          <p:cNvSpPr/>
          <p:nvPr/>
        </p:nvSpPr>
        <p:spPr>
          <a:xfrm>
            <a:off x="9791375" y="3180623"/>
            <a:ext cx="2347061" cy="595035"/>
          </a:xfrm>
          <a:prstGeom prst="rect">
            <a:avLst/>
          </a:prstGeom>
        </p:spPr>
        <p:txBody>
          <a:bodyPr wrap="square">
            <a:spAutoFit/>
          </a:bodyPr>
          <a:lstStyle/>
          <a:p>
            <a:pPr lvl="0" algn="ctr">
              <a:buClr>
                <a:srgbClr val="FFFFFF"/>
              </a:buClr>
              <a:buSzPct val="100000"/>
            </a:pPr>
            <a:r>
              <a:rPr lang="en-GB" sz="1400" b="1" dirty="0">
                <a:solidFill>
                  <a:schemeClr val="accent6"/>
                </a:solidFill>
              </a:rPr>
              <a:t>Superhero</a:t>
            </a:r>
          </a:p>
          <a:p>
            <a:pPr algn="ctr">
              <a:lnSpc>
                <a:spcPct val="150000"/>
              </a:lnSpc>
              <a:buClr>
                <a:srgbClr val="FFFFFF"/>
              </a:buClr>
              <a:buSzPct val="100000"/>
            </a:pPr>
            <a:r>
              <a:rPr lang="en-GB" sz="1400" b="1" baseline="30000" dirty="0">
                <a:solidFill>
                  <a:schemeClr val="accent6"/>
                </a:solidFill>
              </a:rPr>
              <a:t>(Index: 178)</a:t>
            </a:r>
          </a:p>
          <a:p>
            <a:pPr lvl="0" algn="ctr">
              <a:buClr>
                <a:srgbClr val="FFFFFF"/>
              </a:buClr>
              <a:buSzPct val="100000"/>
            </a:pPr>
            <a:endParaRPr lang="en-GB" sz="700" b="1" baseline="30000" dirty="0">
              <a:solidFill>
                <a:schemeClr val="accent6"/>
              </a:solidFill>
            </a:endParaRPr>
          </a:p>
        </p:txBody>
      </p:sp>
      <p:pic>
        <p:nvPicPr>
          <p:cNvPr id="17" name="Picture 16">
            <a:extLst>
              <a:ext uri="{FF2B5EF4-FFF2-40B4-BE49-F238E27FC236}">
                <a16:creationId xmlns:a16="http://schemas.microsoft.com/office/drawing/2014/main" id="{D261D663-EB37-C3D9-B0F0-21502C7D83B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852393" y="1872924"/>
            <a:ext cx="2347061" cy="1195966"/>
          </a:xfrm>
          <a:prstGeom prst="rect">
            <a:avLst/>
          </a:prstGeom>
          <a:effectLst>
            <a:outerShdw blurRad="50800" dist="38100" dir="8100000" algn="tr" rotWithShape="0">
              <a:prstClr val="black">
                <a:alpha val="40000"/>
              </a:prstClr>
            </a:outerShdw>
          </a:effectLst>
        </p:spPr>
      </p:pic>
      <p:pic>
        <p:nvPicPr>
          <p:cNvPr id="18" name="Picture 17">
            <a:extLst>
              <a:ext uri="{FF2B5EF4-FFF2-40B4-BE49-F238E27FC236}">
                <a16:creationId xmlns:a16="http://schemas.microsoft.com/office/drawing/2014/main" id="{597A8BEC-C928-559B-DF8A-4761EEE1796E}"/>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9791374" y="1886236"/>
            <a:ext cx="2347061" cy="1182653"/>
          </a:xfrm>
          <a:prstGeom prst="rect">
            <a:avLst/>
          </a:prstGeom>
          <a:effectLst>
            <a:outerShdw blurRad="50800" dist="38100" dir="8100000" algn="tr" rotWithShape="0">
              <a:prstClr val="black">
                <a:alpha val="40000"/>
              </a:prstClr>
            </a:outerShdw>
          </a:effectLst>
        </p:spPr>
      </p:pic>
      <p:pic>
        <p:nvPicPr>
          <p:cNvPr id="19" name="Picture 18">
            <a:extLst>
              <a:ext uri="{FF2B5EF4-FFF2-40B4-BE49-F238E27FC236}">
                <a16:creationId xmlns:a16="http://schemas.microsoft.com/office/drawing/2014/main" id="{1F42AC09-F48A-2D6D-4B8A-3AD6291833CE}"/>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6821884" y="1872924"/>
            <a:ext cx="2347061" cy="1195964"/>
          </a:xfrm>
          <a:prstGeom prst="rect">
            <a:avLst/>
          </a:prstGeom>
          <a:effectLst>
            <a:outerShdw blurRad="50800" dist="38100" dir="8100000" algn="tr" rotWithShape="0">
              <a:prstClr val="black">
                <a:alpha val="40000"/>
              </a:prstClr>
            </a:outerShdw>
          </a:effectLst>
        </p:spPr>
      </p:pic>
      <p:sp>
        <p:nvSpPr>
          <p:cNvPr id="21" name="Freeform 64">
            <a:extLst>
              <a:ext uri="{FF2B5EF4-FFF2-40B4-BE49-F238E27FC236}">
                <a16:creationId xmlns:a16="http://schemas.microsoft.com/office/drawing/2014/main" id="{0F0A81E0-AA78-AE53-2B47-73AA7AFC4882}"/>
              </a:ext>
            </a:extLst>
          </p:cNvPr>
          <p:cNvSpPr>
            <a:spLocks noEditPoints="1"/>
          </p:cNvSpPr>
          <p:nvPr/>
        </p:nvSpPr>
        <p:spPr bwMode="auto">
          <a:xfrm>
            <a:off x="3938524" y="4504823"/>
            <a:ext cx="818203" cy="800059"/>
          </a:xfrm>
          <a:custGeom>
            <a:avLst/>
            <a:gdLst>
              <a:gd name="T0" fmla="*/ 160 w 726"/>
              <a:gd name="T1" fmla="*/ 62 h 726"/>
              <a:gd name="T2" fmla="*/ 8 w 726"/>
              <a:gd name="T3" fmla="*/ 290 h 726"/>
              <a:gd name="T4" fmla="*/ 44 w 726"/>
              <a:gd name="T5" fmla="*/ 536 h 726"/>
              <a:gd name="T6" fmla="*/ 256 w 726"/>
              <a:gd name="T7" fmla="*/ 710 h 726"/>
              <a:gd name="T8" fmla="*/ 506 w 726"/>
              <a:gd name="T9" fmla="*/ 698 h 726"/>
              <a:gd name="T10" fmla="*/ 698 w 726"/>
              <a:gd name="T11" fmla="*/ 504 h 726"/>
              <a:gd name="T12" fmla="*/ 710 w 726"/>
              <a:gd name="T13" fmla="*/ 254 h 726"/>
              <a:gd name="T14" fmla="*/ 536 w 726"/>
              <a:gd name="T15" fmla="*/ 44 h 726"/>
              <a:gd name="T16" fmla="*/ 144 w 726"/>
              <a:gd name="T17" fmla="*/ 298 h 726"/>
              <a:gd name="T18" fmla="*/ 192 w 726"/>
              <a:gd name="T19" fmla="*/ 218 h 726"/>
              <a:gd name="T20" fmla="*/ 320 w 726"/>
              <a:gd name="T21" fmla="*/ 168 h 726"/>
              <a:gd name="T22" fmla="*/ 488 w 726"/>
              <a:gd name="T23" fmla="*/ 190 h 726"/>
              <a:gd name="T24" fmla="*/ 584 w 726"/>
              <a:gd name="T25" fmla="*/ 298 h 726"/>
              <a:gd name="T26" fmla="*/ 142 w 726"/>
              <a:gd name="T27" fmla="*/ 314 h 726"/>
              <a:gd name="T28" fmla="*/ 536 w 726"/>
              <a:gd name="T29" fmla="*/ 342 h 726"/>
              <a:gd name="T30" fmla="*/ 468 w 726"/>
              <a:gd name="T31" fmla="*/ 392 h 726"/>
              <a:gd name="T32" fmla="*/ 390 w 726"/>
              <a:gd name="T33" fmla="*/ 384 h 726"/>
              <a:gd name="T34" fmla="*/ 220 w 726"/>
              <a:gd name="T35" fmla="*/ 384 h 726"/>
              <a:gd name="T36" fmla="*/ 538 w 726"/>
              <a:gd name="T37" fmla="*/ 550 h 726"/>
              <a:gd name="T38" fmla="*/ 166 w 726"/>
              <a:gd name="T39" fmla="*/ 530 h 726"/>
              <a:gd name="T40" fmla="*/ 586 w 726"/>
              <a:gd name="T41" fmla="*/ 466 h 726"/>
              <a:gd name="T42" fmla="*/ 148 w 726"/>
              <a:gd name="T43" fmla="*/ 422 h 726"/>
              <a:gd name="T44" fmla="*/ 166 w 726"/>
              <a:gd name="T45" fmla="*/ 358 h 726"/>
              <a:gd name="T46" fmla="*/ 426 w 726"/>
              <a:gd name="T47" fmla="*/ 420 h 726"/>
              <a:gd name="T48" fmla="*/ 536 w 726"/>
              <a:gd name="T49" fmla="*/ 376 h 726"/>
              <a:gd name="T50" fmla="*/ 582 w 726"/>
              <a:gd name="T51" fmla="*/ 374 h 726"/>
              <a:gd name="T52" fmla="*/ 576 w 726"/>
              <a:gd name="T53" fmla="*/ 428 h 726"/>
              <a:gd name="T54" fmla="*/ 234 w 726"/>
              <a:gd name="T55" fmla="*/ 240 h 726"/>
              <a:gd name="T56" fmla="*/ 222 w 726"/>
              <a:gd name="T57" fmla="*/ 214 h 726"/>
              <a:gd name="T58" fmla="*/ 216 w 726"/>
              <a:gd name="T59" fmla="*/ 244 h 726"/>
              <a:gd name="T60" fmla="*/ 302 w 726"/>
              <a:gd name="T61" fmla="*/ 272 h 726"/>
              <a:gd name="T62" fmla="*/ 270 w 726"/>
              <a:gd name="T63" fmla="*/ 266 h 726"/>
              <a:gd name="T64" fmla="*/ 298 w 726"/>
              <a:gd name="T65" fmla="*/ 218 h 726"/>
              <a:gd name="T66" fmla="*/ 304 w 726"/>
              <a:gd name="T67" fmla="*/ 186 h 726"/>
              <a:gd name="T68" fmla="*/ 282 w 726"/>
              <a:gd name="T69" fmla="*/ 208 h 726"/>
              <a:gd name="T70" fmla="*/ 352 w 726"/>
              <a:gd name="T71" fmla="*/ 246 h 726"/>
              <a:gd name="T72" fmla="*/ 332 w 726"/>
              <a:gd name="T73" fmla="*/ 224 h 726"/>
              <a:gd name="T74" fmla="*/ 338 w 726"/>
              <a:gd name="T75" fmla="*/ 254 h 726"/>
              <a:gd name="T76" fmla="*/ 374 w 726"/>
              <a:gd name="T77" fmla="*/ 282 h 726"/>
              <a:gd name="T78" fmla="*/ 404 w 726"/>
              <a:gd name="T79" fmla="*/ 276 h 726"/>
              <a:gd name="T80" fmla="*/ 388 w 726"/>
              <a:gd name="T81" fmla="*/ 206 h 726"/>
              <a:gd name="T82" fmla="*/ 382 w 726"/>
              <a:gd name="T83" fmla="*/ 176 h 726"/>
              <a:gd name="T84" fmla="*/ 370 w 726"/>
              <a:gd name="T85" fmla="*/ 204 h 726"/>
              <a:gd name="T86" fmla="*/ 430 w 726"/>
              <a:gd name="T87" fmla="*/ 234 h 726"/>
              <a:gd name="T88" fmla="*/ 402 w 726"/>
              <a:gd name="T89" fmla="*/ 222 h 726"/>
              <a:gd name="T90" fmla="*/ 456 w 726"/>
              <a:gd name="T91" fmla="*/ 226 h 726"/>
              <a:gd name="T92" fmla="*/ 468 w 726"/>
              <a:gd name="T93" fmla="*/ 200 h 726"/>
              <a:gd name="T94" fmla="*/ 440 w 726"/>
              <a:gd name="T95" fmla="*/ 210 h 726"/>
              <a:gd name="T96" fmla="*/ 528 w 726"/>
              <a:gd name="T97" fmla="*/ 254 h 726"/>
              <a:gd name="T98" fmla="*/ 516 w 726"/>
              <a:gd name="T99" fmla="*/ 226 h 726"/>
              <a:gd name="T100" fmla="*/ 510 w 726"/>
              <a:gd name="T101" fmla="*/ 256 h 726"/>
              <a:gd name="T102" fmla="*/ 472 w 726"/>
              <a:gd name="T103" fmla="*/ 296 h 726"/>
              <a:gd name="T104" fmla="*/ 478 w 726"/>
              <a:gd name="T105" fmla="*/ 266 h 726"/>
              <a:gd name="T106" fmla="*/ 220 w 726"/>
              <a:gd name="T107" fmla="*/ 296 h 726"/>
              <a:gd name="T108" fmla="*/ 226 w 726"/>
              <a:gd name="T109" fmla="*/ 266 h 726"/>
              <a:gd name="T110" fmla="*/ 204 w 726"/>
              <a:gd name="T111" fmla="*/ 28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142" y="314"/>
                </a:moveTo>
                <a:lnTo>
                  <a:pt x="142" y="314"/>
                </a:lnTo>
                <a:lnTo>
                  <a:pt x="144" y="298"/>
                </a:lnTo>
                <a:lnTo>
                  <a:pt x="146" y="282"/>
                </a:lnTo>
                <a:lnTo>
                  <a:pt x="152" y="268"/>
                </a:lnTo>
                <a:lnTo>
                  <a:pt x="160" y="254"/>
                </a:lnTo>
                <a:lnTo>
                  <a:pt x="170" y="240"/>
                </a:lnTo>
                <a:lnTo>
                  <a:pt x="180" y="228"/>
                </a:lnTo>
                <a:lnTo>
                  <a:pt x="192" y="218"/>
                </a:lnTo>
                <a:lnTo>
                  <a:pt x="208" y="206"/>
                </a:lnTo>
                <a:lnTo>
                  <a:pt x="222" y="198"/>
                </a:lnTo>
                <a:lnTo>
                  <a:pt x="240" y="190"/>
                </a:lnTo>
                <a:lnTo>
                  <a:pt x="258" y="182"/>
                </a:lnTo>
                <a:lnTo>
                  <a:pt x="278" y="176"/>
                </a:lnTo>
                <a:lnTo>
                  <a:pt x="298" y="172"/>
                </a:lnTo>
                <a:lnTo>
                  <a:pt x="320" y="168"/>
                </a:lnTo>
                <a:lnTo>
                  <a:pt x="342" y="166"/>
                </a:lnTo>
                <a:lnTo>
                  <a:pt x="364" y="166"/>
                </a:lnTo>
                <a:lnTo>
                  <a:pt x="398" y="166"/>
                </a:lnTo>
                <a:lnTo>
                  <a:pt x="430" y="172"/>
                </a:lnTo>
                <a:lnTo>
                  <a:pt x="460" y="178"/>
                </a:lnTo>
                <a:lnTo>
                  <a:pt x="488" y="190"/>
                </a:lnTo>
                <a:lnTo>
                  <a:pt x="512" y="202"/>
                </a:lnTo>
                <a:lnTo>
                  <a:pt x="534" y="218"/>
                </a:lnTo>
                <a:lnTo>
                  <a:pt x="554" y="234"/>
                </a:lnTo>
                <a:lnTo>
                  <a:pt x="568" y="254"/>
                </a:lnTo>
                <a:lnTo>
                  <a:pt x="576" y="268"/>
                </a:lnTo>
                <a:lnTo>
                  <a:pt x="580" y="282"/>
                </a:lnTo>
                <a:lnTo>
                  <a:pt x="584" y="298"/>
                </a:lnTo>
                <a:lnTo>
                  <a:pt x="586" y="314"/>
                </a:lnTo>
                <a:lnTo>
                  <a:pt x="452" y="314"/>
                </a:lnTo>
                <a:lnTo>
                  <a:pt x="142" y="314"/>
                </a:lnTo>
                <a:close/>
                <a:moveTo>
                  <a:pt x="452" y="338"/>
                </a:moveTo>
                <a:lnTo>
                  <a:pt x="538" y="338"/>
                </a:lnTo>
                <a:lnTo>
                  <a:pt x="536" y="340"/>
                </a:lnTo>
                <a:lnTo>
                  <a:pt x="536" y="342"/>
                </a:lnTo>
                <a:lnTo>
                  <a:pt x="522" y="358"/>
                </a:lnTo>
                <a:lnTo>
                  <a:pt x="520" y="358"/>
                </a:lnTo>
                <a:lnTo>
                  <a:pt x="518" y="360"/>
                </a:lnTo>
                <a:lnTo>
                  <a:pt x="504" y="372"/>
                </a:lnTo>
                <a:lnTo>
                  <a:pt x="488" y="384"/>
                </a:lnTo>
                <a:lnTo>
                  <a:pt x="468" y="392"/>
                </a:lnTo>
                <a:lnTo>
                  <a:pt x="458" y="394"/>
                </a:lnTo>
                <a:lnTo>
                  <a:pt x="448" y="396"/>
                </a:lnTo>
                <a:lnTo>
                  <a:pt x="436" y="394"/>
                </a:lnTo>
                <a:lnTo>
                  <a:pt x="422" y="392"/>
                </a:lnTo>
                <a:lnTo>
                  <a:pt x="390" y="384"/>
                </a:lnTo>
                <a:lnTo>
                  <a:pt x="358" y="370"/>
                </a:lnTo>
                <a:lnTo>
                  <a:pt x="354" y="368"/>
                </a:lnTo>
                <a:lnTo>
                  <a:pt x="452" y="338"/>
                </a:lnTo>
                <a:close/>
                <a:moveTo>
                  <a:pt x="220" y="384"/>
                </a:moveTo>
                <a:lnTo>
                  <a:pt x="180" y="338"/>
                </a:lnTo>
                <a:lnTo>
                  <a:pt x="370" y="338"/>
                </a:lnTo>
                <a:lnTo>
                  <a:pt x="220" y="384"/>
                </a:lnTo>
                <a:close/>
                <a:moveTo>
                  <a:pt x="586" y="466"/>
                </a:moveTo>
                <a:lnTo>
                  <a:pt x="586" y="466"/>
                </a:lnTo>
                <a:lnTo>
                  <a:pt x="584" y="484"/>
                </a:lnTo>
                <a:lnTo>
                  <a:pt x="580" y="502"/>
                </a:lnTo>
                <a:lnTo>
                  <a:pt x="572" y="518"/>
                </a:lnTo>
                <a:lnTo>
                  <a:pt x="562" y="530"/>
                </a:lnTo>
                <a:lnTo>
                  <a:pt x="552" y="542"/>
                </a:lnTo>
                <a:lnTo>
                  <a:pt x="538" y="550"/>
                </a:lnTo>
                <a:lnTo>
                  <a:pt x="524" y="556"/>
                </a:lnTo>
                <a:lnTo>
                  <a:pt x="508" y="558"/>
                </a:lnTo>
                <a:lnTo>
                  <a:pt x="220" y="558"/>
                </a:lnTo>
                <a:lnTo>
                  <a:pt x="204" y="556"/>
                </a:lnTo>
                <a:lnTo>
                  <a:pt x="190" y="550"/>
                </a:lnTo>
                <a:lnTo>
                  <a:pt x="176" y="542"/>
                </a:lnTo>
                <a:lnTo>
                  <a:pt x="166" y="530"/>
                </a:lnTo>
                <a:lnTo>
                  <a:pt x="156" y="518"/>
                </a:lnTo>
                <a:lnTo>
                  <a:pt x="148" y="502"/>
                </a:lnTo>
                <a:lnTo>
                  <a:pt x="144" y="484"/>
                </a:lnTo>
                <a:lnTo>
                  <a:pt x="142" y="466"/>
                </a:lnTo>
                <a:lnTo>
                  <a:pt x="586" y="466"/>
                </a:lnTo>
                <a:close/>
                <a:moveTo>
                  <a:pt x="550" y="442"/>
                </a:moveTo>
                <a:lnTo>
                  <a:pt x="176" y="442"/>
                </a:lnTo>
                <a:lnTo>
                  <a:pt x="170" y="440"/>
                </a:lnTo>
                <a:lnTo>
                  <a:pt x="162" y="438"/>
                </a:lnTo>
                <a:lnTo>
                  <a:pt x="156" y="434"/>
                </a:lnTo>
                <a:lnTo>
                  <a:pt x="152" y="428"/>
                </a:lnTo>
                <a:lnTo>
                  <a:pt x="148" y="422"/>
                </a:lnTo>
                <a:lnTo>
                  <a:pt x="144" y="414"/>
                </a:lnTo>
                <a:lnTo>
                  <a:pt x="142" y="406"/>
                </a:lnTo>
                <a:lnTo>
                  <a:pt x="140" y="398"/>
                </a:lnTo>
                <a:lnTo>
                  <a:pt x="142" y="384"/>
                </a:lnTo>
                <a:lnTo>
                  <a:pt x="148" y="372"/>
                </a:lnTo>
                <a:lnTo>
                  <a:pt x="156" y="364"/>
                </a:lnTo>
                <a:lnTo>
                  <a:pt x="166" y="358"/>
                </a:lnTo>
                <a:lnTo>
                  <a:pt x="214" y="412"/>
                </a:lnTo>
                <a:lnTo>
                  <a:pt x="316" y="380"/>
                </a:lnTo>
                <a:lnTo>
                  <a:pt x="350" y="394"/>
                </a:lnTo>
                <a:lnTo>
                  <a:pt x="376" y="404"/>
                </a:lnTo>
                <a:lnTo>
                  <a:pt x="402" y="414"/>
                </a:lnTo>
                <a:lnTo>
                  <a:pt x="426" y="420"/>
                </a:lnTo>
                <a:lnTo>
                  <a:pt x="448" y="422"/>
                </a:lnTo>
                <a:lnTo>
                  <a:pt x="460" y="420"/>
                </a:lnTo>
                <a:lnTo>
                  <a:pt x="474" y="418"/>
                </a:lnTo>
                <a:lnTo>
                  <a:pt x="486" y="414"/>
                </a:lnTo>
                <a:lnTo>
                  <a:pt x="496" y="408"/>
                </a:lnTo>
                <a:lnTo>
                  <a:pt x="518" y="392"/>
                </a:lnTo>
                <a:lnTo>
                  <a:pt x="536" y="376"/>
                </a:lnTo>
                <a:lnTo>
                  <a:pt x="554" y="356"/>
                </a:lnTo>
                <a:lnTo>
                  <a:pt x="562" y="356"/>
                </a:lnTo>
                <a:lnTo>
                  <a:pt x="568" y="360"/>
                </a:lnTo>
                <a:lnTo>
                  <a:pt x="572" y="364"/>
                </a:lnTo>
                <a:lnTo>
                  <a:pt x="578" y="368"/>
                </a:lnTo>
                <a:lnTo>
                  <a:pt x="582" y="374"/>
                </a:lnTo>
                <a:lnTo>
                  <a:pt x="584" y="382"/>
                </a:lnTo>
                <a:lnTo>
                  <a:pt x="586" y="390"/>
                </a:lnTo>
                <a:lnTo>
                  <a:pt x="586" y="398"/>
                </a:lnTo>
                <a:lnTo>
                  <a:pt x="586" y="406"/>
                </a:lnTo>
                <a:lnTo>
                  <a:pt x="584" y="414"/>
                </a:lnTo>
                <a:lnTo>
                  <a:pt x="580" y="422"/>
                </a:lnTo>
                <a:lnTo>
                  <a:pt x="576" y="428"/>
                </a:lnTo>
                <a:lnTo>
                  <a:pt x="570" y="434"/>
                </a:lnTo>
                <a:lnTo>
                  <a:pt x="564" y="438"/>
                </a:lnTo>
                <a:lnTo>
                  <a:pt x="558" y="440"/>
                </a:lnTo>
                <a:lnTo>
                  <a:pt x="550" y="442"/>
                </a:lnTo>
                <a:close/>
                <a:moveTo>
                  <a:pt x="222" y="244"/>
                </a:moveTo>
                <a:lnTo>
                  <a:pt x="222" y="244"/>
                </a:lnTo>
                <a:lnTo>
                  <a:pt x="228" y="244"/>
                </a:lnTo>
                <a:lnTo>
                  <a:pt x="234" y="240"/>
                </a:lnTo>
                <a:lnTo>
                  <a:pt x="238" y="236"/>
                </a:lnTo>
                <a:lnTo>
                  <a:pt x="238" y="230"/>
                </a:lnTo>
                <a:lnTo>
                  <a:pt x="238" y="224"/>
                </a:lnTo>
                <a:lnTo>
                  <a:pt x="234" y="218"/>
                </a:lnTo>
                <a:lnTo>
                  <a:pt x="228" y="214"/>
                </a:lnTo>
                <a:lnTo>
                  <a:pt x="222" y="214"/>
                </a:lnTo>
                <a:lnTo>
                  <a:pt x="216" y="214"/>
                </a:lnTo>
                <a:lnTo>
                  <a:pt x="212" y="218"/>
                </a:lnTo>
                <a:lnTo>
                  <a:pt x="208" y="224"/>
                </a:lnTo>
                <a:lnTo>
                  <a:pt x="206" y="230"/>
                </a:lnTo>
                <a:lnTo>
                  <a:pt x="208" y="236"/>
                </a:lnTo>
                <a:lnTo>
                  <a:pt x="212" y="240"/>
                </a:lnTo>
                <a:lnTo>
                  <a:pt x="216" y="244"/>
                </a:lnTo>
                <a:lnTo>
                  <a:pt x="222" y="244"/>
                </a:lnTo>
                <a:close/>
                <a:moveTo>
                  <a:pt x="286" y="286"/>
                </a:moveTo>
                <a:lnTo>
                  <a:pt x="286" y="286"/>
                </a:lnTo>
                <a:lnTo>
                  <a:pt x="292" y="286"/>
                </a:lnTo>
                <a:lnTo>
                  <a:pt x="296" y="282"/>
                </a:lnTo>
                <a:lnTo>
                  <a:pt x="300" y="278"/>
                </a:lnTo>
                <a:lnTo>
                  <a:pt x="302" y="272"/>
                </a:lnTo>
                <a:lnTo>
                  <a:pt x="300" y="266"/>
                </a:lnTo>
                <a:lnTo>
                  <a:pt x="296" y="260"/>
                </a:lnTo>
                <a:lnTo>
                  <a:pt x="292" y="256"/>
                </a:lnTo>
                <a:lnTo>
                  <a:pt x="286" y="256"/>
                </a:lnTo>
                <a:lnTo>
                  <a:pt x="280" y="256"/>
                </a:lnTo>
                <a:lnTo>
                  <a:pt x="274" y="260"/>
                </a:lnTo>
                <a:lnTo>
                  <a:pt x="270" y="266"/>
                </a:lnTo>
                <a:lnTo>
                  <a:pt x="270" y="272"/>
                </a:lnTo>
                <a:lnTo>
                  <a:pt x="270" y="278"/>
                </a:lnTo>
                <a:lnTo>
                  <a:pt x="274" y="282"/>
                </a:lnTo>
                <a:lnTo>
                  <a:pt x="280" y="286"/>
                </a:lnTo>
                <a:lnTo>
                  <a:pt x="286" y="286"/>
                </a:lnTo>
                <a:close/>
                <a:moveTo>
                  <a:pt x="298" y="218"/>
                </a:moveTo>
                <a:lnTo>
                  <a:pt x="298" y="218"/>
                </a:lnTo>
                <a:lnTo>
                  <a:pt x="304" y="216"/>
                </a:lnTo>
                <a:lnTo>
                  <a:pt x="308" y="212"/>
                </a:lnTo>
                <a:lnTo>
                  <a:pt x="312" y="208"/>
                </a:lnTo>
                <a:lnTo>
                  <a:pt x="314" y="202"/>
                </a:lnTo>
                <a:lnTo>
                  <a:pt x="312" y="196"/>
                </a:lnTo>
                <a:lnTo>
                  <a:pt x="308" y="190"/>
                </a:lnTo>
                <a:lnTo>
                  <a:pt x="304" y="186"/>
                </a:lnTo>
                <a:lnTo>
                  <a:pt x="298" y="186"/>
                </a:lnTo>
                <a:lnTo>
                  <a:pt x="292" y="186"/>
                </a:lnTo>
                <a:lnTo>
                  <a:pt x="286" y="190"/>
                </a:lnTo>
                <a:lnTo>
                  <a:pt x="282" y="196"/>
                </a:lnTo>
                <a:lnTo>
                  <a:pt x="282" y="202"/>
                </a:lnTo>
                <a:lnTo>
                  <a:pt x="282" y="208"/>
                </a:lnTo>
                <a:lnTo>
                  <a:pt x="286" y="212"/>
                </a:lnTo>
                <a:lnTo>
                  <a:pt x="292" y="216"/>
                </a:lnTo>
                <a:lnTo>
                  <a:pt x="298" y="218"/>
                </a:lnTo>
                <a:close/>
                <a:moveTo>
                  <a:pt x="338" y="254"/>
                </a:moveTo>
                <a:lnTo>
                  <a:pt x="338" y="254"/>
                </a:lnTo>
                <a:lnTo>
                  <a:pt x="344" y="254"/>
                </a:lnTo>
                <a:lnTo>
                  <a:pt x="348" y="250"/>
                </a:lnTo>
                <a:lnTo>
                  <a:pt x="352" y="246"/>
                </a:lnTo>
                <a:lnTo>
                  <a:pt x="354" y="238"/>
                </a:lnTo>
                <a:lnTo>
                  <a:pt x="352" y="232"/>
                </a:lnTo>
                <a:lnTo>
                  <a:pt x="348" y="228"/>
                </a:lnTo>
                <a:lnTo>
                  <a:pt x="344" y="224"/>
                </a:lnTo>
                <a:lnTo>
                  <a:pt x="338" y="224"/>
                </a:lnTo>
                <a:lnTo>
                  <a:pt x="332" y="224"/>
                </a:lnTo>
                <a:lnTo>
                  <a:pt x="326" y="228"/>
                </a:lnTo>
                <a:lnTo>
                  <a:pt x="324" y="232"/>
                </a:lnTo>
                <a:lnTo>
                  <a:pt x="322" y="238"/>
                </a:lnTo>
                <a:lnTo>
                  <a:pt x="324" y="246"/>
                </a:lnTo>
                <a:lnTo>
                  <a:pt x="326" y="250"/>
                </a:lnTo>
                <a:lnTo>
                  <a:pt x="332" y="254"/>
                </a:lnTo>
                <a:lnTo>
                  <a:pt x="338" y="254"/>
                </a:lnTo>
                <a:close/>
                <a:moveTo>
                  <a:pt x="388" y="260"/>
                </a:moveTo>
                <a:lnTo>
                  <a:pt x="388" y="260"/>
                </a:lnTo>
                <a:lnTo>
                  <a:pt x="382" y="262"/>
                </a:lnTo>
                <a:lnTo>
                  <a:pt x="378" y="264"/>
                </a:lnTo>
                <a:lnTo>
                  <a:pt x="374" y="270"/>
                </a:lnTo>
                <a:lnTo>
                  <a:pt x="374" y="276"/>
                </a:lnTo>
                <a:lnTo>
                  <a:pt x="374" y="282"/>
                </a:lnTo>
                <a:lnTo>
                  <a:pt x="378" y="288"/>
                </a:lnTo>
                <a:lnTo>
                  <a:pt x="382" y="290"/>
                </a:lnTo>
                <a:lnTo>
                  <a:pt x="388" y="292"/>
                </a:lnTo>
                <a:lnTo>
                  <a:pt x="396" y="290"/>
                </a:lnTo>
                <a:lnTo>
                  <a:pt x="400" y="288"/>
                </a:lnTo>
                <a:lnTo>
                  <a:pt x="404" y="282"/>
                </a:lnTo>
                <a:lnTo>
                  <a:pt x="404" y="276"/>
                </a:lnTo>
                <a:lnTo>
                  <a:pt x="404" y="270"/>
                </a:lnTo>
                <a:lnTo>
                  <a:pt x="400" y="264"/>
                </a:lnTo>
                <a:lnTo>
                  <a:pt x="396" y="262"/>
                </a:lnTo>
                <a:lnTo>
                  <a:pt x="388" y="260"/>
                </a:lnTo>
                <a:close/>
                <a:moveTo>
                  <a:pt x="382" y="208"/>
                </a:moveTo>
                <a:lnTo>
                  <a:pt x="382" y="208"/>
                </a:lnTo>
                <a:lnTo>
                  <a:pt x="388" y="206"/>
                </a:lnTo>
                <a:lnTo>
                  <a:pt x="394" y="204"/>
                </a:lnTo>
                <a:lnTo>
                  <a:pt x="396" y="198"/>
                </a:lnTo>
                <a:lnTo>
                  <a:pt x="398" y="192"/>
                </a:lnTo>
                <a:lnTo>
                  <a:pt x="396" y="186"/>
                </a:lnTo>
                <a:lnTo>
                  <a:pt x="394" y="182"/>
                </a:lnTo>
                <a:lnTo>
                  <a:pt x="388" y="178"/>
                </a:lnTo>
                <a:lnTo>
                  <a:pt x="382" y="176"/>
                </a:lnTo>
                <a:lnTo>
                  <a:pt x="376" y="178"/>
                </a:lnTo>
                <a:lnTo>
                  <a:pt x="370" y="182"/>
                </a:lnTo>
                <a:lnTo>
                  <a:pt x="368" y="186"/>
                </a:lnTo>
                <a:lnTo>
                  <a:pt x="366" y="192"/>
                </a:lnTo>
                <a:lnTo>
                  <a:pt x="368" y="198"/>
                </a:lnTo>
                <a:lnTo>
                  <a:pt x="370" y="204"/>
                </a:lnTo>
                <a:lnTo>
                  <a:pt x="376" y="206"/>
                </a:lnTo>
                <a:lnTo>
                  <a:pt x="382" y="208"/>
                </a:lnTo>
                <a:close/>
                <a:moveTo>
                  <a:pt x="414" y="250"/>
                </a:moveTo>
                <a:lnTo>
                  <a:pt x="414" y="250"/>
                </a:lnTo>
                <a:lnTo>
                  <a:pt x="420" y="248"/>
                </a:lnTo>
                <a:lnTo>
                  <a:pt x="426" y="246"/>
                </a:lnTo>
                <a:lnTo>
                  <a:pt x="428" y="240"/>
                </a:lnTo>
                <a:lnTo>
                  <a:pt x="430" y="234"/>
                </a:lnTo>
                <a:lnTo>
                  <a:pt x="428" y="228"/>
                </a:lnTo>
                <a:lnTo>
                  <a:pt x="426" y="222"/>
                </a:lnTo>
                <a:lnTo>
                  <a:pt x="420" y="220"/>
                </a:lnTo>
                <a:lnTo>
                  <a:pt x="414" y="218"/>
                </a:lnTo>
                <a:lnTo>
                  <a:pt x="408" y="220"/>
                </a:lnTo>
                <a:lnTo>
                  <a:pt x="402" y="222"/>
                </a:lnTo>
                <a:lnTo>
                  <a:pt x="400" y="228"/>
                </a:lnTo>
                <a:lnTo>
                  <a:pt x="398" y="234"/>
                </a:lnTo>
                <a:lnTo>
                  <a:pt x="400" y="240"/>
                </a:lnTo>
                <a:lnTo>
                  <a:pt x="402" y="246"/>
                </a:lnTo>
                <a:lnTo>
                  <a:pt x="408" y="248"/>
                </a:lnTo>
                <a:lnTo>
                  <a:pt x="414" y="250"/>
                </a:lnTo>
                <a:close/>
                <a:moveTo>
                  <a:pt x="456" y="226"/>
                </a:moveTo>
                <a:lnTo>
                  <a:pt x="456" y="226"/>
                </a:lnTo>
                <a:lnTo>
                  <a:pt x="462" y="226"/>
                </a:lnTo>
                <a:lnTo>
                  <a:pt x="468" y="222"/>
                </a:lnTo>
                <a:lnTo>
                  <a:pt x="470" y="216"/>
                </a:lnTo>
                <a:lnTo>
                  <a:pt x="472" y="210"/>
                </a:lnTo>
                <a:lnTo>
                  <a:pt x="470" y="204"/>
                </a:lnTo>
                <a:lnTo>
                  <a:pt x="468" y="200"/>
                </a:lnTo>
                <a:lnTo>
                  <a:pt x="462" y="196"/>
                </a:lnTo>
                <a:lnTo>
                  <a:pt x="456" y="194"/>
                </a:lnTo>
                <a:lnTo>
                  <a:pt x="450" y="196"/>
                </a:lnTo>
                <a:lnTo>
                  <a:pt x="444" y="200"/>
                </a:lnTo>
                <a:lnTo>
                  <a:pt x="442" y="204"/>
                </a:lnTo>
                <a:lnTo>
                  <a:pt x="440" y="210"/>
                </a:lnTo>
                <a:lnTo>
                  <a:pt x="442" y="216"/>
                </a:lnTo>
                <a:lnTo>
                  <a:pt x="444" y="222"/>
                </a:lnTo>
                <a:lnTo>
                  <a:pt x="450" y="226"/>
                </a:lnTo>
                <a:lnTo>
                  <a:pt x="456" y="226"/>
                </a:lnTo>
                <a:close/>
                <a:moveTo>
                  <a:pt x="516" y="258"/>
                </a:moveTo>
                <a:lnTo>
                  <a:pt x="516" y="258"/>
                </a:lnTo>
                <a:lnTo>
                  <a:pt x="522" y="256"/>
                </a:lnTo>
                <a:lnTo>
                  <a:pt x="528" y="254"/>
                </a:lnTo>
                <a:lnTo>
                  <a:pt x="532" y="248"/>
                </a:lnTo>
                <a:lnTo>
                  <a:pt x="532" y="242"/>
                </a:lnTo>
                <a:lnTo>
                  <a:pt x="532" y="236"/>
                </a:lnTo>
                <a:lnTo>
                  <a:pt x="528" y="232"/>
                </a:lnTo>
                <a:lnTo>
                  <a:pt x="522" y="228"/>
                </a:lnTo>
                <a:lnTo>
                  <a:pt x="516" y="226"/>
                </a:lnTo>
                <a:lnTo>
                  <a:pt x="510" y="228"/>
                </a:lnTo>
                <a:lnTo>
                  <a:pt x="506" y="232"/>
                </a:lnTo>
                <a:lnTo>
                  <a:pt x="502" y="236"/>
                </a:lnTo>
                <a:lnTo>
                  <a:pt x="500" y="242"/>
                </a:lnTo>
                <a:lnTo>
                  <a:pt x="502" y="248"/>
                </a:lnTo>
                <a:lnTo>
                  <a:pt x="506" y="254"/>
                </a:lnTo>
                <a:lnTo>
                  <a:pt x="510" y="256"/>
                </a:lnTo>
                <a:lnTo>
                  <a:pt x="516" y="258"/>
                </a:lnTo>
                <a:close/>
                <a:moveTo>
                  <a:pt x="456" y="280"/>
                </a:moveTo>
                <a:lnTo>
                  <a:pt x="456" y="280"/>
                </a:lnTo>
                <a:lnTo>
                  <a:pt x="458" y="286"/>
                </a:lnTo>
                <a:lnTo>
                  <a:pt x="460" y="292"/>
                </a:lnTo>
                <a:lnTo>
                  <a:pt x="466" y="294"/>
                </a:lnTo>
                <a:lnTo>
                  <a:pt x="472" y="296"/>
                </a:lnTo>
                <a:lnTo>
                  <a:pt x="478" y="294"/>
                </a:lnTo>
                <a:lnTo>
                  <a:pt x="484" y="292"/>
                </a:lnTo>
                <a:lnTo>
                  <a:pt x="486" y="286"/>
                </a:lnTo>
                <a:lnTo>
                  <a:pt x="488" y="280"/>
                </a:lnTo>
                <a:lnTo>
                  <a:pt x="486" y="274"/>
                </a:lnTo>
                <a:lnTo>
                  <a:pt x="484" y="270"/>
                </a:lnTo>
                <a:lnTo>
                  <a:pt x="478" y="266"/>
                </a:lnTo>
                <a:lnTo>
                  <a:pt x="472" y="264"/>
                </a:lnTo>
                <a:lnTo>
                  <a:pt x="466" y="266"/>
                </a:lnTo>
                <a:lnTo>
                  <a:pt x="460" y="270"/>
                </a:lnTo>
                <a:lnTo>
                  <a:pt x="458" y="274"/>
                </a:lnTo>
                <a:lnTo>
                  <a:pt x="456" y="280"/>
                </a:lnTo>
                <a:close/>
                <a:moveTo>
                  <a:pt x="220" y="296"/>
                </a:moveTo>
                <a:lnTo>
                  <a:pt x="220" y="296"/>
                </a:lnTo>
                <a:lnTo>
                  <a:pt x="226" y="294"/>
                </a:lnTo>
                <a:lnTo>
                  <a:pt x="230" y="292"/>
                </a:lnTo>
                <a:lnTo>
                  <a:pt x="234" y="286"/>
                </a:lnTo>
                <a:lnTo>
                  <a:pt x="234" y="280"/>
                </a:lnTo>
                <a:lnTo>
                  <a:pt x="234" y="274"/>
                </a:lnTo>
                <a:lnTo>
                  <a:pt x="230" y="270"/>
                </a:lnTo>
                <a:lnTo>
                  <a:pt x="226" y="266"/>
                </a:lnTo>
                <a:lnTo>
                  <a:pt x="220" y="264"/>
                </a:lnTo>
                <a:lnTo>
                  <a:pt x="214" y="266"/>
                </a:lnTo>
                <a:lnTo>
                  <a:pt x="208" y="270"/>
                </a:lnTo>
                <a:lnTo>
                  <a:pt x="204" y="274"/>
                </a:lnTo>
                <a:lnTo>
                  <a:pt x="204" y="280"/>
                </a:lnTo>
                <a:lnTo>
                  <a:pt x="204" y="286"/>
                </a:lnTo>
                <a:lnTo>
                  <a:pt x="208" y="292"/>
                </a:lnTo>
                <a:lnTo>
                  <a:pt x="214" y="294"/>
                </a:lnTo>
                <a:lnTo>
                  <a:pt x="220" y="296"/>
                </a:ln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2" name="Freeform 101">
            <a:extLst>
              <a:ext uri="{FF2B5EF4-FFF2-40B4-BE49-F238E27FC236}">
                <a16:creationId xmlns:a16="http://schemas.microsoft.com/office/drawing/2014/main" id="{BB513AED-C9CB-740C-011C-B406C8DDC9AA}"/>
              </a:ext>
            </a:extLst>
          </p:cNvPr>
          <p:cNvSpPr>
            <a:spLocks noEditPoints="1"/>
          </p:cNvSpPr>
          <p:nvPr/>
        </p:nvSpPr>
        <p:spPr bwMode="auto">
          <a:xfrm>
            <a:off x="6802003" y="4504823"/>
            <a:ext cx="818203" cy="800059"/>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3" name="Freeform 241">
            <a:extLst>
              <a:ext uri="{FF2B5EF4-FFF2-40B4-BE49-F238E27FC236}">
                <a16:creationId xmlns:a16="http://schemas.microsoft.com/office/drawing/2014/main" id="{1D09C271-2198-6BAC-623C-1B73751A4A5F}"/>
              </a:ext>
            </a:extLst>
          </p:cNvPr>
          <p:cNvSpPr>
            <a:spLocks noEditPoints="1"/>
          </p:cNvSpPr>
          <p:nvPr/>
        </p:nvSpPr>
        <p:spPr bwMode="auto">
          <a:xfrm>
            <a:off x="9665482" y="4504823"/>
            <a:ext cx="818203" cy="800059"/>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70 w 724"/>
              <a:gd name="T47" fmla="*/ 264 h 726"/>
              <a:gd name="T48" fmla="*/ 360 w 724"/>
              <a:gd name="T49" fmla="*/ 288 h 726"/>
              <a:gd name="T50" fmla="*/ 342 w 724"/>
              <a:gd name="T51" fmla="*/ 304 h 726"/>
              <a:gd name="T52" fmla="*/ 334 w 724"/>
              <a:gd name="T53" fmla="*/ 584 h 726"/>
              <a:gd name="T54" fmla="*/ 322 w 724"/>
              <a:gd name="T55" fmla="*/ 600 h 726"/>
              <a:gd name="T56" fmla="*/ 308 w 724"/>
              <a:gd name="T57" fmla="*/ 600 h 726"/>
              <a:gd name="T58" fmla="*/ 298 w 724"/>
              <a:gd name="T59" fmla="*/ 584 h 726"/>
              <a:gd name="T60" fmla="*/ 290 w 724"/>
              <a:gd name="T61" fmla="*/ 304 h 726"/>
              <a:gd name="T62" fmla="*/ 270 w 724"/>
              <a:gd name="T63" fmla="*/ 288 h 726"/>
              <a:gd name="T64" fmla="*/ 260 w 724"/>
              <a:gd name="T65" fmla="*/ 264 h 726"/>
              <a:gd name="T66" fmla="*/ 260 w 724"/>
              <a:gd name="T67" fmla="*/ 136 h 726"/>
              <a:gd name="T68" fmla="*/ 268 w 724"/>
              <a:gd name="T69" fmla="*/ 124 h 726"/>
              <a:gd name="T70" fmla="*/ 278 w 724"/>
              <a:gd name="T71" fmla="*/ 124 h 726"/>
              <a:gd name="T72" fmla="*/ 284 w 724"/>
              <a:gd name="T73" fmla="*/ 136 h 726"/>
              <a:gd name="T74" fmla="*/ 286 w 724"/>
              <a:gd name="T75" fmla="*/ 264 h 726"/>
              <a:gd name="T76" fmla="*/ 304 w 724"/>
              <a:gd name="T77" fmla="*/ 284 h 726"/>
              <a:gd name="T78" fmla="*/ 304 w 724"/>
              <a:gd name="T79" fmla="*/ 132 h 726"/>
              <a:gd name="T80" fmla="*/ 316 w 724"/>
              <a:gd name="T81" fmla="*/ 124 h 726"/>
              <a:gd name="T82" fmla="*/ 324 w 724"/>
              <a:gd name="T83" fmla="*/ 128 h 726"/>
              <a:gd name="T84" fmla="*/ 328 w 724"/>
              <a:gd name="T85" fmla="*/ 284 h 726"/>
              <a:gd name="T86" fmla="*/ 342 w 724"/>
              <a:gd name="T87" fmla="*/ 272 h 726"/>
              <a:gd name="T88" fmla="*/ 346 w 724"/>
              <a:gd name="T89" fmla="*/ 136 h 726"/>
              <a:gd name="T90" fmla="*/ 350 w 724"/>
              <a:gd name="T91" fmla="*/ 128 h 726"/>
              <a:gd name="T92" fmla="*/ 358 w 724"/>
              <a:gd name="T93" fmla="*/ 124 h 726"/>
              <a:gd name="T94" fmla="*/ 370 w 724"/>
              <a:gd name="T95" fmla="*/ 132 h 726"/>
              <a:gd name="T96" fmla="*/ 464 w 724"/>
              <a:gd name="T97" fmla="*/ 584 h 726"/>
              <a:gd name="T98" fmla="*/ 458 w 724"/>
              <a:gd name="T99" fmla="*/ 596 h 726"/>
              <a:gd name="T100" fmla="*/ 446 w 724"/>
              <a:gd name="T101" fmla="*/ 602 h 726"/>
              <a:gd name="T102" fmla="*/ 430 w 724"/>
              <a:gd name="T103" fmla="*/ 590 h 726"/>
              <a:gd name="T104" fmla="*/ 428 w 724"/>
              <a:gd name="T105" fmla="*/ 344 h 726"/>
              <a:gd name="T106" fmla="*/ 412 w 724"/>
              <a:gd name="T107" fmla="*/ 316 h 726"/>
              <a:gd name="T108" fmla="*/ 406 w 724"/>
              <a:gd name="T109" fmla="*/ 254 h 726"/>
              <a:gd name="T110" fmla="*/ 412 w 724"/>
              <a:gd name="T111" fmla="*/ 186 h 726"/>
              <a:gd name="T112" fmla="*/ 420 w 724"/>
              <a:gd name="T113" fmla="*/ 156 h 726"/>
              <a:gd name="T114" fmla="*/ 442 w 724"/>
              <a:gd name="T115" fmla="*/ 128 h 726"/>
              <a:gd name="T116" fmla="*/ 446 w 724"/>
              <a:gd name="T117" fmla="*/ 126 h 726"/>
              <a:gd name="T118" fmla="*/ 452 w 724"/>
              <a:gd name="T119" fmla="*/ 124 h 726"/>
              <a:gd name="T120" fmla="*/ 460 w 724"/>
              <a:gd name="T121" fmla="*/ 128 h 726"/>
              <a:gd name="T122" fmla="*/ 464 w 724"/>
              <a:gd name="T123" fmla="*/ 58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72" y="254"/>
                </a:moveTo>
                <a:lnTo>
                  <a:pt x="372" y="254"/>
                </a:lnTo>
                <a:lnTo>
                  <a:pt x="370" y="264"/>
                </a:lnTo>
                <a:lnTo>
                  <a:pt x="368" y="272"/>
                </a:lnTo>
                <a:lnTo>
                  <a:pt x="366" y="280"/>
                </a:lnTo>
                <a:lnTo>
                  <a:pt x="360" y="288"/>
                </a:lnTo>
                <a:lnTo>
                  <a:pt x="356" y="294"/>
                </a:lnTo>
                <a:lnTo>
                  <a:pt x="348" y="300"/>
                </a:lnTo>
                <a:lnTo>
                  <a:pt x="342" y="304"/>
                </a:lnTo>
                <a:lnTo>
                  <a:pt x="334" y="308"/>
                </a:lnTo>
                <a:lnTo>
                  <a:pt x="334" y="584"/>
                </a:lnTo>
                <a:lnTo>
                  <a:pt x="332" y="590"/>
                </a:lnTo>
                <a:lnTo>
                  <a:pt x="328" y="596"/>
                </a:lnTo>
                <a:lnTo>
                  <a:pt x="322" y="600"/>
                </a:lnTo>
                <a:lnTo>
                  <a:pt x="316" y="602"/>
                </a:lnTo>
                <a:lnTo>
                  <a:pt x="308" y="600"/>
                </a:lnTo>
                <a:lnTo>
                  <a:pt x="302" y="596"/>
                </a:lnTo>
                <a:lnTo>
                  <a:pt x="298" y="590"/>
                </a:lnTo>
                <a:lnTo>
                  <a:pt x="298" y="584"/>
                </a:lnTo>
                <a:lnTo>
                  <a:pt x="298" y="308"/>
                </a:lnTo>
                <a:lnTo>
                  <a:pt x="290" y="304"/>
                </a:lnTo>
                <a:lnTo>
                  <a:pt x="282" y="300"/>
                </a:lnTo>
                <a:lnTo>
                  <a:pt x="276" y="294"/>
                </a:lnTo>
                <a:lnTo>
                  <a:pt x="270" y="288"/>
                </a:lnTo>
                <a:lnTo>
                  <a:pt x="266" y="280"/>
                </a:lnTo>
                <a:lnTo>
                  <a:pt x="262" y="272"/>
                </a:lnTo>
                <a:lnTo>
                  <a:pt x="260" y="264"/>
                </a:lnTo>
                <a:lnTo>
                  <a:pt x="260" y="254"/>
                </a:lnTo>
                <a:lnTo>
                  <a:pt x="260" y="136"/>
                </a:lnTo>
                <a:lnTo>
                  <a:pt x="260" y="132"/>
                </a:lnTo>
                <a:lnTo>
                  <a:pt x="264" y="128"/>
                </a:lnTo>
                <a:lnTo>
                  <a:pt x="268" y="124"/>
                </a:lnTo>
                <a:lnTo>
                  <a:pt x="272" y="124"/>
                </a:lnTo>
                <a:lnTo>
                  <a:pt x="278" y="124"/>
                </a:lnTo>
                <a:lnTo>
                  <a:pt x="280" y="128"/>
                </a:lnTo>
                <a:lnTo>
                  <a:pt x="284" y="132"/>
                </a:lnTo>
                <a:lnTo>
                  <a:pt x="284" y="136"/>
                </a:lnTo>
                <a:lnTo>
                  <a:pt x="284" y="254"/>
                </a:lnTo>
                <a:lnTo>
                  <a:pt x="286" y="264"/>
                </a:lnTo>
                <a:lnTo>
                  <a:pt x="290" y="272"/>
                </a:lnTo>
                <a:lnTo>
                  <a:pt x="296" y="278"/>
                </a:lnTo>
                <a:lnTo>
                  <a:pt x="304" y="284"/>
                </a:lnTo>
                <a:lnTo>
                  <a:pt x="304" y="136"/>
                </a:lnTo>
                <a:lnTo>
                  <a:pt x="304" y="132"/>
                </a:lnTo>
                <a:lnTo>
                  <a:pt x="306" y="128"/>
                </a:lnTo>
                <a:lnTo>
                  <a:pt x="310" y="124"/>
                </a:lnTo>
                <a:lnTo>
                  <a:pt x="316" y="124"/>
                </a:lnTo>
                <a:lnTo>
                  <a:pt x="320" y="124"/>
                </a:lnTo>
                <a:lnTo>
                  <a:pt x="324" y="128"/>
                </a:lnTo>
                <a:lnTo>
                  <a:pt x="326" y="132"/>
                </a:lnTo>
                <a:lnTo>
                  <a:pt x="328" y="136"/>
                </a:lnTo>
                <a:lnTo>
                  <a:pt x="328" y="284"/>
                </a:lnTo>
                <a:lnTo>
                  <a:pt x="336" y="278"/>
                </a:lnTo>
                <a:lnTo>
                  <a:pt x="342" y="272"/>
                </a:lnTo>
                <a:lnTo>
                  <a:pt x="346" y="264"/>
                </a:lnTo>
                <a:lnTo>
                  <a:pt x="346" y="254"/>
                </a:lnTo>
                <a:lnTo>
                  <a:pt x="346" y="136"/>
                </a:lnTo>
                <a:lnTo>
                  <a:pt x="348" y="132"/>
                </a:lnTo>
                <a:lnTo>
                  <a:pt x="350" y="128"/>
                </a:lnTo>
                <a:lnTo>
                  <a:pt x="354" y="124"/>
                </a:lnTo>
                <a:lnTo>
                  <a:pt x="358" y="124"/>
                </a:lnTo>
                <a:lnTo>
                  <a:pt x="364" y="124"/>
                </a:lnTo>
                <a:lnTo>
                  <a:pt x="368" y="128"/>
                </a:lnTo>
                <a:lnTo>
                  <a:pt x="370" y="132"/>
                </a:lnTo>
                <a:lnTo>
                  <a:pt x="372" y="136"/>
                </a:lnTo>
                <a:lnTo>
                  <a:pt x="372" y="254"/>
                </a:lnTo>
                <a:close/>
                <a:moveTo>
                  <a:pt x="464" y="584"/>
                </a:moveTo>
                <a:lnTo>
                  <a:pt x="464" y="584"/>
                </a:lnTo>
                <a:lnTo>
                  <a:pt x="462" y="590"/>
                </a:lnTo>
                <a:lnTo>
                  <a:pt x="458" y="596"/>
                </a:lnTo>
                <a:lnTo>
                  <a:pt x="454" y="600"/>
                </a:lnTo>
                <a:lnTo>
                  <a:pt x="446" y="602"/>
                </a:lnTo>
                <a:lnTo>
                  <a:pt x="438" y="600"/>
                </a:lnTo>
                <a:lnTo>
                  <a:pt x="434" y="596"/>
                </a:lnTo>
                <a:lnTo>
                  <a:pt x="430" y="590"/>
                </a:lnTo>
                <a:lnTo>
                  <a:pt x="428" y="584"/>
                </a:lnTo>
                <a:lnTo>
                  <a:pt x="428" y="344"/>
                </a:lnTo>
                <a:lnTo>
                  <a:pt x="416" y="332"/>
                </a:lnTo>
                <a:lnTo>
                  <a:pt x="412" y="316"/>
                </a:lnTo>
                <a:lnTo>
                  <a:pt x="408" y="296"/>
                </a:lnTo>
                <a:lnTo>
                  <a:pt x="406" y="274"/>
                </a:lnTo>
                <a:lnTo>
                  <a:pt x="406" y="254"/>
                </a:lnTo>
                <a:lnTo>
                  <a:pt x="408" y="210"/>
                </a:lnTo>
                <a:lnTo>
                  <a:pt x="412" y="186"/>
                </a:lnTo>
                <a:lnTo>
                  <a:pt x="416" y="168"/>
                </a:lnTo>
                <a:lnTo>
                  <a:pt x="420" y="156"/>
                </a:lnTo>
                <a:lnTo>
                  <a:pt x="426" y="146"/>
                </a:lnTo>
                <a:lnTo>
                  <a:pt x="434" y="136"/>
                </a:lnTo>
                <a:lnTo>
                  <a:pt x="442" y="128"/>
                </a:lnTo>
                <a:lnTo>
                  <a:pt x="446" y="126"/>
                </a:lnTo>
                <a:lnTo>
                  <a:pt x="452" y="124"/>
                </a:lnTo>
                <a:lnTo>
                  <a:pt x="456" y="124"/>
                </a:lnTo>
                <a:lnTo>
                  <a:pt x="460" y="128"/>
                </a:lnTo>
                <a:lnTo>
                  <a:pt x="464" y="132"/>
                </a:lnTo>
                <a:lnTo>
                  <a:pt x="464" y="136"/>
                </a:lnTo>
                <a:lnTo>
                  <a:pt x="464" y="584"/>
                </a:ln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4" name="Content Placeholder 2">
            <a:extLst>
              <a:ext uri="{FF2B5EF4-FFF2-40B4-BE49-F238E27FC236}">
                <a16:creationId xmlns:a16="http://schemas.microsoft.com/office/drawing/2014/main" id="{28376540-02F6-5DF5-9154-15A8EFA7A3B7}"/>
              </a:ext>
            </a:extLst>
          </p:cNvPr>
          <p:cNvSpPr txBox="1">
            <a:spLocks/>
          </p:cNvSpPr>
          <p:nvPr/>
        </p:nvSpPr>
        <p:spPr bwMode="gray">
          <a:xfrm>
            <a:off x="4410074" y="4443321"/>
            <a:ext cx="1735493"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1" algn="ctr">
              <a:lnSpc>
                <a:spcPct val="100000"/>
              </a:lnSpc>
            </a:pPr>
            <a:r>
              <a:rPr lang="en-GB" sz="4800" b="1" dirty="0">
                <a:solidFill>
                  <a:schemeClr val="accent4">
                    <a:lumMod val="75000"/>
                  </a:schemeClr>
                </a:solidFill>
              </a:rPr>
              <a:t>180</a:t>
            </a:r>
            <a:endParaRPr lang="en-GB" sz="4400" b="1" dirty="0">
              <a:solidFill>
                <a:schemeClr val="accent4">
                  <a:lumMod val="75000"/>
                </a:schemeClr>
              </a:solidFill>
            </a:endParaRPr>
          </a:p>
        </p:txBody>
      </p:sp>
      <p:sp>
        <p:nvSpPr>
          <p:cNvPr id="25" name="Content Placeholder 2">
            <a:extLst>
              <a:ext uri="{FF2B5EF4-FFF2-40B4-BE49-F238E27FC236}">
                <a16:creationId xmlns:a16="http://schemas.microsoft.com/office/drawing/2014/main" id="{36610660-B178-083F-A011-1708869D86D5}"/>
              </a:ext>
            </a:extLst>
          </p:cNvPr>
          <p:cNvSpPr txBox="1">
            <a:spLocks/>
          </p:cNvSpPr>
          <p:nvPr/>
        </p:nvSpPr>
        <p:spPr bwMode="gray">
          <a:xfrm>
            <a:off x="7512116" y="4470689"/>
            <a:ext cx="1283066"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1" algn="r">
              <a:lnSpc>
                <a:spcPct val="100000"/>
              </a:lnSpc>
            </a:pPr>
            <a:r>
              <a:rPr lang="en-GB" sz="4800" b="1" dirty="0">
                <a:solidFill>
                  <a:schemeClr val="accent4">
                    <a:lumMod val="75000"/>
                  </a:schemeClr>
                </a:solidFill>
              </a:rPr>
              <a:t>176</a:t>
            </a:r>
          </a:p>
        </p:txBody>
      </p:sp>
      <p:sp>
        <p:nvSpPr>
          <p:cNvPr id="26" name="Content Placeholder 2">
            <a:extLst>
              <a:ext uri="{FF2B5EF4-FFF2-40B4-BE49-F238E27FC236}">
                <a16:creationId xmlns:a16="http://schemas.microsoft.com/office/drawing/2014/main" id="{E1BDEAB4-4B35-CC56-B26D-4EABC872E901}"/>
              </a:ext>
            </a:extLst>
          </p:cNvPr>
          <p:cNvSpPr txBox="1">
            <a:spLocks/>
          </p:cNvSpPr>
          <p:nvPr/>
        </p:nvSpPr>
        <p:spPr bwMode="gray">
          <a:xfrm>
            <a:off x="10499925" y="4470689"/>
            <a:ext cx="1215193" cy="10039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1" algn="r">
              <a:lnSpc>
                <a:spcPct val="100000"/>
              </a:lnSpc>
            </a:pPr>
            <a:r>
              <a:rPr lang="en-GB" sz="4800" b="1" dirty="0">
                <a:solidFill>
                  <a:schemeClr val="accent4">
                    <a:lumMod val="75000"/>
                  </a:schemeClr>
                </a:solidFill>
              </a:rPr>
              <a:t>151</a:t>
            </a:r>
          </a:p>
        </p:txBody>
      </p:sp>
      <p:sp>
        <p:nvSpPr>
          <p:cNvPr id="28" name="TextBox 27">
            <a:extLst>
              <a:ext uri="{FF2B5EF4-FFF2-40B4-BE49-F238E27FC236}">
                <a16:creationId xmlns:a16="http://schemas.microsoft.com/office/drawing/2014/main" id="{F5F252CA-C48A-A64E-E95F-22AB1F01AEED}"/>
              </a:ext>
            </a:extLst>
          </p:cNvPr>
          <p:cNvSpPr txBox="1"/>
          <p:nvPr/>
        </p:nvSpPr>
        <p:spPr>
          <a:xfrm>
            <a:off x="3032000" y="5502795"/>
            <a:ext cx="2905621" cy="276999"/>
          </a:xfrm>
          <a:prstGeom prst="rect">
            <a:avLst/>
          </a:prstGeom>
          <a:noFill/>
          <a:ln>
            <a:noFill/>
          </a:ln>
        </p:spPr>
        <p:txBody>
          <a:bodyPr wrap="square">
            <a:spAutoFit/>
          </a:bodyPr>
          <a:lstStyle/>
          <a:p>
            <a:pPr lvl="1" algn="r">
              <a:lnSpc>
                <a:spcPct val="100000"/>
              </a:lnSpc>
            </a:pPr>
            <a:r>
              <a:rPr lang="en-GB" sz="1200" b="1" dirty="0">
                <a:solidFill>
                  <a:schemeClr val="bg1">
                    <a:lumMod val="50000"/>
                    <a:lumOff val="50000"/>
                  </a:schemeClr>
                </a:solidFill>
              </a:rPr>
              <a:t>Get fast food/takeaway</a:t>
            </a:r>
            <a:endParaRPr lang="en-GB" sz="700" dirty="0">
              <a:solidFill>
                <a:schemeClr val="bg1">
                  <a:lumMod val="50000"/>
                  <a:lumOff val="50000"/>
                </a:schemeClr>
              </a:solidFill>
            </a:endParaRPr>
          </a:p>
        </p:txBody>
      </p:sp>
      <p:sp>
        <p:nvSpPr>
          <p:cNvPr id="29" name="TextBox 28">
            <a:extLst>
              <a:ext uri="{FF2B5EF4-FFF2-40B4-BE49-F238E27FC236}">
                <a16:creationId xmlns:a16="http://schemas.microsoft.com/office/drawing/2014/main" id="{F5390768-69BB-A8F4-A644-3BD7312B9244}"/>
              </a:ext>
            </a:extLst>
          </p:cNvPr>
          <p:cNvSpPr txBox="1"/>
          <p:nvPr/>
        </p:nvSpPr>
        <p:spPr>
          <a:xfrm>
            <a:off x="5670349" y="5502795"/>
            <a:ext cx="2905621" cy="276999"/>
          </a:xfrm>
          <a:prstGeom prst="rect">
            <a:avLst/>
          </a:prstGeom>
          <a:noFill/>
          <a:ln>
            <a:noFill/>
          </a:ln>
        </p:spPr>
        <p:txBody>
          <a:bodyPr wrap="square">
            <a:spAutoFit/>
          </a:bodyPr>
          <a:lstStyle/>
          <a:p>
            <a:pPr lvl="1" algn="r">
              <a:lnSpc>
                <a:spcPct val="100000"/>
              </a:lnSpc>
            </a:pPr>
            <a:r>
              <a:rPr lang="en-GB" sz="1200" b="1" dirty="0">
                <a:solidFill>
                  <a:schemeClr val="bg1">
                    <a:lumMod val="50000"/>
                    <a:lumOff val="50000"/>
                  </a:schemeClr>
                </a:solidFill>
              </a:rPr>
              <a:t>Online shopping</a:t>
            </a:r>
            <a:endParaRPr lang="en-GB" sz="700" dirty="0">
              <a:solidFill>
                <a:schemeClr val="bg1">
                  <a:lumMod val="50000"/>
                  <a:lumOff val="50000"/>
                </a:schemeClr>
              </a:solidFill>
            </a:endParaRPr>
          </a:p>
        </p:txBody>
      </p:sp>
      <p:sp>
        <p:nvSpPr>
          <p:cNvPr id="30" name="TextBox 29">
            <a:extLst>
              <a:ext uri="{FF2B5EF4-FFF2-40B4-BE49-F238E27FC236}">
                <a16:creationId xmlns:a16="http://schemas.microsoft.com/office/drawing/2014/main" id="{F7FA019F-3867-48FD-1622-F5BFA7AF2EEB}"/>
              </a:ext>
            </a:extLst>
          </p:cNvPr>
          <p:cNvSpPr txBox="1"/>
          <p:nvPr/>
        </p:nvSpPr>
        <p:spPr>
          <a:xfrm>
            <a:off x="8776909" y="5502795"/>
            <a:ext cx="2905621" cy="276999"/>
          </a:xfrm>
          <a:prstGeom prst="rect">
            <a:avLst/>
          </a:prstGeom>
          <a:noFill/>
          <a:ln>
            <a:noFill/>
          </a:ln>
        </p:spPr>
        <p:txBody>
          <a:bodyPr wrap="square">
            <a:spAutoFit/>
          </a:bodyPr>
          <a:lstStyle/>
          <a:p>
            <a:pPr lvl="1" algn="r">
              <a:lnSpc>
                <a:spcPct val="100000"/>
              </a:lnSpc>
            </a:pPr>
            <a:r>
              <a:rPr lang="en-GB" sz="1200" b="1" dirty="0">
                <a:solidFill>
                  <a:schemeClr val="bg1">
                    <a:lumMod val="50000"/>
                    <a:lumOff val="50000"/>
                  </a:schemeClr>
                </a:solidFill>
              </a:rPr>
              <a:t>Go out for a meal</a:t>
            </a:r>
            <a:endParaRPr lang="en-GB" sz="700" dirty="0">
              <a:solidFill>
                <a:schemeClr val="bg1">
                  <a:lumMod val="50000"/>
                  <a:lumOff val="50000"/>
                </a:schemeClr>
              </a:solidFill>
            </a:endParaRPr>
          </a:p>
        </p:txBody>
      </p:sp>
      <p:sp>
        <p:nvSpPr>
          <p:cNvPr id="31" name="Rectangle 30">
            <a:extLst>
              <a:ext uri="{FF2B5EF4-FFF2-40B4-BE49-F238E27FC236}">
                <a16:creationId xmlns:a16="http://schemas.microsoft.com/office/drawing/2014/main" id="{E65B5A24-194A-C888-BF52-F1E6E9508990}"/>
              </a:ext>
            </a:extLst>
          </p:cNvPr>
          <p:cNvSpPr/>
          <p:nvPr/>
        </p:nvSpPr>
        <p:spPr>
          <a:xfrm>
            <a:off x="3815532" y="6106017"/>
            <a:ext cx="8322903" cy="342149"/>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600" b="1" dirty="0">
                <a:solidFill>
                  <a:srgbClr val="FFFFFF"/>
                </a:solidFill>
              </a:rPr>
              <a:t>98% OF DCM CINEMAS ARE WITHIN ONE MILE OF A RETAIL LOCATION </a:t>
            </a:r>
          </a:p>
        </p:txBody>
      </p:sp>
    </p:spTree>
    <p:extLst>
      <p:ext uri="{BB962C8B-B14F-4D97-AF65-F5344CB8AC3E}">
        <p14:creationId xmlns:p14="http://schemas.microsoft.com/office/powerpoint/2010/main" val="1188944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663BAB9B-90CC-4A70-85CB-A60F965BC467}"/>
              </a:ext>
            </a:extLst>
          </p:cNvPr>
          <p:cNvSpPr>
            <a:spLocks noGrp="1"/>
          </p:cNvSpPr>
          <p:nvPr>
            <p:ph type="title"/>
          </p:nvPr>
        </p:nvSpPr>
        <p:spPr/>
        <p:txBody>
          <a:bodyPr/>
          <a:lstStyle/>
          <a:p>
            <a:r>
              <a:rPr lang="en-GB" dirty="0"/>
              <a:t>KEY 16-34 LAUNCH OPPORTUNITIES</a:t>
            </a:r>
            <a:endParaRPr lang="en-US" dirty="0"/>
          </a:p>
        </p:txBody>
      </p:sp>
      <p:sp>
        <p:nvSpPr>
          <p:cNvPr id="15" name="Text Placeholder 14">
            <a:extLst>
              <a:ext uri="{FF2B5EF4-FFF2-40B4-BE49-F238E27FC236}">
                <a16:creationId xmlns:a16="http://schemas.microsoft.com/office/drawing/2014/main" id="{0F691E94-CDC5-4414-938F-98CA8548E161}"/>
              </a:ext>
            </a:extLst>
          </p:cNvPr>
          <p:cNvSpPr>
            <a:spLocks noGrp="1"/>
          </p:cNvSpPr>
          <p:nvPr>
            <p:ph type="body" sz="quarter" idx="44"/>
          </p:nvPr>
        </p:nvSpPr>
        <p:spPr>
          <a:xfrm>
            <a:off x="9757206" y="3471647"/>
            <a:ext cx="1588595" cy="266284"/>
          </a:xfrm>
        </p:spPr>
        <p:txBody>
          <a:bodyPr/>
          <a:lstStyle/>
          <a:p>
            <a:r>
              <a:rPr lang="en-GB" dirty="0">
                <a:solidFill>
                  <a:schemeClr val="bg2"/>
                </a:solidFill>
              </a:rPr>
              <a:t>Avatar: The Way of Water</a:t>
            </a:r>
          </a:p>
          <a:p>
            <a:r>
              <a:rPr lang="en-GB" dirty="0">
                <a:solidFill>
                  <a:schemeClr val="accent6">
                    <a:lumMod val="75000"/>
                  </a:schemeClr>
                </a:solidFill>
              </a:rPr>
              <a:t>16-34 Index: 147</a:t>
            </a:r>
          </a:p>
          <a:p>
            <a:r>
              <a:rPr lang="en-GB" dirty="0">
                <a:solidFill>
                  <a:schemeClr val="accent6">
                    <a:lumMod val="75000"/>
                  </a:schemeClr>
                </a:solidFill>
              </a:rPr>
              <a:t>16 Dec 2022</a:t>
            </a:r>
            <a:endParaRPr lang="en-US" dirty="0">
              <a:solidFill>
                <a:schemeClr val="accent6">
                  <a:lumMod val="75000"/>
                </a:schemeClr>
              </a:solidFill>
            </a:endParaRPr>
          </a:p>
          <a:p>
            <a:endParaRPr lang="en-US" dirty="0">
              <a:solidFill>
                <a:schemeClr val="accent6">
                  <a:lumMod val="75000"/>
                </a:schemeClr>
              </a:solidFill>
            </a:endParaRPr>
          </a:p>
        </p:txBody>
      </p:sp>
      <p:sp>
        <p:nvSpPr>
          <p:cNvPr id="9" name="Text Placeholder 8">
            <a:extLst>
              <a:ext uri="{FF2B5EF4-FFF2-40B4-BE49-F238E27FC236}">
                <a16:creationId xmlns:a16="http://schemas.microsoft.com/office/drawing/2014/main" id="{BBB278B9-1341-445C-880C-3352D51F7A4A}"/>
              </a:ext>
            </a:extLst>
          </p:cNvPr>
          <p:cNvSpPr>
            <a:spLocks noGrp="1"/>
          </p:cNvSpPr>
          <p:nvPr>
            <p:ph type="body" sz="quarter" idx="11"/>
          </p:nvPr>
        </p:nvSpPr>
        <p:spPr>
          <a:xfrm>
            <a:off x="6464639" y="7210082"/>
            <a:ext cx="6802438" cy="205184"/>
          </a:xfrm>
        </p:spPr>
        <p:txBody>
          <a:bodyPr/>
          <a:lstStyle/>
          <a:p>
            <a:pPr>
              <a:lnSpc>
                <a:spcPts val="800"/>
              </a:lnSpc>
            </a:pPr>
            <a:r>
              <a:rPr lang="en-GB" dirty="0"/>
              <a:t>Index vs. % of 16-34 adult in UK population. </a:t>
            </a:r>
          </a:p>
          <a:p>
            <a:pPr>
              <a:lnSpc>
                <a:spcPts val="800"/>
              </a:lnSpc>
            </a:pPr>
            <a:r>
              <a:rPr lang="en-GB" dirty="0"/>
              <a:t>Based on comparative film profiles.</a:t>
            </a:r>
            <a:endParaRPr lang="en-US" dirty="0"/>
          </a:p>
        </p:txBody>
      </p:sp>
      <p:sp>
        <p:nvSpPr>
          <p:cNvPr id="10" name="Text Placeholder 9">
            <a:extLst>
              <a:ext uri="{FF2B5EF4-FFF2-40B4-BE49-F238E27FC236}">
                <a16:creationId xmlns:a16="http://schemas.microsoft.com/office/drawing/2014/main" id="{E6AA96F5-0DD5-48B3-8E22-775B5A669E17}"/>
              </a:ext>
            </a:extLst>
          </p:cNvPr>
          <p:cNvSpPr>
            <a:spLocks noGrp="1"/>
          </p:cNvSpPr>
          <p:nvPr>
            <p:ph type="body" sz="quarter" idx="27"/>
          </p:nvPr>
        </p:nvSpPr>
        <p:spPr>
          <a:xfrm>
            <a:off x="270623" y="651956"/>
            <a:ext cx="11358160" cy="436608"/>
          </a:xfrm>
        </p:spPr>
        <p:txBody>
          <a:bodyPr/>
          <a:lstStyle/>
          <a:p>
            <a:pPr>
              <a:lnSpc>
                <a:spcPct val="100000"/>
              </a:lnSpc>
            </a:pPr>
            <a:r>
              <a:rPr lang="en-GB" dirty="0"/>
              <a:t>An exciting slate will continue to draw young audiences to the cinema across the next few months</a:t>
            </a:r>
            <a:endParaRPr lang="en-US" dirty="0"/>
          </a:p>
        </p:txBody>
      </p:sp>
      <p:sp>
        <p:nvSpPr>
          <p:cNvPr id="22" name="Text Placeholder 21">
            <a:extLst>
              <a:ext uri="{FF2B5EF4-FFF2-40B4-BE49-F238E27FC236}">
                <a16:creationId xmlns:a16="http://schemas.microsoft.com/office/drawing/2014/main" id="{BE304C76-18F4-442E-A9D3-89EF27558B33}"/>
              </a:ext>
            </a:extLst>
          </p:cNvPr>
          <p:cNvSpPr>
            <a:spLocks noGrp="1"/>
          </p:cNvSpPr>
          <p:nvPr>
            <p:ph type="body" sz="quarter" idx="52"/>
          </p:nvPr>
        </p:nvSpPr>
        <p:spPr>
          <a:xfrm>
            <a:off x="5721935" y="6424470"/>
            <a:ext cx="1588595" cy="266284"/>
          </a:xfrm>
        </p:spPr>
        <p:txBody>
          <a:bodyPr/>
          <a:lstStyle/>
          <a:p>
            <a:r>
              <a:rPr lang="en-GB" dirty="0">
                <a:solidFill>
                  <a:schemeClr val="bg2"/>
                </a:solidFill>
              </a:rPr>
              <a:t>John Wick: Chapter 4</a:t>
            </a:r>
          </a:p>
          <a:p>
            <a:r>
              <a:rPr lang="en-GB" dirty="0">
                <a:solidFill>
                  <a:schemeClr val="accent6">
                    <a:lumMod val="75000"/>
                  </a:schemeClr>
                </a:solidFill>
              </a:rPr>
              <a:t>16-34 Index: 239</a:t>
            </a:r>
          </a:p>
          <a:p>
            <a:r>
              <a:rPr lang="en-GB" dirty="0">
                <a:solidFill>
                  <a:schemeClr val="accent6">
                    <a:lumMod val="75000"/>
                  </a:schemeClr>
                </a:solidFill>
              </a:rPr>
              <a:t>24 Mar 2023</a:t>
            </a:r>
            <a:endParaRPr lang="en-US" dirty="0">
              <a:solidFill>
                <a:schemeClr val="accent6">
                  <a:lumMod val="75000"/>
                </a:schemeClr>
              </a:solidFill>
            </a:endParaRPr>
          </a:p>
          <a:p>
            <a:endParaRPr lang="en-US" dirty="0">
              <a:solidFill>
                <a:schemeClr val="accent6">
                  <a:lumMod val="75000"/>
                </a:schemeClr>
              </a:solidFill>
            </a:endParaRPr>
          </a:p>
        </p:txBody>
      </p:sp>
      <p:sp>
        <p:nvSpPr>
          <p:cNvPr id="23" name="Text Placeholder 22">
            <a:extLst>
              <a:ext uri="{FF2B5EF4-FFF2-40B4-BE49-F238E27FC236}">
                <a16:creationId xmlns:a16="http://schemas.microsoft.com/office/drawing/2014/main" id="{D733FC12-AB45-4D74-BE81-E865CB1D5C94}"/>
              </a:ext>
            </a:extLst>
          </p:cNvPr>
          <p:cNvSpPr>
            <a:spLocks noGrp="1"/>
          </p:cNvSpPr>
          <p:nvPr>
            <p:ph type="body" sz="quarter" idx="53"/>
          </p:nvPr>
        </p:nvSpPr>
        <p:spPr>
          <a:xfrm>
            <a:off x="7843956" y="6403725"/>
            <a:ext cx="1588595" cy="266284"/>
          </a:xfrm>
        </p:spPr>
        <p:txBody>
          <a:bodyPr/>
          <a:lstStyle/>
          <a:p>
            <a:r>
              <a:rPr lang="en-GB" dirty="0">
                <a:solidFill>
                  <a:schemeClr val="bg2"/>
                </a:solidFill>
              </a:rPr>
              <a:t>Fast &amp; Furious 10</a:t>
            </a:r>
          </a:p>
          <a:p>
            <a:r>
              <a:rPr lang="en-GB" dirty="0">
                <a:solidFill>
                  <a:schemeClr val="accent6">
                    <a:lumMod val="75000"/>
                  </a:schemeClr>
                </a:solidFill>
              </a:rPr>
              <a:t>16-34 Index: 210</a:t>
            </a:r>
          </a:p>
          <a:p>
            <a:r>
              <a:rPr lang="en-GB" dirty="0">
                <a:solidFill>
                  <a:schemeClr val="accent6">
                    <a:lumMod val="75000"/>
                  </a:schemeClr>
                </a:solidFill>
              </a:rPr>
              <a:t>19 May 2023</a:t>
            </a:r>
            <a:endParaRPr lang="en-US" dirty="0">
              <a:solidFill>
                <a:schemeClr val="accent6">
                  <a:lumMod val="75000"/>
                </a:schemeClr>
              </a:solidFill>
            </a:endParaRPr>
          </a:p>
          <a:p>
            <a:endParaRPr lang="en-US" dirty="0">
              <a:solidFill>
                <a:schemeClr val="accent6">
                  <a:lumMod val="75000"/>
                </a:schemeClr>
              </a:solidFill>
            </a:endParaRPr>
          </a:p>
        </p:txBody>
      </p:sp>
      <p:sp>
        <p:nvSpPr>
          <p:cNvPr id="24" name="Text Placeholder 23">
            <a:extLst>
              <a:ext uri="{FF2B5EF4-FFF2-40B4-BE49-F238E27FC236}">
                <a16:creationId xmlns:a16="http://schemas.microsoft.com/office/drawing/2014/main" id="{94503EA7-7994-4D40-AC47-ED3A841AFB46}"/>
              </a:ext>
            </a:extLst>
          </p:cNvPr>
          <p:cNvSpPr>
            <a:spLocks noGrp="1"/>
          </p:cNvSpPr>
          <p:nvPr>
            <p:ph type="body" sz="quarter" idx="54"/>
          </p:nvPr>
        </p:nvSpPr>
        <p:spPr>
          <a:xfrm>
            <a:off x="1801223" y="6449270"/>
            <a:ext cx="1588595" cy="266284"/>
          </a:xfrm>
        </p:spPr>
        <p:txBody>
          <a:bodyPr/>
          <a:lstStyle/>
          <a:p>
            <a:r>
              <a:rPr lang="en-GB" dirty="0">
                <a:solidFill>
                  <a:schemeClr val="bg2"/>
                </a:solidFill>
              </a:rPr>
              <a:t>Shazam: Fury of the Gods</a:t>
            </a:r>
          </a:p>
          <a:p>
            <a:r>
              <a:rPr lang="en-GB" dirty="0">
                <a:solidFill>
                  <a:schemeClr val="accent6">
                    <a:lumMod val="75000"/>
                  </a:schemeClr>
                </a:solidFill>
              </a:rPr>
              <a:t>16-34 Index: 167</a:t>
            </a:r>
          </a:p>
          <a:p>
            <a:r>
              <a:rPr lang="en-GB" dirty="0">
                <a:solidFill>
                  <a:schemeClr val="accent6">
                    <a:lumMod val="75000"/>
                  </a:schemeClr>
                </a:solidFill>
              </a:rPr>
              <a:t>17 March 2023</a:t>
            </a:r>
            <a:endParaRPr lang="en-US" dirty="0">
              <a:solidFill>
                <a:schemeClr val="accent6">
                  <a:lumMod val="75000"/>
                </a:schemeClr>
              </a:solidFill>
            </a:endParaRPr>
          </a:p>
        </p:txBody>
      </p:sp>
      <p:sp>
        <p:nvSpPr>
          <p:cNvPr id="25" name="Text Placeholder 24">
            <a:extLst>
              <a:ext uri="{FF2B5EF4-FFF2-40B4-BE49-F238E27FC236}">
                <a16:creationId xmlns:a16="http://schemas.microsoft.com/office/drawing/2014/main" id="{C73AC181-D8BA-42AF-BE05-8CFDFCDCE6A4}"/>
              </a:ext>
            </a:extLst>
          </p:cNvPr>
          <p:cNvSpPr>
            <a:spLocks noGrp="1"/>
          </p:cNvSpPr>
          <p:nvPr>
            <p:ph type="body" sz="quarter" idx="55"/>
          </p:nvPr>
        </p:nvSpPr>
        <p:spPr>
          <a:xfrm>
            <a:off x="9736322" y="6445388"/>
            <a:ext cx="1588595" cy="266284"/>
          </a:xfrm>
        </p:spPr>
        <p:txBody>
          <a:bodyPr/>
          <a:lstStyle/>
          <a:p>
            <a:r>
              <a:rPr lang="en-GB" dirty="0">
                <a:solidFill>
                  <a:schemeClr val="bg2"/>
                </a:solidFill>
              </a:rPr>
              <a:t>Insidious 5</a:t>
            </a:r>
          </a:p>
          <a:p>
            <a:r>
              <a:rPr lang="en-GB" dirty="0">
                <a:solidFill>
                  <a:schemeClr val="accent6">
                    <a:lumMod val="75000"/>
                  </a:schemeClr>
                </a:solidFill>
              </a:rPr>
              <a:t>16-34 Index: 284</a:t>
            </a:r>
          </a:p>
          <a:p>
            <a:r>
              <a:rPr lang="en-GB" dirty="0">
                <a:solidFill>
                  <a:schemeClr val="accent6">
                    <a:lumMod val="75000"/>
                  </a:schemeClr>
                </a:solidFill>
              </a:rPr>
              <a:t>7 Jul 2023</a:t>
            </a:r>
            <a:endParaRPr lang="en-US" dirty="0">
              <a:solidFill>
                <a:schemeClr val="accent6">
                  <a:lumMod val="75000"/>
                </a:schemeClr>
              </a:solidFill>
            </a:endParaRPr>
          </a:p>
        </p:txBody>
      </p:sp>
      <p:sp>
        <p:nvSpPr>
          <p:cNvPr id="26" name="Text Placeholder 25">
            <a:extLst>
              <a:ext uri="{FF2B5EF4-FFF2-40B4-BE49-F238E27FC236}">
                <a16:creationId xmlns:a16="http://schemas.microsoft.com/office/drawing/2014/main" id="{1D631F20-A146-44F0-94A7-D83A4888A992}"/>
              </a:ext>
            </a:extLst>
          </p:cNvPr>
          <p:cNvSpPr>
            <a:spLocks noGrp="1"/>
          </p:cNvSpPr>
          <p:nvPr>
            <p:ph type="body" sz="quarter" idx="56"/>
          </p:nvPr>
        </p:nvSpPr>
        <p:spPr>
          <a:xfrm>
            <a:off x="3746797" y="3468851"/>
            <a:ext cx="1820121" cy="266284"/>
          </a:xfrm>
        </p:spPr>
        <p:txBody>
          <a:bodyPr/>
          <a:lstStyle/>
          <a:p>
            <a:r>
              <a:rPr lang="en-GB" dirty="0">
                <a:solidFill>
                  <a:schemeClr val="bg2"/>
                </a:solidFill>
              </a:rPr>
              <a:t>Black Adam</a:t>
            </a:r>
          </a:p>
          <a:p>
            <a:r>
              <a:rPr lang="en-GB" dirty="0">
                <a:solidFill>
                  <a:schemeClr val="accent6">
                    <a:lumMod val="75000"/>
                  </a:schemeClr>
                </a:solidFill>
              </a:rPr>
              <a:t>16-34 Index: 192</a:t>
            </a:r>
          </a:p>
          <a:p>
            <a:r>
              <a:rPr lang="en-GB" dirty="0">
                <a:solidFill>
                  <a:schemeClr val="accent6">
                    <a:lumMod val="75000"/>
                  </a:schemeClr>
                </a:solidFill>
              </a:rPr>
              <a:t>21 Oct 2022</a:t>
            </a:r>
            <a:endParaRPr lang="en-US" dirty="0">
              <a:solidFill>
                <a:schemeClr val="accent6">
                  <a:lumMod val="75000"/>
                </a:schemeClr>
              </a:solidFill>
            </a:endParaRPr>
          </a:p>
          <a:p>
            <a:endParaRPr lang="en-US" dirty="0">
              <a:solidFill>
                <a:schemeClr val="accent6">
                  <a:lumMod val="75000"/>
                </a:schemeClr>
              </a:solidFill>
            </a:endParaRPr>
          </a:p>
        </p:txBody>
      </p:sp>
      <p:sp>
        <p:nvSpPr>
          <p:cNvPr id="27" name="Text Placeholder 26">
            <a:extLst>
              <a:ext uri="{FF2B5EF4-FFF2-40B4-BE49-F238E27FC236}">
                <a16:creationId xmlns:a16="http://schemas.microsoft.com/office/drawing/2014/main" id="{89216D16-0F2F-45B2-AB2E-0221AD14A371}"/>
              </a:ext>
            </a:extLst>
          </p:cNvPr>
          <p:cNvSpPr>
            <a:spLocks noGrp="1"/>
          </p:cNvSpPr>
          <p:nvPr>
            <p:ph type="body" sz="quarter" idx="57"/>
          </p:nvPr>
        </p:nvSpPr>
        <p:spPr>
          <a:xfrm>
            <a:off x="3761579" y="6449270"/>
            <a:ext cx="1588595" cy="266284"/>
          </a:xfrm>
        </p:spPr>
        <p:txBody>
          <a:bodyPr/>
          <a:lstStyle/>
          <a:p>
            <a:r>
              <a:rPr lang="en-GB" dirty="0">
                <a:solidFill>
                  <a:schemeClr val="bg2"/>
                </a:solidFill>
              </a:rPr>
              <a:t>Babylon</a:t>
            </a:r>
          </a:p>
          <a:p>
            <a:r>
              <a:rPr lang="en-GB" dirty="0">
                <a:solidFill>
                  <a:schemeClr val="accent6">
                    <a:lumMod val="75000"/>
                  </a:schemeClr>
                </a:solidFill>
              </a:rPr>
              <a:t>16-34 Index: 176</a:t>
            </a:r>
          </a:p>
          <a:p>
            <a:r>
              <a:rPr lang="en-GB" dirty="0">
                <a:solidFill>
                  <a:schemeClr val="accent6">
                    <a:lumMod val="75000"/>
                  </a:schemeClr>
                </a:solidFill>
              </a:rPr>
              <a:t>20 Jan 2023</a:t>
            </a:r>
            <a:endParaRPr lang="en-US" dirty="0">
              <a:solidFill>
                <a:schemeClr val="accent6">
                  <a:lumMod val="75000"/>
                </a:schemeClr>
              </a:solidFill>
            </a:endParaRPr>
          </a:p>
          <a:p>
            <a:endParaRPr lang="en-US" dirty="0">
              <a:solidFill>
                <a:schemeClr val="accent6">
                  <a:lumMod val="75000"/>
                </a:schemeClr>
              </a:solidFill>
            </a:endParaRPr>
          </a:p>
        </p:txBody>
      </p:sp>
      <p:sp>
        <p:nvSpPr>
          <p:cNvPr id="28" name="Text Placeholder 27">
            <a:extLst>
              <a:ext uri="{FF2B5EF4-FFF2-40B4-BE49-F238E27FC236}">
                <a16:creationId xmlns:a16="http://schemas.microsoft.com/office/drawing/2014/main" id="{CC1D12FD-5D26-4716-9D8F-1D2C97F14FB6}"/>
              </a:ext>
            </a:extLst>
          </p:cNvPr>
          <p:cNvSpPr>
            <a:spLocks noGrp="1"/>
          </p:cNvSpPr>
          <p:nvPr>
            <p:ph type="body" sz="quarter" idx="58"/>
          </p:nvPr>
        </p:nvSpPr>
        <p:spPr>
          <a:xfrm>
            <a:off x="1804463" y="3455973"/>
            <a:ext cx="1588595" cy="266284"/>
          </a:xfrm>
        </p:spPr>
        <p:txBody>
          <a:bodyPr/>
          <a:lstStyle/>
          <a:p>
            <a:r>
              <a:rPr lang="en-GB" dirty="0">
                <a:solidFill>
                  <a:schemeClr val="bg2"/>
                </a:solidFill>
              </a:rPr>
              <a:t>Don’t Worry Darling</a:t>
            </a:r>
          </a:p>
          <a:p>
            <a:r>
              <a:rPr lang="en-GB" dirty="0">
                <a:solidFill>
                  <a:schemeClr val="accent6">
                    <a:lumMod val="75000"/>
                  </a:schemeClr>
                </a:solidFill>
              </a:rPr>
              <a:t>16-34 Index: 174</a:t>
            </a:r>
          </a:p>
          <a:p>
            <a:r>
              <a:rPr lang="en-GB" dirty="0">
                <a:solidFill>
                  <a:schemeClr val="accent6">
                    <a:lumMod val="75000"/>
                  </a:schemeClr>
                </a:solidFill>
              </a:rPr>
              <a:t>23 Sept 2022</a:t>
            </a:r>
            <a:endParaRPr lang="en-US" dirty="0">
              <a:solidFill>
                <a:schemeClr val="accent6">
                  <a:lumMod val="75000"/>
                </a:schemeClr>
              </a:solidFill>
            </a:endParaRPr>
          </a:p>
          <a:p>
            <a:endParaRPr lang="en-US" dirty="0">
              <a:solidFill>
                <a:schemeClr val="accent6">
                  <a:lumMod val="75000"/>
                </a:schemeClr>
              </a:solidFill>
            </a:endParaRPr>
          </a:p>
        </p:txBody>
      </p:sp>
      <p:sp>
        <p:nvSpPr>
          <p:cNvPr id="29" name="Text Placeholder 28">
            <a:extLst>
              <a:ext uri="{FF2B5EF4-FFF2-40B4-BE49-F238E27FC236}">
                <a16:creationId xmlns:a16="http://schemas.microsoft.com/office/drawing/2014/main" id="{74E0B1EA-9A7C-4AD1-8EFF-E69A354BD51A}"/>
              </a:ext>
            </a:extLst>
          </p:cNvPr>
          <p:cNvSpPr>
            <a:spLocks noGrp="1"/>
          </p:cNvSpPr>
          <p:nvPr>
            <p:ph type="body" sz="quarter" idx="59"/>
          </p:nvPr>
        </p:nvSpPr>
        <p:spPr>
          <a:xfrm>
            <a:off x="7853826" y="3468851"/>
            <a:ext cx="1588595" cy="266284"/>
          </a:xfrm>
        </p:spPr>
        <p:txBody>
          <a:bodyPr/>
          <a:lstStyle/>
          <a:p>
            <a:pPr lvl="0"/>
            <a:r>
              <a:rPr lang="en-GB" dirty="0">
                <a:solidFill>
                  <a:srgbClr val="0099A8"/>
                </a:solidFill>
              </a:rPr>
              <a:t>Matilda</a:t>
            </a:r>
          </a:p>
          <a:p>
            <a:r>
              <a:rPr lang="en-GB" dirty="0">
                <a:solidFill>
                  <a:schemeClr val="accent6">
                    <a:lumMod val="75000"/>
                  </a:schemeClr>
                </a:solidFill>
              </a:rPr>
              <a:t>16-34 Index: 147</a:t>
            </a:r>
          </a:p>
          <a:p>
            <a:r>
              <a:rPr lang="en-GB" dirty="0">
                <a:solidFill>
                  <a:schemeClr val="accent6">
                    <a:lumMod val="75000"/>
                  </a:schemeClr>
                </a:solidFill>
              </a:rPr>
              <a:t>2 Dec 2022</a:t>
            </a:r>
            <a:endParaRPr lang="en-US" dirty="0">
              <a:solidFill>
                <a:schemeClr val="accent6">
                  <a:lumMod val="75000"/>
                </a:schemeClr>
              </a:solidFill>
            </a:endParaRPr>
          </a:p>
        </p:txBody>
      </p:sp>
      <p:sp>
        <p:nvSpPr>
          <p:cNvPr id="30" name="Text Placeholder 29">
            <a:extLst>
              <a:ext uri="{FF2B5EF4-FFF2-40B4-BE49-F238E27FC236}">
                <a16:creationId xmlns:a16="http://schemas.microsoft.com/office/drawing/2014/main" id="{3CAFE6FD-17A5-4138-8E21-1C881C8058CD}"/>
              </a:ext>
            </a:extLst>
          </p:cNvPr>
          <p:cNvSpPr>
            <a:spLocks noGrp="1"/>
          </p:cNvSpPr>
          <p:nvPr>
            <p:ph type="body" sz="quarter" idx="60"/>
          </p:nvPr>
        </p:nvSpPr>
        <p:spPr>
          <a:xfrm>
            <a:off x="5667119" y="3467743"/>
            <a:ext cx="2086820" cy="386719"/>
          </a:xfrm>
        </p:spPr>
        <p:txBody>
          <a:bodyPr/>
          <a:lstStyle/>
          <a:p>
            <a:r>
              <a:rPr lang="en-GB" dirty="0">
                <a:solidFill>
                  <a:schemeClr val="bg2"/>
                </a:solidFill>
              </a:rPr>
              <a:t>Black Panther: Wakanda Forever</a:t>
            </a:r>
          </a:p>
          <a:p>
            <a:r>
              <a:rPr lang="en-GB" dirty="0">
                <a:solidFill>
                  <a:schemeClr val="accent6">
                    <a:lumMod val="75000"/>
                  </a:schemeClr>
                </a:solidFill>
              </a:rPr>
              <a:t>16-34 Index: </a:t>
            </a:r>
          </a:p>
          <a:p>
            <a:r>
              <a:rPr lang="en-GB" dirty="0">
                <a:solidFill>
                  <a:schemeClr val="accent6">
                    <a:lumMod val="75000"/>
                  </a:schemeClr>
                </a:solidFill>
              </a:rPr>
              <a:t>11 Nov 2022</a:t>
            </a:r>
            <a:endParaRPr lang="en-US" dirty="0">
              <a:solidFill>
                <a:schemeClr val="accent6">
                  <a:lumMod val="75000"/>
                </a:schemeClr>
              </a:solidFill>
            </a:endParaRPr>
          </a:p>
        </p:txBody>
      </p:sp>
      <p:pic>
        <p:nvPicPr>
          <p:cNvPr id="4" name="Picture Placeholder 3">
            <a:extLst>
              <a:ext uri="{FF2B5EF4-FFF2-40B4-BE49-F238E27FC236}">
                <a16:creationId xmlns:a16="http://schemas.microsoft.com/office/drawing/2014/main" id="{FDC51614-F8D3-6B12-5952-EDBD778F95E2}"/>
              </a:ext>
            </a:extLst>
          </p:cNvPr>
          <p:cNvPicPr>
            <a:picLocks noGrp="1" noChangeAspect="1"/>
          </p:cNvPicPr>
          <p:nvPr>
            <p:ph type="pic" sz="quarter" idx="34"/>
          </p:nvPr>
        </p:nvPicPr>
        <p:blipFill>
          <a:blip r:embed="rId3" cstate="print">
            <a:extLst>
              <a:ext uri="{28A0092B-C50C-407E-A947-70E740481C1C}">
                <a14:useLocalDpi xmlns:a14="http://schemas.microsoft.com/office/drawing/2010/main"/>
              </a:ext>
            </a:extLst>
          </a:blip>
          <a:srcRect/>
          <a:stretch>
            <a:fillRect/>
          </a:stretch>
        </p:blipFill>
        <p:spPr>
          <a:xfrm>
            <a:off x="9725840" y="1024120"/>
            <a:ext cx="1599050" cy="2362610"/>
          </a:xfrm>
          <a:prstGeom prst="rect">
            <a:avLst/>
          </a:prstGeom>
        </p:spPr>
      </p:pic>
      <p:pic>
        <p:nvPicPr>
          <p:cNvPr id="21" name="Picture Placeholder 20">
            <a:extLst>
              <a:ext uri="{FF2B5EF4-FFF2-40B4-BE49-F238E27FC236}">
                <a16:creationId xmlns:a16="http://schemas.microsoft.com/office/drawing/2014/main" id="{19C27BD0-5BDB-CBC4-68A9-D690B505FA91}"/>
              </a:ext>
            </a:extLst>
          </p:cNvPr>
          <p:cNvPicPr>
            <a:picLocks noGrp="1" noChangeAspect="1"/>
          </p:cNvPicPr>
          <p:nvPr>
            <p:ph type="pic" sz="quarter" idx="47"/>
          </p:nvPr>
        </p:nvPicPr>
        <p:blipFill>
          <a:blip r:embed="rId4" cstate="print">
            <a:extLst>
              <a:ext uri="{28A0092B-C50C-407E-A947-70E740481C1C}">
                <a14:useLocalDpi xmlns:a14="http://schemas.microsoft.com/office/drawing/2010/main"/>
              </a:ext>
            </a:extLst>
          </a:blip>
          <a:srcRect/>
          <a:stretch>
            <a:fillRect/>
          </a:stretch>
        </p:blipFill>
        <p:spPr>
          <a:xfrm>
            <a:off x="3746797" y="1038434"/>
            <a:ext cx="1599050" cy="2362610"/>
          </a:xfrm>
          <a:prstGeom prst="rect">
            <a:avLst/>
          </a:prstGeom>
        </p:spPr>
      </p:pic>
      <p:pic>
        <p:nvPicPr>
          <p:cNvPr id="37" name="Picture Placeholder 36">
            <a:extLst>
              <a:ext uri="{FF2B5EF4-FFF2-40B4-BE49-F238E27FC236}">
                <a16:creationId xmlns:a16="http://schemas.microsoft.com/office/drawing/2014/main" id="{C8510505-D980-CF69-33AB-C9A4D356BB83}"/>
              </a:ext>
            </a:extLst>
          </p:cNvPr>
          <p:cNvPicPr>
            <a:picLocks noGrp="1" noChangeAspect="1"/>
          </p:cNvPicPr>
          <p:nvPr>
            <p:ph type="pic" sz="quarter" idx="48"/>
          </p:nvPr>
        </p:nvPicPr>
        <p:blipFill>
          <a:blip r:embed="rId5" cstate="print">
            <a:extLst>
              <a:ext uri="{28A0092B-C50C-407E-A947-70E740481C1C}">
                <a14:useLocalDpi xmlns:a14="http://schemas.microsoft.com/office/drawing/2010/main"/>
              </a:ext>
            </a:extLst>
          </a:blip>
          <a:srcRect/>
          <a:stretch>
            <a:fillRect/>
          </a:stretch>
        </p:blipFill>
        <p:spPr>
          <a:xfrm>
            <a:off x="3728674" y="3998210"/>
            <a:ext cx="1599050" cy="2362610"/>
          </a:xfrm>
          <a:prstGeom prst="rect">
            <a:avLst/>
          </a:prstGeom>
        </p:spPr>
      </p:pic>
      <p:pic>
        <p:nvPicPr>
          <p:cNvPr id="43" name="Picture Placeholder 42">
            <a:extLst>
              <a:ext uri="{FF2B5EF4-FFF2-40B4-BE49-F238E27FC236}">
                <a16:creationId xmlns:a16="http://schemas.microsoft.com/office/drawing/2014/main" id="{77C665AE-23B4-D5FA-71B8-1E1292CA5BF3}"/>
              </a:ext>
            </a:extLst>
          </p:cNvPr>
          <p:cNvPicPr>
            <a:picLocks noGrp="1" noChangeAspect="1"/>
          </p:cNvPicPr>
          <p:nvPr>
            <p:ph type="pic" sz="quarter" idx="49"/>
          </p:nvPr>
        </p:nvPicPr>
        <p:blipFill>
          <a:blip r:embed="rId6" cstate="print">
            <a:extLst>
              <a:ext uri="{28A0092B-C50C-407E-A947-70E740481C1C}">
                <a14:useLocalDpi xmlns:a14="http://schemas.microsoft.com/office/drawing/2010/main"/>
              </a:ext>
            </a:extLst>
          </a:blip>
          <a:srcRect/>
          <a:stretch>
            <a:fillRect/>
          </a:stretch>
        </p:blipFill>
        <p:spPr>
          <a:xfrm>
            <a:off x="1780312" y="1024120"/>
            <a:ext cx="1599050" cy="2362610"/>
          </a:xfrm>
          <a:prstGeom prst="rect">
            <a:avLst/>
          </a:prstGeom>
        </p:spPr>
      </p:pic>
      <p:pic>
        <p:nvPicPr>
          <p:cNvPr id="48" name="Picture Placeholder 47">
            <a:extLst>
              <a:ext uri="{FF2B5EF4-FFF2-40B4-BE49-F238E27FC236}">
                <a16:creationId xmlns:a16="http://schemas.microsoft.com/office/drawing/2014/main" id="{03793244-3A32-3630-DBA1-D6885AADD2A2}"/>
              </a:ext>
            </a:extLst>
          </p:cNvPr>
          <p:cNvPicPr>
            <a:picLocks noGrp="1" noChangeAspect="1"/>
          </p:cNvPicPr>
          <p:nvPr>
            <p:ph type="pic" sz="quarter" idx="43"/>
          </p:nvPr>
        </p:nvPicPr>
        <p:blipFill>
          <a:blip r:embed="rId7" cstate="print">
            <a:extLst>
              <a:ext uri="{28A0092B-C50C-407E-A947-70E740481C1C}">
                <a14:useLocalDpi xmlns:a14="http://schemas.microsoft.com/office/drawing/2010/main"/>
              </a:ext>
            </a:extLst>
          </a:blip>
          <a:srcRect/>
          <a:stretch>
            <a:fillRect/>
          </a:stretch>
        </p:blipFill>
        <p:spPr>
          <a:xfrm>
            <a:off x="1780312" y="3991277"/>
            <a:ext cx="1599050" cy="2362610"/>
          </a:xfrm>
          <a:prstGeom prst="rect">
            <a:avLst/>
          </a:prstGeom>
        </p:spPr>
      </p:pic>
      <p:pic>
        <p:nvPicPr>
          <p:cNvPr id="2" name="Picture Placeholder 1">
            <a:extLst>
              <a:ext uri="{FF2B5EF4-FFF2-40B4-BE49-F238E27FC236}">
                <a16:creationId xmlns:a16="http://schemas.microsoft.com/office/drawing/2014/main" id="{B267DDDA-7CCE-E641-9CA3-20FD5A96FCC2}"/>
              </a:ext>
            </a:extLst>
          </p:cNvPr>
          <p:cNvPicPr>
            <a:picLocks noGrp="1" noChangeAspect="1"/>
          </p:cNvPicPr>
          <p:nvPr>
            <p:ph type="pic" sz="quarter" idx="51"/>
          </p:nvPr>
        </p:nvPicPr>
        <p:blipFill>
          <a:blip r:embed="rId8" cstate="print">
            <a:extLst>
              <a:ext uri="{28A0092B-C50C-407E-A947-70E740481C1C}">
                <a14:useLocalDpi xmlns:a14="http://schemas.microsoft.com/office/drawing/2010/main"/>
              </a:ext>
            </a:extLst>
          </a:blip>
          <a:srcRect/>
          <a:stretch>
            <a:fillRect/>
          </a:stretch>
        </p:blipFill>
        <p:spPr>
          <a:xfrm>
            <a:off x="5794728" y="1038434"/>
            <a:ext cx="1600200" cy="2362200"/>
          </a:xfrm>
          <a:prstGeom prst="rect">
            <a:avLst/>
          </a:prstGeom>
        </p:spPr>
      </p:pic>
      <p:pic>
        <p:nvPicPr>
          <p:cNvPr id="6" name="Picture Placeholder 5">
            <a:extLst>
              <a:ext uri="{FF2B5EF4-FFF2-40B4-BE49-F238E27FC236}">
                <a16:creationId xmlns:a16="http://schemas.microsoft.com/office/drawing/2014/main" id="{E9B9B858-11DF-F564-1E5A-8BC5DE6A29B6}"/>
              </a:ext>
            </a:extLst>
          </p:cNvPr>
          <p:cNvPicPr>
            <a:picLocks noGrp="1" noChangeAspect="1"/>
          </p:cNvPicPr>
          <p:nvPr>
            <p:ph type="pic" sz="quarter" idx="50"/>
          </p:nvPr>
        </p:nvPicPr>
        <p:blipFill>
          <a:blip r:embed="rId9" cstate="print">
            <a:extLst>
              <a:ext uri="{28A0092B-C50C-407E-A947-70E740481C1C}">
                <a14:useLocalDpi xmlns:a14="http://schemas.microsoft.com/office/drawing/2010/main"/>
              </a:ext>
            </a:extLst>
          </a:blip>
          <a:srcRect/>
          <a:stretch>
            <a:fillRect/>
          </a:stretch>
        </p:blipFill>
        <p:spPr>
          <a:xfrm>
            <a:off x="7843809" y="1038024"/>
            <a:ext cx="1599050" cy="2362610"/>
          </a:xfrm>
          <a:prstGeom prst="rect">
            <a:avLst/>
          </a:prstGeom>
        </p:spPr>
      </p:pic>
      <p:pic>
        <p:nvPicPr>
          <p:cNvPr id="19" name="Picture Placeholder 18">
            <a:extLst>
              <a:ext uri="{FF2B5EF4-FFF2-40B4-BE49-F238E27FC236}">
                <a16:creationId xmlns:a16="http://schemas.microsoft.com/office/drawing/2014/main" id="{1D559EE4-D82E-82F4-3F32-E5C31E199B9D}"/>
              </a:ext>
            </a:extLst>
          </p:cNvPr>
          <p:cNvPicPr>
            <a:picLocks noGrp="1" noChangeAspect="1"/>
          </p:cNvPicPr>
          <p:nvPr>
            <p:ph type="pic" sz="quarter" idx="46"/>
          </p:nvPr>
        </p:nvPicPr>
        <p:blipFill>
          <a:blip r:embed="rId10" cstate="print">
            <a:extLst>
              <a:ext uri="{28A0092B-C50C-407E-A947-70E740481C1C}">
                <a14:useLocalDpi xmlns:a14="http://schemas.microsoft.com/office/drawing/2010/main"/>
              </a:ext>
            </a:extLst>
          </a:blip>
          <a:srcRect/>
          <a:stretch>
            <a:fillRect/>
          </a:stretch>
        </p:blipFill>
        <p:spPr>
          <a:xfrm>
            <a:off x="5756017" y="3998210"/>
            <a:ext cx="1598613" cy="2362200"/>
          </a:xfrm>
          <a:prstGeom prst="rect">
            <a:avLst/>
          </a:prstGeom>
        </p:spPr>
      </p:pic>
      <p:pic>
        <p:nvPicPr>
          <p:cNvPr id="18" name="Picture Placeholder 17">
            <a:extLst>
              <a:ext uri="{FF2B5EF4-FFF2-40B4-BE49-F238E27FC236}">
                <a16:creationId xmlns:a16="http://schemas.microsoft.com/office/drawing/2014/main" id="{EDB33618-4B79-C19C-C43A-D1012CC3578B}"/>
              </a:ext>
            </a:extLst>
          </p:cNvPr>
          <p:cNvPicPr>
            <a:picLocks noGrp="1" noChangeAspect="1"/>
          </p:cNvPicPr>
          <p:nvPr>
            <p:ph type="pic" sz="quarter" idx="37"/>
          </p:nvPr>
        </p:nvPicPr>
        <p:blipFill>
          <a:blip r:embed="rId11" cstate="print">
            <a:extLst>
              <a:ext uri="{28A0092B-C50C-407E-A947-70E740481C1C}">
                <a14:useLocalDpi xmlns:a14="http://schemas.microsoft.com/office/drawing/2010/main"/>
              </a:ext>
            </a:extLst>
          </a:blip>
          <a:srcRect/>
          <a:stretch>
            <a:fillRect/>
          </a:stretch>
        </p:blipFill>
        <p:spPr>
          <a:xfrm>
            <a:off x="9726277" y="3991277"/>
            <a:ext cx="1598613" cy="2362200"/>
          </a:xfrm>
          <a:prstGeom prst="rect">
            <a:avLst/>
          </a:prstGeom>
        </p:spPr>
      </p:pic>
      <p:pic>
        <p:nvPicPr>
          <p:cNvPr id="7" name="Picture Placeholder 6">
            <a:extLst>
              <a:ext uri="{FF2B5EF4-FFF2-40B4-BE49-F238E27FC236}">
                <a16:creationId xmlns:a16="http://schemas.microsoft.com/office/drawing/2014/main" id="{97C8E677-1A8E-4189-86F4-F92E791B12BB}"/>
              </a:ext>
            </a:extLst>
          </p:cNvPr>
          <p:cNvPicPr>
            <a:picLocks noGrp="1" noChangeAspect="1"/>
          </p:cNvPicPr>
          <p:nvPr>
            <p:ph type="pic" sz="quarter" idx="40"/>
          </p:nvPr>
        </p:nvPicPr>
        <p:blipFill>
          <a:blip r:embed="rId12" cstate="print">
            <a:extLst>
              <a:ext uri="{28A0092B-C50C-407E-A947-70E740481C1C}">
                <a14:useLocalDpi xmlns:a14="http://schemas.microsoft.com/office/drawing/2010/main"/>
              </a:ext>
            </a:extLst>
          </a:blip>
          <a:srcRect/>
          <a:stretch>
            <a:fillRect/>
          </a:stretch>
        </p:blipFill>
        <p:spPr>
          <a:xfrm>
            <a:off x="7777163" y="3990975"/>
            <a:ext cx="1600200" cy="2362200"/>
          </a:xfrm>
          <a:prstGeom prst="rect">
            <a:avLst/>
          </a:prstGeom>
        </p:spPr>
      </p:pic>
    </p:spTree>
    <p:extLst>
      <p:ext uri="{BB962C8B-B14F-4D97-AF65-F5344CB8AC3E}">
        <p14:creationId xmlns:p14="http://schemas.microsoft.com/office/powerpoint/2010/main" val="3472826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EC604C8-DA25-4E17-AD53-C03B5779E127}"/>
              </a:ext>
            </a:extLst>
          </p:cNvPr>
          <p:cNvSpPr>
            <a:spLocks noGrp="1"/>
          </p:cNvSpPr>
          <p:nvPr>
            <p:ph type="title"/>
          </p:nvPr>
        </p:nvSpPr>
        <p:spPr/>
        <p:txBody>
          <a:bodyPr/>
          <a:lstStyle/>
          <a:p>
            <a:r>
              <a:rPr lang="en-GB" dirty="0"/>
              <a:t>Top films to access across both genders</a:t>
            </a:r>
          </a:p>
        </p:txBody>
      </p:sp>
      <p:sp>
        <p:nvSpPr>
          <p:cNvPr id="8" name="Text Placeholder 7">
            <a:extLst>
              <a:ext uri="{FF2B5EF4-FFF2-40B4-BE49-F238E27FC236}">
                <a16:creationId xmlns:a16="http://schemas.microsoft.com/office/drawing/2014/main" id="{0407E781-6E09-4506-8909-A0C417AAC360}"/>
              </a:ext>
            </a:extLst>
          </p:cNvPr>
          <p:cNvSpPr>
            <a:spLocks noGrp="1"/>
          </p:cNvSpPr>
          <p:nvPr>
            <p:ph type="body" sz="quarter" idx="14"/>
          </p:nvPr>
        </p:nvSpPr>
        <p:spPr>
          <a:xfrm>
            <a:off x="284748" y="664058"/>
            <a:ext cx="11145252" cy="436608"/>
          </a:xfrm>
        </p:spPr>
        <p:txBody>
          <a:bodyPr/>
          <a:lstStyle/>
          <a:p>
            <a:pPr>
              <a:lnSpc>
                <a:spcPct val="100000"/>
              </a:lnSpc>
            </a:pPr>
            <a:r>
              <a:rPr lang="en-GB" dirty="0"/>
              <a:t>Females are more likely to pay attention to adverts in the cinema and males are more likely to purchase food or drink after </a:t>
            </a:r>
          </a:p>
        </p:txBody>
      </p:sp>
      <p:sp>
        <p:nvSpPr>
          <p:cNvPr id="7" name="Text Placeholder 6">
            <a:extLst>
              <a:ext uri="{FF2B5EF4-FFF2-40B4-BE49-F238E27FC236}">
                <a16:creationId xmlns:a16="http://schemas.microsoft.com/office/drawing/2014/main" id="{8A24AF01-3C66-45E1-8929-C945A42D6538}"/>
              </a:ext>
            </a:extLst>
          </p:cNvPr>
          <p:cNvSpPr>
            <a:spLocks noGrp="1"/>
          </p:cNvSpPr>
          <p:nvPr>
            <p:ph type="body" sz="quarter" idx="11"/>
          </p:nvPr>
        </p:nvSpPr>
        <p:spPr>
          <a:xfrm>
            <a:off x="6745316" y="7251119"/>
            <a:ext cx="6562409" cy="123111"/>
          </a:xfrm>
        </p:spPr>
        <p:txBody>
          <a:bodyPr/>
          <a:lstStyle/>
          <a:p>
            <a:pPr>
              <a:lnSpc>
                <a:spcPct val="100000"/>
              </a:lnSpc>
            </a:pPr>
            <a:r>
              <a:rPr lang="en-GB" dirty="0"/>
              <a:t>Source: FAME 2021. Target: 16-34 W0men &amp; 16-34 Men.  Index vs All Adults </a:t>
            </a:r>
          </a:p>
        </p:txBody>
      </p:sp>
      <p:cxnSp>
        <p:nvCxnSpPr>
          <p:cNvPr id="4" name="Straight Connector 3">
            <a:extLst>
              <a:ext uri="{FF2B5EF4-FFF2-40B4-BE49-F238E27FC236}">
                <a16:creationId xmlns:a16="http://schemas.microsoft.com/office/drawing/2014/main" id="{954EDECD-F295-DD9D-D929-8866BF8AB52A}"/>
              </a:ext>
            </a:extLst>
          </p:cNvPr>
          <p:cNvCxnSpPr>
            <a:cxnSpLocks/>
          </p:cNvCxnSpPr>
          <p:nvPr/>
        </p:nvCxnSpPr>
        <p:spPr>
          <a:xfrm>
            <a:off x="428005" y="3780631"/>
            <a:ext cx="12284363" cy="0"/>
          </a:xfrm>
          <a:prstGeom prst="line">
            <a:avLst/>
          </a:prstGeom>
        </p:spPr>
        <p:style>
          <a:lnRef idx="1">
            <a:schemeClr val="accent5"/>
          </a:lnRef>
          <a:fillRef idx="0">
            <a:schemeClr val="accent5"/>
          </a:fillRef>
          <a:effectRef idx="0">
            <a:schemeClr val="accent5"/>
          </a:effectRef>
          <a:fontRef idx="minor">
            <a:schemeClr val="tx1"/>
          </a:fontRef>
        </p:style>
      </p:cxnSp>
      <p:sp>
        <p:nvSpPr>
          <p:cNvPr id="12" name="Rectangle 11">
            <a:extLst>
              <a:ext uri="{FF2B5EF4-FFF2-40B4-BE49-F238E27FC236}">
                <a16:creationId xmlns:a16="http://schemas.microsoft.com/office/drawing/2014/main" id="{62DE2716-DDA5-9D5A-92F9-A7BE0454C12C}"/>
              </a:ext>
            </a:extLst>
          </p:cNvPr>
          <p:cNvSpPr/>
          <p:nvPr/>
        </p:nvSpPr>
        <p:spPr>
          <a:xfrm>
            <a:off x="3061780" y="5955053"/>
            <a:ext cx="3269030" cy="712054"/>
          </a:xfrm>
          <a:prstGeom prst="rect">
            <a:avLst/>
          </a:prstGeom>
        </p:spPr>
        <p:txBody>
          <a:bodyPr wrap="square">
            <a:spAutoFit/>
          </a:bodyPr>
          <a:lstStyle/>
          <a:p>
            <a:pPr lvl="0" algn="ctr">
              <a:buClr>
                <a:srgbClr val="FFFFFF"/>
              </a:buClr>
              <a:buSzPct val="100000"/>
            </a:pPr>
            <a:r>
              <a:rPr lang="en-GB" sz="1400" b="1" dirty="0">
                <a:solidFill>
                  <a:schemeClr val="accent6"/>
                </a:solidFill>
              </a:rPr>
              <a:t>The Hunger Games: The Ballad Of Songbirds And Snakes</a:t>
            </a:r>
          </a:p>
          <a:p>
            <a:pPr lvl="0" algn="ctr">
              <a:lnSpc>
                <a:spcPct val="150000"/>
              </a:lnSpc>
              <a:buClr>
                <a:srgbClr val="FFFFFF"/>
              </a:buClr>
              <a:buSzPct val="100000"/>
            </a:pPr>
            <a:r>
              <a:rPr lang="en-GB" sz="1400" b="1" baseline="30000" dirty="0">
                <a:solidFill>
                  <a:schemeClr val="accent6"/>
                </a:solidFill>
              </a:rPr>
              <a:t>(Index: 216)</a:t>
            </a:r>
            <a:endParaRPr lang="en-GB" sz="700" b="1" baseline="30000" dirty="0">
              <a:solidFill>
                <a:schemeClr val="accent6"/>
              </a:solidFill>
            </a:endParaRPr>
          </a:p>
        </p:txBody>
      </p:sp>
      <p:sp>
        <p:nvSpPr>
          <p:cNvPr id="16" name="Rectangle 15">
            <a:extLst>
              <a:ext uri="{FF2B5EF4-FFF2-40B4-BE49-F238E27FC236}">
                <a16:creationId xmlns:a16="http://schemas.microsoft.com/office/drawing/2014/main" id="{E5F33341-80DB-6831-9D96-5BED7CCADCE3}"/>
              </a:ext>
            </a:extLst>
          </p:cNvPr>
          <p:cNvSpPr/>
          <p:nvPr/>
        </p:nvSpPr>
        <p:spPr>
          <a:xfrm>
            <a:off x="9662545" y="5954456"/>
            <a:ext cx="2815478" cy="702756"/>
          </a:xfrm>
          <a:prstGeom prst="rect">
            <a:avLst/>
          </a:prstGeom>
        </p:spPr>
        <p:txBody>
          <a:bodyPr wrap="square">
            <a:spAutoFit/>
          </a:bodyPr>
          <a:lstStyle/>
          <a:p>
            <a:pPr lvl="0" algn="ctr">
              <a:lnSpc>
                <a:spcPct val="150000"/>
              </a:lnSpc>
              <a:buClr>
                <a:srgbClr val="FFFFFF"/>
              </a:buClr>
              <a:buSzPct val="100000"/>
            </a:pPr>
            <a:r>
              <a:rPr lang="en-GB" sz="1400" b="1" dirty="0">
                <a:solidFill>
                  <a:schemeClr val="accent6"/>
                </a:solidFill>
              </a:rPr>
              <a:t>Guardians Of The Galaxy Vol. 3</a:t>
            </a:r>
          </a:p>
          <a:p>
            <a:pPr lvl="0" algn="ctr">
              <a:lnSpc>
                <a:spcPct val="150000"/>
              </a:lnSpc>
              <a:buClr>
                <a:srgbClr val="FFFFFF"/>
              </a:buClr>
              <a:buSzPct val="100000"/>
            </a:pPr>
            <a:r>
              <a:rPr lang="en-GB" sz="1400" b="1" baseline="30000" dirty="0">
                <a:solidFill>
                  <a:schemeClr val="accent6"/>
                </a:solidFill>
              </a:rPr>
              <a:t>(Index: 207)</a:t>
            </a:r>
          </a:p>
          <a:p>
            <a:pPr lvl="0" algn="ctr">
              <a:buClr>
                <a:srgbClr val="FFFFFF"/>
              </a:buClr>
              <a:buSzPct val="100000"/>
            </a:pPr>
            <a:endParaRPr lang="en-GB" sz="700" b="1" baseline="30000" dirty="0">
              <a:solidFill>
                <a:schemeClr val="accent6"/>
              </a:solidFill>
            </a:endParaRPr>
          </a:p>
        </p:txBody>
      </p:sp>
      <p:sp>
        <p:nvSpPr>
          <p:cNvPr id="27" name="Oval 26">
            <a:extLst>
              <a:ext uri="{FF2B5EF4-FFF2-40B4-BE49-F238E27FC236}">
                <a16:creationId xmlns:a16="http://schemas.microsoft.com/office/drawing/2014/main" id="{570C39DB-215D-D29C-C0A5-2201E1DE11C4}"/>
              </a:ext>
            </a:extLst>
          </p:cNvPr>
          <p:cNvSpPr>
            <a:spLocks noChangeAspect="1"/>
          </p:cNvSpPr>
          <p:nvPr/>
        </p:nvSpPr>
        <p:spPr>
          <a:xfrm>
            <a:off x="888838" y="1264817"/>
            <a:ext cx="1632690" cy="1637019"/>
          </a:xfrm>
          <a:prstGeom prst="ellipse">
            <a:avLst/>
          </a:prstGeom>
          <a:solidFill>
            <a:schemeClr val="tx2">
              <a:lumMod val="75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lvl="0" algn="ctr">
              <a:buClr>
                <a:srgbClr val="FFFFFF"/>
              </a:buClr>
              <a:buSzPct val="100000"/>
            </a:pPr>
            <a:r>
              <a:rPr lang="en-GB" sz="4800" cap="all" dirty="0">
                <a:solidFill>
                  <a:srgbClr val="FFFFFF"/>
                </a:solidFill>
                <a:latin typeface="Impact"/>
              </a:rPr>
              <a:t>36%</a:t>
            </a:r>
            <a:endParaRPr lang="en-GB" sz="2400" dirty="0">
              <a:solidFill>
                <a:schemeClr val="bg1"/>
              </a:solidFill>
            </a:endParaRPr>
          </a:p>
        </p:txBody>
      </p:sp>
      <p:sp>
        <p:nvSpPr>
          <p:cNvPr id="32" name="Rectangle 31">
            <a:extLst>
              <a:ext uri="{FF2B5EF4-FFF2-40B4-BE49-F238E27FC236}">
                <a16:creationId xmlns:a16="http://schemas.microsoft.com/office/drawing/2014/main" id="{5ACEEADB-08FD-26F0-222F-CD7699E4EF8F}"/>
              </a:ext>
            </a:extLst>
          </p:cNvPr>
          <p:cNvSpPr/>
          <p:nvPr/>
        </p:nvSpPr>
        <p:spPr>
          <a:xfrm>
            <a:off x="428005" y="2982173"/>
            <a:ext cx="2579993" cy="646331"/>
          </a:xfrm>
          <a:prstGeom prst="rect">
            <a:avLst/>
          </a:prstGeom>
        </p:spPr>
        <p:txBody>
          <a:bodyPr wrap="square">
            <a:spAutoFit/>
          </a:bodyPr>
          <a:lstStyle/>
          <a:p>
            <a:pPr lvl="0" algn="ctr">
              <a:buClr>
                <a:srgbClr val="FFFFFF"/>
              </a:buClr>
              <a:buSzPct val="100000"/>
            </a:pPr>
            <a:r>
              <a:rPr lang="en-GB" sz="1200" dirty="0">
                <a:solidFill>
                  <a:schemeClr val="accent6"/>
                </a:solidFill>
              </a:rPr>
              <a:t>More likely to shop offline/online immediately after visiting the cinema</a:t>
            </a:r>
            <a:endParaRPr lang="en-GB" sz="700" baseline="30000" dirty="0">
              <a:solidFill>
                <a:schemeClr val="accent6"/>
              </a:solidFill>
            </a:endParaRPr>
          </a:p>
        </p:txBody>
      </p:sp>
      <p:sp>
        <p:nvSpPr>
          <p:cNvPr id="33" name="Rectangle 32">
            <a:extLst>
              <a:ext uri="{FF2B5EF4-FFF2-40B4-BE49-F238E27FC236}">
                <a16:creationId xmlns:a16="http://schemas.microsoft.com/office/drawing/2014/main" id="{C6BCCA57-BAF0-D54F-D81B-0AB8E46AF685}"/>
              </a:ext>
            </a:extLst>
          </p:cNvPr>
          <p:cNvSpPr/>
          <p:nvPr/>
        </p:nvSpPr>
        <p:spPr>
          <a:xfrm>
            <a:off x="7053886" y="6023522"/>
            <a:ext cx="2347061" cy="496611"/>
          </a:xfrm>
          <a:prstGeom prst="rect">
            <a:avLst/>
          </a:prstGeom>
        </p:spPr>
        <p:txBody>
          <a:bodyPr wrap="square">
            <a:spAutoFit/>
          </a:bodyPr>
          <a:lstStyle/>
          <a:p>
            <a:pPr lvl="0" algn="ctr">
              <a:buClr>
                <a:srgbClr val="FFFFFF"/>
              </a:buClr>
              <a:buSzPct val="100000"/>
            </a:pPr>
            <a:r>
              <a:rPr lang="en-GB" sz="1400" b="1" dirty="0">
                <a:solidFill>
                  <a:schemeClr val="accent6"/>
                </a:solidFill>
              </a:rPr>
              <a:t>John Wick: Chapter 4</a:t>
            </a:r>
          </a:p>
          <a:p>
            <a:pPr lvl="0" algn="ctr">
              <a:lnSpc>
                <a:spcPct val="150000"/>
              </a:lnSpc>
              <a:buClr>
                <a:srgbClr val="FFFFFF"/>
              </a:buClr>
              <a:buSzPct val="100000"/>
            </a:pPr>
            <a:r>
              <a:rPr lang="en-GB" sz="1400" b="1" baseline="30000" dirty="0">
                <a:solidFill>
                  <a:schemeClr val="accent6"/>
                </a:solidFill>
              </a:rPr>
              <a:t>(Index: 361)</a:t>
            </a:r>
            <a:endParaRPr lang="en-GB" sz="700" b="1" baseline="30000" dirty="0">
              <a:solidFill>
                <a:schemeClr val="accent6"/>
              </a:solidFill>
            </a:endParaRPr>
          </a:p>
        </p:txBody>
      </p:sp>
      <p:cxnSp>
        <p:nvCxnSpPr>
          <p:cNvPr id="36" name="Straight Connector 35">
            <a:extLst>
              <a:ext uri="{FF2B5EF4-FFF2-40B4-BE49-F238E27FC236}">
                <a16:creationId xmlns:a16="http://schemas.microsoft.com/office/drawing/2014/main" id="{99253FEF-1B3C-779F-B5A6-BEDFAFFBE1BF}"/>
              </a:ext>
            </a:extLst>
          </p:cNvPr>
          <p:cNvCxnSpPr>
            <a:cxnSpLocks/>
          </p:cNvCxnSpPr>
          <p:nvPr/>
        </p:nvCxnSpPr>
        <p:spPr>
          <a:xfrm>
            <a:off x="6485908" y="1360703"/>
            <a:ext cx="0" cy="5320145"/>
          </a:xfrm>
          <a:prstGeom prst="line">
            <a:avLst/>
          </a:prstGeom>
        </p:spPr>
        <p:style>
          <a:lnRef idx="1">
            <a:schemeClr val="accent5"/>
          </a:lnRef>
          <a:fillRef idx="0">
            <a:schemeClr val="accent5"/>
          </a:fillRef>
          <a:effectRef idx="0">
            <a:schemeClr val="accent5"/>
          </a:effectRef>
          <a:fontRef idx="minor">
            <a:schemeClr val="tx1"/>
          </a:fontRef>
        </p:style>
      </p:cxnSp>
      <p:sp>
        <p:nvSpPr>
          <p:cNvPr id="43" name="Rectangle 42">
            <a:extLst>
              <a:ext uri="{FF2B5EF4-FFF2-40B4-BE49-F238E27FC236}">
                <a16:creationId xmlns:a16="http://schemas.microsoft.com/office/drawing/2014/main" id="{DA7D5DBD-7B09-C788-F8C0-8F489D90F266}"/>
              </a:ext>
            </a:extLst>
          </p:cNvPr>
          <p:cNvSpPr/>
          <p:nvPr/>
        </p:nvSpPr>
        <p:spPr>
          <a:xfrm>
            <a:off x="6875352" y="2950328"/>
            <a:ext cx="2579993" cy="808170"/>
          </a:xfrm>
          <a:prstGeom prst="rect">
            <a:avLst/>
          </a:prstGeom>
        </p:spPr>
        <p:txBody>
          <a:bodyPr wrap="square">
            <a:spAutoFit/>
          </a:bodyPr>
          <a:lstStyle/>
          <a:p>
            <a:pPr lvl="0" algn="ctr">
              <a:buClr>
                <a:srgbClr val="FFFFFF"/>
              </a:buClr>
              <a:buSzPct val="100000"/>
            </a:pPr>
            <a:r>
              <a:rPr lang="en-GB" sz="1200" dirty="0">
                <a:solidFill>
                  <a:schemeClr val="accent6"/>
                </a:solidFill>
              </a:rPr>
              <a:t>Of 1634 men purchase food/drink on the same day after watching a film in the cinema</a:t>
            </a:r>
            <a:endParaRPr lang="en-GB" sz="1200" baseline="30000" dirty="0">
              <a:solidFill>
                <a:schemeClr val="accent6"/>
              </a:solidFill>
            </a:endParaRPr>
          </a:p>
          <a:p>
            <a:pPr lvl="0" algn="ctr">
              <a:lnSpc>
                <a:spcPct val="150000"/>
              </a:lnSpc>
              <a:buClr>
                <a:srgbClr val="FFFFFF"/>
              </a:buClr>
              <a:buSzPct val="100000"/>
            </a:pPr>
            <a:r>
              <a:rPr lang="en-GB" sz="1200" baseline="30000" dirty="0">
                <a:solidFill>
                  <a:schemeClr val="accent6"/>
                </a:solidFill>
              </a:rPr>
              <a:t>(Index: 168)</a:t>
            </a:r>
            <a:endParaRPr lang="en-GB" sz="700" baseline="30000" dirty="0">
              <a:solidFill>
                <a:schemeClr val="accent6"/>
              </a:solidFill>
            </a:endParaRPr>
          </a:p>
        </p:txBody>
      </p:sp>
      <p:sp>
        <p:nvSpPr>
          <p:cNvPr id="47" name="Text Placeholder 13">
            <a:extLst>
              <a:ext uri="{FF2B5EF4-FFF2-40B4-BE49-F238E27FC236}">
                <a16:creationId xmlns:a16="http://schemas.microsoft.com/office/drawing/2014/main" id="{1B593A38-2B3A-9A67-34D2-4A3B1B04ECEF}"/>
              </a:ext>
            </a:extLst>
          </p:cNvPr>
          <p:cNvSpPr txBox="1">
            <a:spLocks/>
          </p:cNvSpPr>
          <p:nvPr/>
        </p:nvSpPr>
        <p:spPr bwMode="gray">
          <a:xfrm>
            <a:off x="502360" y="4152533"/>
            <a:ext cx="2969300" cy="175654"/>
          </a:xfrm>
          <a:prstGeom prst="rect">
            <a:avLst/>
          </a:prstGeom>
        </p:spPr>
        <p:txBody>
          <a:bodyPr vert="horz" lIns="0" tIns="0" rIns="0" bIns="0" rtlCol="0" anchor="t" anchorCtr="0">
            <a:noAutofit/>
          </a:bodyPr>
          <a:lstStyle>
            <a:lvl1pPr>
              <a:lnSpc>
                <a:spcPts val="1684"/>
              </a:lnSpc>
              <a:buNone/>
              <a:defRPr lang="en-GB" sz="1400" b="1" kern="1200" baseline="0" dirty="0">
                <a:solidFill>
                  <a:schemeClr val="bg1"/>
                </a:solidFill>
                <a:latin typeface="+mn-lt"/>
                <a:ea typeface="+mn-ea"/>
                <a:cs typeface="+mn-cs"/>
              </a:defRPr>
            </a:lvl1pPr>
          </a:lstStyle>
          <a:p>
            <a:pPr marL="96871" marR="0" lvl="0" indent="-96871"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chemeClr val="bg1"/>
                </a:solidFill>
                <a:effectLst/>
                <a:uLnTx/>
                <a:uFillTx/>
                <a:latin typeface="+mn-lt"/>
                <a:ea typeface="+mn-ea"/>
                <a:cs typeface="+mn-cs"/>
              </a:rPr>
              <a:t>1634 Women</a:t>
            </a:r>
            <a:endParaRPr lang="en-GB" dirty="0">
              <a:solidFill>
                <a:schemeClr val="accent6"/>
              </a:solidFill>
            </a:endParaRPr>
          </a:p>
        </p:txBody>
      </p:sp>
      <p:sp>
        <p:nvSpPr>
          <p:cNvPr id="48" name="Text Placeholder 13">
            <a:extLst>
              <a:ext uri="{FF2B5EF4-FFF2-40B4-BE49-F238E27FC236}">
                <a16:creationId xmlns:a16="http://schemas.microsoft.com/office/drawing/2014/main" id="{D4DA1175-5C69-7D25-5913-08FB71A40DC3}"/>
              </a:ext>
            </a:extLst>
          </p:cNvPr>
          <p:cNvSpPr txBox="1">
            <a:spLocks/>
          </p:cNvSpPr>
          <p:nvPr/>
        </p:nvSpPr>
        <p:spPr bwMode="gray">
          <a:xfrm>
            <a:off x="6888231" y="4155446"/>
            <a:ext cx="2969300" cy="175654"/>
          </a:xfrm>
          <a:prstGeom prst="rect">
            <a:avLst/>
          </a:prstGeom>
        </p:spPr>
        <p:txBody>
          <a:bodyPr vert="horz" lIns="0" tIns="0" rIns="0" bIns="0" rtlCol="0" anchor="t" anchorCtr="0">
            <a:noAutofit/>
          </a:bodyPr>
          <a:lstStyle>
            <a:lvl1pPr>
              <a:lnSpc>
                <a:spcPts val="1684"/>
              </a:lnSpc>
              <a:buNone/>
              <a:defRPr lang="en-GB" sz="1400" b="1" kern="1200" baseline="0" dirty="0">
                <a:solidFill>
                  <a:schemeClr val="bg1"/>
                </a:solidFill>
                <a:latin typeface="+mn-lt"/>
                <a:ea typeface="+mn-ea"/>
                <a:cs typeface="+mn-cs"/>
              </a:defRPr>
            </a:lvl1pPr>
          </a:lstStyle>
          <a:p>
            <a:pPr marL="96871" marR="0" lvl="0" indent="-96871"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chemeClr val="bg1"/>
                </a:solidFill>
                <a:effectLst/>
                <a:uLnTx/>
                <a:uFillTx/>
                <a:latin typeface="+mn-lt"/>
                <a:ea typeface="+mn-ea"/>
                <a:cs typeface="+mn-cs"/>
              </a:rPr>
              <a:t>1634 Men</a:t>
            </a:r>
            <a:endParaRPr lang="en-GB" dirty="0">
              <a:solidFill>
                <a:schemeClr val="accent6"/>
              </a:solidFill>
            </a:endParaRPr>
          </a:p>
        </p:txBody>
      </p:sp>
      <p:sp>
        <p:nvSpPr>
          <p:cNvPr id="34" name="Rectangle 33">
            <a:extLst>
              <a:ext uri="{FF2B5EF4-FFF2-40B4-BE49-F238E27FC236}">
                <a16:creationId xmlns:a16="http://schemas.microsoft.com/office/drawing/2014/main" id="{B9F86B3B-F3D8-4777-E290-FB1D44863083}"/>
              </a:ext>
            </a:extLst>
          </p:cNvPr>
          <p:cNvSpPr/>
          <p:nvPr/>
        </p:nvSpPr>
        <p:spPr>
          <a:xfrm>
            <a:off x="839342" y="5932347"/>
            <a:ext cx="2347061" cy="496611"/>
          </a:xfrm>
          <a:prstGeom prst="rect">
            <a:avLst/>
          </a:prstGeom>
        </p:spPr>
        <p:txBody>
          <a:bodyPr wrap="square">
            <a:spAutoFit/>
          </a:bodyPr>
          <a:lstStyle/>
          <a:p>
            <a:pPr lvl="0" algn="ctr">
              <a:buClr>
                <a:srgbClr val="FFFFFF"/>
              </a:buClr>
              <a:buSzPct val="100000"/>
            </a:pPr>
            <a:r>
              <a:rPr lang="en-GB" sz="1400" b="1" dirty="0">
                <a:solidFill>
                  <a:schemeClr val="accent6"/>
                </a:solidFill>
              </a:rPr>
              <a:t>M3gan</a:t>
            </a:r>
          </a:p>
          <a:p>
            <a:pPr lvl="0" algn="ctr">
              <a:lnSpc>
                <a:spcPct val="150000"/>
              </a:lnSpc>
              <a:buClr>
                <a:srgbClr val="FFFFFF"/>
              </a:buClr>
              <a:buSzPct val="100000"/>
            </a:pPr>
            <a:r>
              <a:rPr lang="en-GB" sz="1400" b="1" baseline="30000" dirty="0">
                <a:solidFill>
                  <a:schemeClr val="accent6"/>
                </a:solidFill>
              </a:rPr>
              <a:t>(Index: 300)</a:t>
            </a:r>
            <a:endParaRPr lang="en-GB" sz="700" b="1" baseline="30000" dirty="0">
              <a:solidFill>
                <a:schemeClr val="accent6"/>
              </a:solidFill>
            </a:endParaRPr>
          </a:p>
        </p:txBody>
      </p:sp>
      <p:sp>
        <p:nvSpPr>
          <p:cNvPr id="35" name="Oval 34">
            <a:extLst>
              <a:ext uri="{FF2B5EF4-FFF2-40B4-BE49-F238E27FC236}">
                <a16:creationId xmlns:a16="http://schemas.microsoft.com/office/drawing/2014/main" id="{45B892A5-9F1A-DBFE-A8CA-716D64416588}"/>
              </a:ext>
            </a:extLst>
          </p:cNvPr>
          <p:cNvSpPr>
            <a:spLocks noChangeAspect="1"/>
          </p:cNvSpPr>
          <p:nvPr/>
        </p:nvSpPr>
        <p:spPr>
          <a:xfrm>
            <a:off x="3919977" y="1252793"/>
            <a:ext cx="1632690" cy="1637019"/>
          </a:xfrm>
          <a:prstGeom prst="ellipse">
            <a:avLst/>
          </a:prstGeom>
          <a:solidFill>
            <a:schemeClr val="tx2">
              <a:lumMod val="75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lvl="0" algn="ctr">
              <a:buClr>
                <a:srgbClr val="FFFFFF"/>
              </a:buClr>
              <a:buSzPct val="100000"/>
            </a:pPr>
            <a:r>
              <a:rPr lang="en-GB" sz="4800" cap="all" dirty="0">
                <a:solidFill>
                  <a:srgbClr val="FFFFFF"/>
                </a:solidFill>
                <a:latin typeface="Impact"/>
              </a:rPr>
              <a:t>58%</a:t>
            </a:r>
            <a:endParaRPr lang="en-GB" sz="2400" dirty="0">
              <a:solidFill>
                <a:schemeClr val="bg1"/>
              </a:solidFill>
            </a:endParaRPr>
          </a:p>
        </p:txBody>
      </p:sp>
      <p:sp>
        <p:nvSpPr>
          <p:cNvPr id="37" name="Rectangle 36">
            <a:extLst>
              <a:ext uri="{FF2B5EF4-FFF2-40B4-BE49-F238E27FC236}">
                <a16:creationId xmlns:a16="http://schemas.microsoft.com/office/drawing/2014/main" id="{0BDF9278-7BE8-A72C-69DB-B271721303DA}"/>
              </a:ext>
            </a:extLst>
          </p:cNvPr>
          <p:cNvSpPr/>
          <p:nvPr/>
        </p:nvSpPr>
        <p:spPr>
          <a:xfrm>
            <a:off x="3459144" y="2970149"/>
            <a:ext cx="2579993" cy="646331"/>
          </a:xfrm>
          <a:prstGeom prst="rect">
            <a:avLst/>
          </a:prstGeom>
        </p:spPr>
        <p:txBody>
          <a:bodyPr wrap="square">
            <a:spAutoFit/>
          </a:bodyPr>
          <a:lstStyle/>
          <a:p>
            <a:pPr lvl="0" algn="ctr">
              <a:buClr>
                <a:srgbClr val="FFFFFF"/>
              </a:buClr>
              <a:buSzPct val="100000"/>
            </a:pPr>
            <a:r>
              <a:rPr lang="en-GB" sz="1200" dirty="0">
                <a:solidFill>
                  <a:schemeClr val="accent6"/>
                </a:solidFill>
              </a:rPr>
              <a:t>Of 1634 women agree that going to the cinema is a great way to spend quality time with family and friends</a:t>
            </a:r>
            <a:endParaRPr lang="en-GB" sz="700" baseline="30000" dirty="0">
              <a:solidFill>
                <a:schemeClr val="accent6"/>
              </a:solidFill>
            </a:endParaRPr>
          </a:p>
        </p:txBody>
      </p:sp>
      <p:sp>
        <p:nvSpPr>
          <p:cNvPr id="38" name="Oval 37">
            <a:extLst>
              <a:ext uri="{FF2B5EF4-FFF2-40B4-BE49-F238E27FC236}">
                <a16:creationId xmlns:a16="http://schemas.microsoft.com/office/drawing/2014/main" id="{EF2B6D24-95B7-6853-D1D4-DD21EEEC39BE}"/>
              </a:ext>
            </a:extLst>
          </p:cNvPr>
          <p:cNvSpPr>
            <a:spLocks noChangeAspect="1"/>
          </p:cNvSpPr>
          <p:nvPr/>
        </p:nvSpPr>
        <p:spPr>
          <a:xfrm>
            <a:off x="10100716" y="1243381"/>
            <a:ext cx="1632690" cy="1637019"/>
          </a:xfrm>
          <a:prstGeom prst="ellipse">
            <a:avLst/>
          </a:prstGeom>
          <a:solidFill>
            <a:schemeClr val="tx2">
              <a:lumMod val="75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lvl="0" algn="ctr">
              <a:buClr>
                <a:srgbClr val="FFFFFF"/>
              </a:buClr>
              <a:buSzPct val="100000"/>
            </a:pPr>
            <a:r>
              <a:rPr lang="en-GB" sz="4800" cap="all" dirty="0">
                <a:solidFill>
                  <a:srgbClr val="FFFFFF"/>
                </a:solidFill>
                <a:latin typeface="Impact"/>
              </a:rPr>
              <a:t>79%</a:t>
            </a:r>
            <a:endParaRPr lang="en-GB" sz="2400" dirty="0">
              <a:solidFill>
                <a:schemeClr val="bg1"/>
              </a:solidFill>
            </a:endParaRPr>
          </a:p>
        </p:txBody>
      </p:sp>
      <p:sp>
        <p:nvSpPr>
          <p:cNvPr id="39" name="Rectangle 38">
            <a:extLst>
              <a:ext uri="{FF2B5EF4-FFF2-40B4-BE49-F238E27FC236}">
                <a16:creationId xmlns:a16="http://schemas.microsoft.com/office/drawing/2014/main" id="{BB735FBB-8645-3321-009A-A0B4604A04D0}"/>
              </a:ext>
            </a:extLst>
          </p:cNvPr>
          <p:cNvSpPr/>
          <p:nvPr/>
        </p:nvSpPr>
        <p:spPr>
          <a:xfrm>
            <a:off x="9639883" y="2960737"/>
            <a:ext cx="2579993" cy="461665"/>
          </a:xfrm>
          <a:prstGeom prst="rect">
            <a:avLst/>
          </a:prstGeom>
        </p:spPr>
        <p:txBody>
          <a:bodyPr wrap="square">
            <a:spAutoFit/>
          </a:bodyPr>
          <a:lstStyle/>
          <a:p>
            <a:pPr lvl="0" algn="ctr">
              <a:buClr>
                <a:srgbClr val="FFFFFF"/>
              </a:buClr>
              <a:buSzPct val="100000"/>
            </a:pPr>
            <a:r>
              <a:rPr lang="en-GB" sz="1200" dirty="0">
                <a:solidFill>
                  <a:schemeClr val="accent6"/>
                </a:solidFill>
              </a:rPr>
              <a:t>More likely to visit the cinema with a group of friends (5-6 people)</a:t>
            </a:r>
            <a:endParaRPr lang="en-GB" sz="700" baseline="30000" dirty="0">
              <a:solidFill>
                <a:schemeClr val="accent6"/>
              </a:solidFill>
            </a:endParaRPr>
          </a:p>
        </p:txBody>
      </p:sp>
      <p:sp>
        <p:nvSpPr>
          <p:cNvPr id="46" name="Oval 45">
            <a:extLst>
              <a:ext uri="{FF2B5EF4-FFF2-40B4-BE49-F238E27FC236}">
                <a16:creationId xmlns:a16="http://schemas.microsoft.com/office/drawing/2014/main" id="{60E8DF2C-387A-9D15-1905-EAFB8B0B1605}"/>
              </a:ext>
            </a:extLst>
          </p:cNvPr>
          <p:cNvSpPr>
            <a:spLocks noChangeAspect="1"/>
          </p:cNvSpPr>
          <p:nvPr/>
        </p:nvSpPr>
        <p:spPr>
          <a:xfrm>
            <a:off x="7365502" y="1239048"/>
            <a:ext cx="1632690" cy="1637019"/>
          </a:xfrm>
          <a:prstGeom prst="ellipse">
            <a:avLst/>
          </a:prstGeom>
          <a:solidFill>
            <a:schemeClr val="tx2">
              <a:lumMod val="75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lvl="0" algn="ctr">
              <a:buClr>
                <a:srgbClr val="FFFFFF"/>
              </a:buClr>
              <a:buSzPct val="100000"/>
            </a:pPr>
            <a:r>
              <a:rPr lang="en-GB" sz="4800" cap="all" dirty="0">
                <a:solidFill>
                  <a:srgbClr val="FFFFFF"/>
                </a:solidFill>
                <a:latin typeface="Impact"/>
              </a:rPr>
              <a:t>77%</a:t>
            </a:r>
            <a:endParaRPr lang="en-GB" sz="2400" dirty="0">
              <a:solidFill>
                <a:schemeClr val="bg1"/>
              </a:solidFill>
            </a:endParaRPr>
          </a:p>
        </p:txBody>
      </p:sp>
      <p:pic>
        <p:nvPicPr>
          <p:cNvPr id="9" name="Picture 8">
            <a:extLst>
              <a:ext uri="{FF2B5EF4-FFF2-40B4-BE49-F238E27FC236}">
                <a16:creationId xmlns:a16="http://schemas.microsoft.com/office/drawing/2014/main" id="{AA353BAC-4350-47C7-472F-32C724C92D0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096139" y="4645112"/>
            <a:ext cx="2394346" cy="1346819"/>
          </a:xfrm>
          <a:prstGeom prst="rect">
            <a:avLst/>
          </a:prstGeom>
          <a:effectLst>
            <a:outerShdw blurRad="50800" dist="38100" dir="13500000" algn="br" rotWithShape="0">
              <a:prstClr val="black">
                <a:alpha val="40000"/>
              </a:prstClr>
            </a:outerShdw>
          </a:effectLst>
        </p:spPr>
      </p:pic>
      <p:pic>
        <p:nvPicPr>
          <p:cNvPr id="217090" name="Picture 2" descr="Guardians of the Galaxy Vol. 3 - Wikipedia">
            <a:extLst>
              <a:ext uri="{FF2B5EF4-FFF2-40B4-BE49-F238E27FC236}">
                <a16:creationId xmlns:a16="http://schemas.microsoft.com/office/drawing/2014/main" id="{A5B6F10D-5E3A-F6F7-EAAE-87E19078419D}"/>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9957807" y="4616186"/>
            <a:ext cx="2224955" cy="1385540"/>
          </a:xfrm>
          <a:prstGeom prst="rect">
            <a:avLst/>
          </a:prstGeom>
          <a:noFill/>
          <a:effectLst>
            <a:outerShdw blurRad="50800" dist="38100" dir="13500000" algn="b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461756C5-E04E-CBE1-FCA1-B552183AEF5D}"/>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95311" y="4576896"/>
            <a:ext cx="2311517" cy="1301443"/>
          </a:xfrm>
          <a:prstGeom prst="rect">
            <a:avLst/>
          </a:prstGeom>
          <a:effectLst>
            <a:outerShdw blurRad="50800" dist="38100" dir="13500000" algn="br" rotWithShape="0">
              <a:prstClr val="black">
                <a:alpha val="40000"/>
              </a:prstClr>
            </a:outerShdw>
          </a:effectLst>
        </p:spPr>
      </p:pic>
      <p:pic>
        <p:nvPicPr>
          <p:cNvPr id="217092" name="Picture 4" descr="Slideshow: The Hunger Games: The Ballad of Songbirds and Snakes Cast">
            <a:extLst>
              <a:ext uri="{FF2B5EF4-FFF2-40B4-BE49-F238E27FC236}">
                <a16:creationId xmlns:a16="http://schemas.microsoft.com/office/drawing/2014/main" id="{714BC7FB-77A7-CFD4-402D-49648D7D49F4}"/>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3537128" y="4579531"/>
            <a:ext cx="2318333" cy="1305136"/>
          </a:xfrm>
          <a:prstGeom prst="rect">
            <a:avLst/>
          </a:prstGeom>
          <a:noFill/>
          <a:effectLst>
            <a:outerShdw blurRad="50800" dist="38100" dir="13500000" algn="br"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6456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9CD555-BFC1-40A3-94DA-0FE49B863B2D}"/>
              </a:ext>
            </a:extLst>
          </p:cNvPr>
          <p:cNvSpPr>
            <a:spLocks noGrp="1"/>
          </p:cNvSpPr>
          <p:nvPr>
            <p:ph type="title"/>
          </p:nvPr>
        </p:nvSpPr>
        <p:spPr/>
        <p:txBody>
          <a:bodyPr/>
          <a:lstStyle/>
          <a:p>
            <a:r>
              <a:rPr lang="en-GB" dirty="0"/>
              <a:t>What can Cinema add to your 16-34 media plan?</a:t>
            </a:r>
          </a:p>
        </p:txBody>
      </p:sp>
      <p:sp>
        <p:nvSpPr>
          <p:cNvPr id="6" name="Text Placeholder 5">
            <a:extLst>
              <a:ext uri="{FF2B5EF4-FFF2-40B4-BE49-F238E27FC236}">
                <a16:creationId xmlns:a16="http://schemas.microsoft.com/office/drawing/2014/main" id="{9C754C1A-ACE6-4C81-B47A-404B1E6D56A2}"/>
              </a:ext>
            </a:extLst>
          </p:cNvPr>
          <p:cNvSpPr>
            <a:spLocks noGrp="1"/>
          </p:cNvSpPr>
          <p:nvPr>
            <p:ph type="body" sz="quarter" idx="11"/>
          </p:nvPr>
        </p:nvSpPr>
        <p:spPr>
          <a:xfrm>
            <a:off x="9216491" y="7251119"/>
            <a:ext cx="4054290" cy="123111"/>
          </a:xfrm>
        </p:spPr>
        <p:txBody>
          <a:bodyPr/>
          <a:lstStyle/>
          <a:p>
            <a:r>
              <a:rPr lang="en-US" dirty="0">
                <a:latin typeface="Arial" charset="0"/>
                <a:ea typeface="Arial" charset="0"/>
                <a:cs typeface="Arial" charset="0"/>
              </a:rPr>
              <a:t>Sources: IPA </a:t>
            </a:r>
            <a:r>
              <a:rPr lang="en-US" dirty="0" err="1">
                <a:latin typeface="Arial" charset="0"/>
                <a:ea typeface="Arial" charset="0"/>
                <a:cs typeface="Arial" charset="0"/>
              </a:rPr>
              <a:t>TouchPoints</a:t>
            </a:r>
            <a:r>
              <a:rPr lang="en-US" dirty="0">
                <a:latin typeface="Arial" charset="0"/>
                <a:ea typeface="Arial" charset="0"/>
                <a:cs typeface="Arial" charset="0"/>
              </a:rPr>
              <a:t> 2021, Kantar Ad Reaction &amp; Mission 16-34 (1,000 16-34s)</a:t>
            </a:r>
            <a:endParaRPr lang="en-GB" dirty="0"/>
          </a:p>
        </p:txBody>
      </p:sp>
      <p:sp>
        <p:nvSpPr>
          <p:cNvPr id="7" name="Text Placeholder 6">
            <a:extLst>
              <a:ext uri="{FF2B5EF4-FFF2-40B4-BE49-F238E27FC236}">
                <a16:creationId xmlns:a16="http://schemas.microsoft.com/office/drawing/2014/main" id="{88E8A5D3-9265-4C86-9C97-36B4CADE0B7D}"/>
              </a:ext>
            </a:extLst>
          </p:cNvPr>
          <p:cNvSpPr>
            <a:spLocks noGrp="1"/>
          </p:cNvSpPr>
          <p:nvPr>
            <p:ph type="body" sz="quarter" idx="14"/>
          </p:nvPr>
        </p:nvSpPr>
        <p:spPr/>
        <p:txBody>
          <a:bodyPr/>
          <a:lstStyle/>
          <a:p>
            <a:r>
              <a:rPr lang="en-GB" dirty="0"/>
              <a:t>Cinema engages a young audience when they’re in a positive and receptive mindset and most willing to pay attention to ads. </a:t>
            </a:r>
          </a:p>
        </p:txBody>
      </p:sp>
      <p:sp>
        <p:nvSpPr>
          <p:cNvPr id="9" name="Oval 8">
            <a:extLst>
              <a:ext uri="{FF2B5EF4-FFF2-40B4-BE49-F238E27FC236}">
                <a16:creationId xmlns:a16="http://schemas.microsoft.com/office/drawing/2014/main" id="{298777E4-27CE-45EC-99A1-24BA93550AD7}"/>
              </a:ext>
            </a:extLst>
          </p:cNvPr>
          <p:cNvSpPr>
            <a:spLocks noChangeAspect="1"/>
          </p:cNvSpPr>
          <p:nvPr/>
        </p:nvSpPr>
        <p:spPr>
          <a:xfrm>
            <a:off x="5059097" y="1763523"/>
            <a:ext cx="2660022" cy="2667075"/>
          </a:xfrm>
          <a:prstGeom prst="ellipse">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lvl="0" algn="ctr">
              <a:buClr>
                <a:srgbClr val="FFFFFF"/>
              </a:buClr>
              <a:buSzPct val="100000"/>
            </a:pPr>
            <a:r>
              <a:rPr lang="en-GB" sz="2800" cap="all" dirty="0">
                <a:solidFill>
                  <a:srgbClr val="FFFFFF"/>
                </a:solidFill>
                <a:latin typeface="Impact"/>
              </a:rPr>
              <a:t>Receptive to ads</a:t>
            </a:r>
            <a:endParaRPr lang="en-GB" sz="1200" dirty="0">
              <a:solidFill>
                <a:schemeClr val="bg1"/>
              </a:solidFill>
            </a:endParaRPr>
          </a:p>
        </p:txBody>
      </p:sp>
      <p:sp>
        <p:nvSpPr>
          <p:cNvPr id="10" name="Oval 9">
            <a:extLst>
              <a:ext uri="{FF2B5EF4-FFF2-40B4-BE49-F238E27FC236}">
                <a16:creationId xmlns:a16="http://schemas.microsoft.com/office/drawing/2014/main" id="{31C8BD83-CF7E-4223-9E02-FE7A9C31E6C8}"/>
              </a:ext>
            </a:extLst>
          </p:cNvPr>
          <p:cNvSpPr>
            <a:spLocks noChangeAspect="1"/>
          </p:cNvSpPr>
          <p:nvPr/>
        </p:nvSpPr>
        <p:spPr>
          <a:xfrm>
            <a:off x="9147009" y="1763524"/>
            <a:ext cx="2660022" cy="2667075"/>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Clr>
                <a:srgbClr val="FFFFFF"/>
              </a:buClr>
              <a:buSzPct val="100000"/>
            </a:pPr>
            <a:r>
              <a:rPr lang="en-US" sz="2800" cap="all" dirty="0">
                <a:solidFill>
                  <a:srgbClr val="FFFFFF"/>
                </a:solidFill>
                <a:latin typeface="Impact"/>
              </a:rPr>
              <a:t>Pay more attention to ads</a:t>
            </a:r>
          </a:p>
        </p:txBody>
      </p:sp>
      <p:sp>
        <p:nvSpPr>
          <p:cNvPr id="15" name="Oval 14">
            <a:extLst>
              <a:ext uri="{FF2B5EF4-FFF2-40B4-BE49-F238E27FC236}">
                <a16:creationId xmlns:a16="http://schemas.microsoft.com/office/drawing/2014/main" id="{6C29770A-8480-4265-899D-FA5069A7B3B2}"/>
              </a:ext>
            </a:extLst>
          </p:cNvPr>
          <p:cNvSpPr>
            <a:spLocks noChangeAspect="1"/>
          </p:cNvSpPr>
          <p:nvPr/>
        </p:nvSpPr>
        <p:spPr>
          <a:xfrm>
            <a:off x="971185" y="1763522"/>
            <a:ext cx="2660022" cy="2667075"/>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lvl="0" algn="ctr">
              <a:buClr>
                <a:srgbClr val="FFFFFF"/>
              </a:buClr>
              <a:buSzPct val="100000"/>
            </a:pPr>
            <a:r>
              <a:rPr lang="en-GB" sz="2800" cap="all" dirty="0">
                <a:solidFill>
                  <a:srgbClr val="FFFFFF"/>
                </a:solidFill>
                <a:latin typeface="Impact"/>
              </a:rPr>
              <a:t>Positive mood</a:t>
            </a:r>
            <a:endParaRPr lang="en-GB" sz="1200" dirty="0">
              <a:solidFill>
                <a:schemeClr val="bg1"/>
              </a:solidFill>
            </a:endParaRPr>
          </a:p>
        </p:txBody>
      </p:sp>
      <p:sp>
        <p:nvSpPr>
          <p:cNvPr id="3" name="Rectangle 2">
            <a:extLst>
              <a:ext uri="{FF2B5EF4-FFF2-40B4-BE49-F238E27FC236}">
                <a16:creationId xmlns:a16="http://schemas.microsoft.com/office/drawing/2014/main" id="{5DBF0720-0D48-4078-BBD5-D656B196F8DA}"/>
              </a:ext>
            </a:extLst>
          </p:cNvPr>
          <p:cNvSpPr/>
          <p:nvPr/>
        </p:nvSpPr>
        <p:spPr>
          <a:xfrm>
            <a:off x="1127665" y="4690251"/>
            <a:ext cx="2347061" cy="830997"/>
          </a:xfrm>
          <a:prstGeom prst="rect">
            <a:avLst/>
          </a:prstGeom>
        </p:spPr>
        <p:txBody>
          <a:bodyPr wrap="square">
            <a:spAutoFit/>
          </a:bodyPr>
          <a:lstStyle/>
          <a:p>
            <a:pPr lvl="0" algn="ctr">
              <a:buClr>
                <a:srgbClr val="FFFFFF"/>
              </a:buClr>
              <a:buSzPct val="100000"/>
            </a:pPr>
            <a:r>
              <a:rPr lang="en-GB" sz="1200" dirty="0">
                <a:solidFill>
                  <a:schemeClr val="accent6"/>
                </a:solidFill>
              </a:rPr>
              <a:t>83% of 16-34s report in the IPA TouchPoints survey that they’re in an above average mood while visiting the cinema</a:t>
            </a:r>
            <a:endParaRPr lang="en-GB" sz="700" dirty="0">
              <a:solidFill>
                <a:schemeClr val="accent6"/>
              </a:solidFill>
            </a:endParaRPr>
          </a:p>
        </p:txBody>
      </p:sp>
      <p:sp>
        <p:nvSpPr>
          <p:cNvPr id="11" name="Rectangle 10">
            <a:extLst>
              <a:ext uri="{FF2B5EF4-FFF2-40B4-BE49-F238E27FC236}">
                <a16:creationId xmlns:a16="http://schemas.microsoft.com/office/drawing/2014/main" id="{0603213F-EF9B-4C42-9E6A-5D2B367CE236}"/>
              </a:ext>
            </a:extLst>
          </p:cNvPr>
          <p:cNvSpPr/>
          <p:nvPr/>
        </p:nvSpPr>
        <p:spPr>
          <a:xfrm>
            <a:off x="5345104" y="4690250"/>
            <a:ext cx="2088007" cy="830997"/>
          </a:xfrm>
          <a:prstGeom prst="rect">
            <a:avLst/>
          </a:prstGeom>
        </p:spPr>
        <p:txBody>
          <a:bodyPr wrap="square">
            <a:spAutoFit/>
          </a:bodyPr>
          <a:lstStyle/>
          <a:p>
            <a:pPr lvl="0" algn="ctr">
              <a:buClr>
                <a:srgbClr val="FFFFFF"/>
              </a:buClr>
              <a:buSzPct val="100000"/>
            </a:pPr>
            <a:r>
              <a:rPr lang="en-GB" sz="1200" dirty="0">
                <a:solidFill>
                  <a:schemeClr val="accent6"/>
                </a:solidFill>
              </a:rPr>
              <a:t>Kantar’s AdReaction study found that of all ad formats 16-34s were most receptive towards cinema ads</a:t>
            </a:r>
            <a:endParaRPr lang="en-GB" sz="700" dirty="0">
              <a:solidFill>
                <a:schemeClr val="accent6"/>
              </a:solidFill>
            </a:endParaRPr>
          </a:p>
        </p:txBody>
      </p:sp>
      <p:sp>
        <p:nvSpPr>
          <p:cNvPr id="12" name="Rectangle 11">
            <a:extLst>
              <a:ext uri="{FF2B5EF4-FFF2-40B4-BE49-F238E27FC236}">
                <a16:creationId xmlns:a16="http://schemas.microsoft.com/office/drawing/2014/main" id="{6AC0BE2F-E670-4C7D-B1A9-3FA03452F1AE}"/>
              </a:ext>
            </a:extLst>
          </p:cNvPr>
          <p:cNvSpPr/>
          <p:nvPr/>
        </p:nvSpPr>
        <p:spPr>
          <a:xfrm>
            <a:off x="9310873" y="4690250"/>
            <a:ext cx="2332293" cy="830997"/>
          </a:xfrm>
          <a:prstGeom prst="rect">
            <a:avLst/>
          </a:prstGeom>
        </p:spPr>
        <p:txBody>
          <a:bodyPr wrap="square">
            <a:spAutoFit/>
          </a:bodyPr>
          <a:lstStyle/>
          <a:p>
            <a:pPr lvl="0" algn="ctr">
              <a:buClr>
                <a:srgbClr val="FFFFFF"/>
              </a:buClr>
              <a:buSzPct val="100000"/>
            </a:pPr>
            <a:r>
              <a:rPr lang="en-GB" sz="1200" dirty="0">
                <a:solidFill>
                  <a:schemeClr val="accent6"/>
                </a:solidFill>
              </a:rPr>
              <a:t>DCM’s Mission 16-34 research found that 66% of 16-34s agree that they ‘pay more attention to ads in cinema than elsewhere’</a:t>
            </a:r>
            <a:endParaRPr lang="en-GB" sz="700" dirty="0">
              <a:solidFill>
                <a:schemeClr val="accent6"/>
              </a:solidFill>
            </a:endParaRPr>
          </a:p>
        </p:txBody>
      </p:sp>
    </p:spTree>
    <p:extLst>
      <p:ext uri="{BB962C8B-B14F-4D97-AF65-F5344CB8AC3E}">
        <p14:creationId xmlns:p14="http://schemas.microsoft.com/office/powerpoint/2010/main" val="269389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39520" y="187859"/>
            <a:ext cx="12413343" cy="409568"/>
          </a:xfrm>
          <a:ln>
            <a:noFill/>
          </a:ln>
        </p:spPr>
        <p:txBody>
          <a:bodyPr vert="horz" wrap="none" lIns="0" tIns="0" rIns="0" bIns="0" rtlCol="0" anchor="ctr">
            <a:noAutofit/>
          </a:bodyPr>
          <a:lstStyle/>
          <a:p>
            <a:r>
              <a:rPr lang="en-GB" sz="2800" dirty="0">
                <a:solidFill>
                  <a:srgbClr val="000000"/>
                </a:solidFill>
              </a:rPr>
              <a:t>Cinema DELIVERS POSITIVE OUTCOMES FOR BRANDS</a:t>
            </a:r>
          </a:p>
        </p:txBody>
      </p:sp>
      <p:grpSp>
        <p:nvGrpSpPr>
          <p:cNvPr id="3" name="Group 2"/>
          <p:cNvGrpSpPr/>
          <p:nvPr/>
        </p:nvGrpSpPr>
        <p:grpSpPr>
          <a:xfrm>
            <a:off x="1034473" y="1702314"/>
            <a:ext cx="11028218" cy="4933606"/>
            <a:chOff x="2610680" y="1812775"/>
            <a:chExt cx="8394304" cy="4136805"/>
          </a:xfrm>
        </p:grpSpPr>
        <p:graphicFrame>
          <p:nvGraphicFramePr>
            <p:cNvPr id="8" name="Chart 7">
              <a:extLst>
                <a:ext uri="{FF2B5EF4-FFF2-40B4-BE49-F238E27FC236}">
                  <a16:creationId xmlns:a16="http://schemas.microsoft.com/office/drawing/2014/main" id="{43AD7437-D0FE-784C-8367-D6F6C5FB1A8B}"/>
                </a:ext>
              </a:extLst>
            </p:cNvPr>
            <p:cNvGraphicFramePr/>
            <p:nvPr>
              <p:extLst>
                <p:ext uri="{D42A27DB-BD31-4B8C-83A1-F6EECF244321}">
                  <p14:modId xmlns:p14="http://schemas.microsoft.com/office/powerpoint/2010/main" val="2342892759"/>
                </p:ext>
              </p:extLst>
            </p:nvPr>
          </p:nvGraphicFramePr>
          <p:xfrm>
            <a:off x="2610680" y="2927651"/>
            <a:ext cx="2152489" cy="302192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Chart 12">
              <a:extLst>
                <a:ext uri="{FF2B5EF4-FFF2-40B4-BE49-F238E27FC236}">
                  <a16:creationId xmlns:a16="http://schemas.microsoft.com/office/drawing/2014/main" id="{0D91C96E-0757-554B-A654-E8F49066BC32}"/>
                </a:ext>
              </a:extLst>
            </p:cNvPr>
            <p:cNvGraphicFramePr/>
            <p:nvPr>
              <p:extLst>
                <p:ext uri="{D42A27DB-BD31-4B8C-83A1-F6EECF244321}">
                  <p14:modId xmlns:p14="http://schemas.microsoft.com/office/powerpoint/2010/main" val="3343447008"/>
                </p:ext>
              </p:extLst>
            </p:nvPr>
          </p:nvGraphicFramePr>
          <p:xfrm>
            <a:off x="5762638" y="2927651"/>
            <a:ext cx="2152489" cy="302192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Chart 13">
              <a:extLst>
                <a:ext uri="{FF2B5EF4-FFF2-40B4-BE49-F238E27FC236}">
                  <a16:creationId xmlns:a16="http://schemas.microsoft.com/office/drawing/2014/main" id="{062F9653-BBFD-6B41-BDB9-D10348C16D39}"/>
                </a:ext>
              </a:extLst>
            </p:cNvPr>
            <p:cNvGraphicFramePr/>
            <p:nvPr>
              <p:extLst>
                <p:ext uri="{D42A27DB-BD31-4B8C-83A1-F6EECF244321}">
                  <p14:modId xmlns:p14="http://schemas.microsoft.com/office/powerpoint/2010/main" val="816663128"/>
                </p:ext>
              </p:extLst>
            </p:nvPr>
          </p:nvGraphicFramePr>
          <p:xfrm>
            <a:off x="8852483" y="2927651"/>
            <a:ext cx="2152489" cy="3021929"/>
          </p:xfrm>
          <a:graphic>
            <a:graphicData uri="http://schemas.openxmlformats.org/drawingml/2006/chart">
              <c:chart xmlns:c="http://schemas.openxmlformats.org/drawingml/2006/chart" xmlns:r="http://schemas.openxmlformats.org/officeDocument/2006/relationships" r:id="rId5"/>
            </a:graphicData>
          </a:graphic>
        </p:graphicFrame>
        <p:sp>
          <p:nvSpPr>
            <p:cNvPr id="15" name="Rectangle 14">
              <a:extLst>
                <a:ext uri="{FF2B5EF4-FFF2-40B4-BE49-F238E27FC236}">
                  <a16:creationId xmlns:a16="http://schemas.microsoft.com/office/drawing/2014/main" id="{276A8019-05A8-F74D-9CC3-AB4E043EB3F3}"/>
                </a:ext>
              </a:extLst>
            </p:cNvPr>
            <p:cNvSpPr/>
            <p:nvPr/>
          </p:nvSpPr>
          <p:spPr>
            <a:xfrm>
              <a:off x="2610692" y="1820988"/>
              <a:ext cx="2152477" cy="6707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charset="0"/>
                  <a:ea typeface="Arial" charset="0"/>
                  <a:cs typeface="Arial" charset="0"/>
                </a:rPr>
                <a:t>‘Better impression’</a:t>
              </a:r>
            </a:p>
          </p:txBody>
        </p:sp>
        <p:sp>
          <p:nvSpPr>
            <p:cNvPr id="16" name="Rectangle 15">
              <a:extLst>
                <a:ext uri="{FF2B5EF4-FFF2-40B4-BE49-F238E27FC236}">
                  <a16:creationId xmlns:a16="http://schemas.microsoft.com/office/drawing/2014/main" id="{FBD8253C-B924-7742-9AFE-8042FB6A2CFF}"/>
                </a:ext>
              </a:extLst>
            </p:cNvPr>
            <p:cNvSpPr/>
            <p:nvPr/>
          </p:nvSpPr>
          <p:spPr>
            <a:xfrm>
              <a:off x="5762647" y="1812775"/>
              <a:ext cx="2152492" cy="6707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charset="0"/>
                  <a:ea typeface="Arial" charset="0"/>
                  <a:cs typeface="Arial" charset="0"/>
                </a:rPr>
                <a:t>‘Rational’ </a:t>
              </a:r>
              <a:br>
                <a:rPr kumimoji="0" lang="en-US" sz="1400" b="1" i="0" u="none" strike="noStrike" kern="1200" cap="none" spc="0" normalizeH="0" baseline="0" noProof="0" dirty="0">
                  <a:ln>
                    <a:noFill/>
                  </a:ln>
                  <a:solidFill>
                    <a:schemeClr val="bg1"/>
                  </a:solidFill>
                  <a:effectLst/>
                  <a:uLnTx/>
                  <a:uFillTx/>
                  <a:latin typeface="Arial" charset="0"/>
                  <a:ea typeface="Arial" charset="0"/>
                  <a:cs typeface="Arial" charset="0"/>
                </a:rPr>
              </a:br>
              <a:r>
                <a:rPr kumimoji="0" lang="en-US" sz="1400" b="1" i="0" u="none" strike="noStrike" kern="1200" cap="none" spc="0" normalizeH="0" baseline="0" noProof="0" dirty="0">
                  <a:ln>
                    <a:noFill/>
                  </a:ln>
                  <a:solidFill>
                    <a:schemeClr val="bg1"/>
                  </a:solidFill>
                  <a:effectLst/>
                  <a:uLnTx/>
                  <a:uFillTx/>
                  <a:latin typeface="Arial" charset="0"/>
                  <a:ea typeface="Arial" charset="0"/>
                  <a:cs typeface="Arial" charset="0"/>
                </a:rPr>
                <a:t>brand perceptions</a:t>
              </a:r>
            </a:p>
          </p:txBody>
        </p:sp>
        <p:sp>
          <p:nvSpPr>
            <p:cNvPr id="18" name="Rectangle 17">
              <a:extLst>
                <a:ext uri="{FF2B5EF4-FFF2-40B4-BE49-F238E27FC236}">
                  <a16:creationId xmlns:a16="http://schemas.microsoft.com/office/drawing/2014/main" id="{17B7D672-D425-4043-B5FB-7F135EAB8FB4}"/>
                </a:ext>
              </a:extLst>
            </p:cNvPr>
            <p:cNvSpPr/>
            <p:nvPr/>
          </p:nvSpPr>
          <p:spPr>
            <a:xfrm>
              <a:off x="8846392" y="1812775"/>
              <a:ext cx="2158592" cy="6707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US" sz="1323" b="1" i="0" u="none" strike="noStrike" kern="1200" cap="none" spc="0" normalizeH="0" baseline="0" noProof="0" dirty="0">
                  <a:ln>
                    <a:noFill/>
                  </a:ln>
                  <a:solidFill>
                    <a:schemeClr val="bg1"/>
                  </a:solidFill>
                  <a:effectLst/>
                  <a:uLnTx/>
                  <a:uFillTx/>
                  <a:latin typeface="Helvetica" pitchFamily="2" charset="0"/>
                  <a:ea typeface="Helvetica" charset="0"/>
                  <a:cs typeface="Helvetica" charset="0"/>
                </a:rPr>
                <a:t>‘</a:t>
              </a:r>
              <a:r>
                <a:rPr kumimoji="0" lang="en-US" sz="1400" b="1" i="0" u="none" strike="noStrike" kern="1200" cap="none" spc="0" normalizeH="0" baseline="0" noProof="0" dirty="0">
                  <a:ln>
                    <a:noFill/>
                  </a:ln>
                  <a:solidFill>
                    <a:schemeClr val="bg1"/>
                  </a:solidFill>
                  <a:effectLst/>
                  <a:uLnTx/>
                  <a:uFillTx/>
                  <a:latin typeface="Arial" charset="0"/>
                  <a:ea typeface="Arial" charset="0"/>
                  <a:cs typeface="Arial" charset="0"/>
                </a:rPr>
                <a:t>Emotional’ </a:t>
              </a:r>
              <a:br>
                <a:rPr kumimoji="0" lang="en-US" sz="1400" b="1" i="0" u="none" strike="noStrike" kern="1200" cap="none" spc="0" normalizeH="0" baseline="0" noProof="0" dirty="0">
                  <a:ln>
                    <a:noFill/>
                  </a:ln>
                  <a:solidFill>
                    <a:schemeClr val="bg1"/>
                  </a:solidFill>
                  <a:effectLst/>
                  <a:uLnTx/>
                  <a:uFillTx/>
                  <a:latin typeface="Arial" charset="0"/>
                  <a:ea typeface="Arial" charset="0"/>
                  <a:cs typeface="Arial" charset="0"/>
                </a:rPr>
              </a:br>
              <a:r>
                <a:rPr kumimoji="0" lang="en-US" sz="1400" b="1" i="0" u="none" strike="noStrike" kern="1200" cap="none" spc="0" normalizeH="0" baseline="0" noProof="0" dirty="0">
                  <a:ln>
                    <a:noFill/>
                  </a:ln>
                  <a:solidFill>
                    <a:schemeClr val="bg1"/>
                  </a:solidFill>
                  <a:effectLst/>
                  <a:uLnTx/>
                  <a:uFillTx/>
                  <a:latin typeface="Arial" charset="0"/>
                  <a:ea typeface="Arial" charset="0"/>
                  <a:cs typeface="Arial" charset="0"/>
                </a:rPr>
                <a:t>brand perceptions</a:t>
              </a:r>
            </a:p>
          </p:txBody>
        </p:sp>
        <p:sp>
          <p:nvSpPr>
            <p:cNvPr id="19" name="Title 1">
              <a:extLst>
                <a:ext uri="{FF2B5EF4-FFF2-40B4-BE49-F238E27FC236}">
                  <a16:creationId xmlns:a16="http://schemas.microsoft.com/office/drawing/2014/main" id="{0147C487-12EF-B847-9811-5603194D3F43}"/>
                </a:ext>
              </a:extLst>
            </p:cNvPr>
            <p:cNvSpPr txBox="1">
              <a:spLocks/>
            </p:cNvSpPr>
            <p:nvPr/>
          </p:nvSpPr>
          <p:spPr bwMode="gray">
            <a:xfrm>
              <a:off x="2612066" y="2821256"/>
              <a:ext cx="1998691" cy="1081406"/>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marL="0" marR="0" lvl="0" indent="0" algn="ctr" defTabSz="1060433" rtl="0" eaLnBrk="1" fontAlgn="auto" latinLnBrk="0" hangingPunct="1">
                <a:lnSpc>
                  <a:spcPct val="100000"/>
                </a:lnSpc>
                <a:spcBef>
                  <a:spcPct val="0"/>
                </a:spcBef>
                <a:spcAft>
                  <a:spcPts val="0"/>
                </a:spcAft>
                <a:buClrTx/>
                <a:buSzTx/>
                <a:buFontTx/>
                <a:buNone/>
                <a:tabLst/>
                <a:defRPr/>
              </a:pPr>
              <a:r>
                <a:rPr kumimoji="0" lang="en-US" sz="4500" u="none" strike="noStrike" kern="1200" cap="none" spc="150" normalizeH="0" baseline="0" noProof="0" dirty="0">
                  <a:ln w="22225">
                    <a:noFill/>
                    <a:prstDash val="solid"/>
                  </a:ln>
                  <a:solidFill>
                    <a:schemeClr val="tx1"/>
                  </a:solidFill>
                  <a:effectLst/>
                  <a:uLnTx/>
                  <a:uFillTx/>
                  <a:latin typeface="Impact" charset="0"/>
                  <a:ea typeface="Impact" charset="0"/>
                  <a:cs typeface="Impact" charset="0"/>
                </a:rPr>
                <a:t>+30%</a:t>
              </a:r>
            </a:p>
          </p:txBody>
        </p:sp>
        <p:sp>
          <p:nvSpPr>
            <p:cNvPr id="20" name="Title 1">
              <a:extLst>
                <a:ext uri="{FF2B5EF4-FFF2-40B4-BE49-F238E27FC236}">
                  <a16:creationId xmlns:a16="http://schemas.microsoft.com/office/drawing/2014/main" id="{3A8F144A-2E4E-A343-B5BC-25D63AA6FEB9}"/>
                </a:ext>
              </a:extLst>
            </p:cNvPr>
            <p:cNvSpPr txBox="1">
              <a:spLocks/>
            </p:cNvSpPr>
            <p:nvPr/>
          </p:nvSpPr>
          <p:spPr bwMode="gray">
            <a:xfrm>
              <a:off x="5700527" y="2821256"/>
              <a:ext cx="2152487" cy="1081406"/>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marL="0" marR="0" lvl="0" indent="0" algn="ctr" defTabSz="1060433" rtl="0" eaLnBrk="1" fontAlgn="auto" latinLnBrk="0" hangingPunct="1">
                <a:lnSpc>
                  <a:spcPct val="100000"/>
                </a:lnSpc>
                <a:spcBef>
                  <a:spcPct val="0"/>
                </a:spcBef>
                <a:spcAft>
                  <a:spcPts val="0"/>
                </a:spcAft>
                <a:buClrTx/>
                <a:buSzTx/>
                <a:buFontTx/>
                <a:buNone/>
                <a:tabLst/>
                <a:defRPr/>
              </a:pPr>
              <a:r>
                <a:rPr kumimoji="0" lang="en-US" sz="4500" u="none" strike="noStrike" kern="1200" cap="none" spc="150" normalizeH="0" baseline="0" noProof="0" dirty="0">
                  <a:ln w="22225">
                    <a:noFill/>
                    <a:prstDash val="solid"/>
                  </a:ln>
                  <a:solidFill>
                    <a:schemeClr val="tx1"/>
                  </a:solidFill>
                  <a:effectLst/>
                  <a:uLnTx/>
                  <a:uFillTx/>
                  <a:latin typeface="Impact" charset="0"/>
                  <a:ea typeface="Impact" charset="0"/>
                  <a:cs typeface="Impact" charset="0"/>
                </a:rPr>
                <a:t>+42%</a:t>
              </a:r>
            </a:p>
          </p:txBody>
        </p:sp>
        <p:sp>
          <p:nvSpPr>
            <p:cNvPr id="21" name="Title 1">
              <a:extLst>
                <a:ext uri="{FF2B5EF4-FFF2-40B4-BE49-F238E27FC236}">
                  <a16:creationId xmlns:a16="http://schemas.microsoft.com/office/drawing/2014/main" id="{A65CBA5F-26B5-184F-B1D7-5FD0E4207BE7}"/>
                </a:ext>
              </a:extLst>
            </p:cNvPr>
            <p:cNvSpPr txBox="1">
              <a:spLocks/>
            </p:cNvSpPr>
            <p:nvPr/>
          </p:nvSpPr>
          <p:spPr bwMode="gray">
            <a:xfrm>
              <a:off x="8790372" y="2821256"/>
              <a:ext cx="2152487" cy="1081406"/>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marL="0" marR="0" lvl="0" indent="0" algn="ctr" defTabSz="1060433" rtl="0" eaLnBrk="1" fontAlgn="auto" latinLnBrk="0" hangingPunct="1">
                <a:lnSpc>
                  <a:spcPct val="100000"/>
                </a:lnSpc>
                <a:spcBef>
                  <a:spcPct val="0"/>
                </a:spcBef>
                <a:spcAft>
                  <a:spcPts val="0"/>
                </a:spcAft>
                <a:buClrTx/>
                <a:buSzTx/>
                <a:buFontTx/>
                <a:buNone/>
                <a:tabLst/>
                <a:defRPr/>
              </a:pPr>
              <a:r>
                <a:rPr kumimoji="0" lang="en-US" sz="4500" u="none" strike="noStrike" kern="1200" cap="none" spc="150" normalizeH="0" baseline="0" noProof="0" dirty="0">
                  <a:ln w="22225">
                    <a:noFill/>
                    <a:prstDash val="solid"/>
                  </a:ln>
                  <a:solidFill>
                    <a:schemeClr val="tx1"/>
                  </a:solidFill>
                  <a:effectLst/>
                  <a:uLnTx/>
                  <a:uFillTx/>
                  <a:latin typeface="Impact" charset="0"/>
                  <a:ea typeface="Impact" charset="0"/>
                  <a:cs typeface="Impact" charset="0"/>
                </a:rPr>
                <a:t>+60%</a:t>
              </a:r>
            </a:p>
          </p:txBody>
        </p:sp>
      </p:grpSp>
      <p:sp>
        <p:nvSpPr>
          <p:cNvPr id="22" name="TextBox 21">
            <a:extLst>
              <a:ext uri="{FF2B5EF4-FFF2-40B4-BE49-F238E27FC236}">
                <a16:creationId xmlns:a16="http://schemas.microsoft.com/office/drawing/2014/main" id="{E11754A1-8049-0D47-8907-978F136E3E52}"/>
              </a:ext>
            </a:extLst>
          </p:cNvPr>
          <p:cNvSpPr txBox="1"/>
          <p:nvPr/>
        </p:nvSpPr>
        <p:spPr>
          <a:xfrm>
            <a:off x="326591" y="1141124"/>
            <a:ext cx="5545397" cy="338554"/>
          </a:xfrm>
          <a:prstGeom prst="rect">
            <a:avLst/>
          </a:prstGeom>
          <a:noFill/>
        </p:spPr>
        <p:txBody>
          <a:bodyPr wrap="square" lIns="0" tIns="0" rIns="0" bIns="0" rtlCol="0">
            <a:spAutoFit/>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0" lang="en-GB" sz="1100" b="0" i="1" u="sng" strike="noStrike" kern="1200" cap="none" spc="0" normalizeH="0" baseline="0" noProof="0" dirty="0">
                <a:ln>
                  <a:noFill/>
                </a:ln>
                <a:solidFill>
                  <a:schemeClr val="bg1"/>
                </a:solidFill>
                <a:effectLst/>
                <a:uLnTx/>
                <a:uFillTx/>
                <a:latin typeface="Arial" charset="0"/>
                <a:ea typeface="Arial" charset="0"/>
                <a:cs typeface="Arial" charset="0"/>
              </a:rPr>
              <a:t>Meta-analysis of 12 cinema campaigns </a:t>
            </a:r>
          </a:p>
          <a:p>
            <a:pPr marL="0" marR="0" lvl="0" indent="0" algn="l" defTabSz="1008126"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dirty="0">
                <a:ln>
                  <a:noFill/>
                </a:ln>
                <a:solidFill>
                  <a:schemeClr val="bg1"/>
                </a:solidFill>
                <a:effectLst/>
                <a:uLnTx/>
                <a:uFillTx/>
                <a:latin typeface="Arial" charset="0"/>
                <a:ea typeface="Arial" charset="0"/>
                <a:cs typeface="Arial" charset="0"/>
              </a:rPr>
              <a:t>16-34 audience results</a:t>
            </a:r>
          </a:p>
        </p:txBody>
      </p:sp>
      <p:sp>
        <p:nvSpPr>
          <p:cNvPr id="23" name="Rectangle 22">
            <a:extLst>
              <a:ext uri="{FF2B5EF4-FFF2-40B4-BE49-F238E27FC236}">
                <a16:creationId xmlns:a16="http://schemas.microsoft.com/office/drawing/2014/main" id="{22270AA5-EB7D-E748-852B-6084F6D25071}"/>
              </a:ext>
            </a:extLst>
          </p:cNvPr>
          <p:cNvSpPr/>
          <p:nvPr/>
        </p:nvSpPr>
        <p:spPr>
          <a:xfrm>
            <a:off x="3099290" y="7197110"/>
            <a:ext cx="10237029" cy="246221"/>
          </a:xfrm>
          <a:prstGeom prst="rect">
            <a:avLst/>
          </a:prstGeom>
        </p:spPr>
        <p:txBody>
          <a:bodyPr wrap="square" lIns="0" tIns="0" rIns="0" bIns="0">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1"/>
                </a:solidFill>
                <a:effectLst/>
                <a:uLnTx/>
                <a:uFillTx/>
                <a:latin typeface="Arial" charset="0"/>
                <a:ea typeface="Arial" charset="0"/>
                <a:cs typeface="Arial" charset="0"/>
              </a:rPr>
              <a:t>Meta-analysis consists of 12 campaigns from finance, travel, entertainment &amp; leisure, FMCG and charity sectors</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1"/>
                </a:solidFill>
                <a:effectLst/>
                <a:uLnTx/>
                <a:uFillTx/>
                <a:latin typeface="Arial" charset="0"/>
                <a:ea typeface="Arial" charset="0"/>
                <a:cs typeface="Arial" charset="0"/>
              </a:rPr>
              <a:t> Uplifts based on results for 16-34 audience only.</a:t>
            </a:r>
          </a:p>
        </p:txBody>
      </p:sp>
      <p:sp>
        <p:nvSpPr>
          <p:cNvPr id="24" name="TextBox 23">
            <a:extLst>
              <a:ext uri="{FF2B5EF4-FFF2-40B4-BE49-F238E27FC236}">
                <a16:creationId xmlns:a16="http://schemas.microsoft.com/office/drawing/2014/main" id="{B386A4A7-6C2A-4E1B-9A11-8DBE3A6E5AB3}"/>
              </a:ext>
            </a:extLst>
          </p:cNvPr>
          <p:cNvSpPr txBox="1"/>
          <p:nvPr/>
        </p:nvSpPr>
        <p:spPr>
          <a:xfrm>
            <a:off x="158272" y="610711"/>
            <a:ext cx="11214578" cy="307777"/>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lang="en-GB" sz="1400" b="1" dirty="0">
                <a:solidFill>
                  <a:schemeClr val="accent6"/>
                </a:solidFill>
                <a:latin typeface="Arial"/>
              </a:rPr>
              <a:t>Cinema helps create a better impression of your brand and lands messaging more convincingly with 16-34s than other channels. </a:t>
            </a:r>
            <a:endParaRPr kumimoji="0" lang="en-GB" sz="1400" b="1" i="0" u="none" strike="noStrike" kern="1200" cap="none" spc="0" normalizeH="0" baseline="0" noProof="0" dirty="0">
              <a:ln>
                <a:noFill/>
              </a:ln>
              <a:solidFill>
                <a:schemeClr val="accent6"/>
              </a:solidFill>
              <a:effectLst/>
              <a:uLnTx/>
              <a:uFillTx/>
              <a:latin typeface="Arial"/>
            </a:endParaRPr>
          </a:p>
        </p:txBody>
      </p:sp>
    </p:spTree>
    <p:extLst>
      <p:ext uri="{BB962C8B-B14F-4D97-AF65-F5344CB8AC3E}">
        <p14:creationId xmlns:p14="http://schemas.microsoft.com/office/powerpoint/2010/main" val="150204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CC436A2E-1703-8096-8179-D91876E54187}"/>
              </a:ext>
            </a:extLst>
          </p:cNvPr>
          <p:cNvPicPr>
            <a:picLocks noGrp="1" noChangeAspect="1"/>
          </p:cNvPicPr>
          <p:nvPr>
            <p:ph type="pic" sz="quarter" idx="16"/>
          </p:nvPr>
        </p:nvPicPr>
        <p:blipFill>
          <a:blip r:embed="rId2" cstate="print">
            <a:extLst>
              <a:ext uri="{28A0092B-C50C-407E-A947-70E740481C1C}">
                <a14:useLocalDpi xmlns:a14="http://schemas.microsoft.com/office/drawing/2010/main"/>
              </a:ext>
            </a:extLst>
          </a:blip>
          <a:srcRect/>
          <a:stretch>
            <a:fillRect/>
          </a:stretch>
        </p:blipFill>
        <p:spPr>
          <a:prstGeom prst="rect">
            <a:avLst/>
          </a:prstGeom>
        </p:spPr>
      </p:pic>
      <p:sp>
        <p:nvSpPr>
          <p:cNvPr id="15" name="Rectangle 14">
            <a:extLst>
              <a:ext uri="{FF2B5EF4-FFF2-40B4-BE49-F238E27FC236}">
                <a16:creationId xmlns:a16="http://schemas.microsoft.com/office/drawing/2014/main" id="{4B95BF8A-C118-4C0B-8706-7C5ADDC807C4}"/>
              </a:ext>
            </a:extLst>
          </p:cNvPr>
          <p:cNvSpPr/>
          <p:nvPr/>
        </p:nvSpPr>
        <p:spPr>
          <a:xfrm>
            <a:off x="0" y="-1"/>
            <a:ext cx="13442950" cy="7067549"/>
          </a:xfrm>
          <a:prstGeom prst="rect">
            <a:avLst/>
          </a:prstGeom>
          <a:solidFill>
            <a:schemeClr val="bg2">
              <a:alpha val="80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9" name="Title 8">
            <a:extLst>
              <a:ext uri="{FF2B5EF4-FFF2-40B4-BE49-F238E27FC236}">
                <a16:creationId xmlns:a16="http://schemas.microsoft.com/office/drawing/2014/main" id="{142DCA56-08F9-4DFC-894C-94E73FDD2449}"/>
              </a:ext>
            </a:extLst>
          </p:cNvPr>
          <p:cNvSpPr>
            <a:spLocks noGrp="1"/>
          </p:cNvSpPr>
          <p:nvPr>
            <p:ph type="title"/>
          </p:nvPr>
        </p:nvSpPr>
        <p:spPr/>
        <p:txBody>
          <a:bodyPr/>
          <a:lstStyle/>
          <a:p>
            <a:r>
              <a:rPr lang="en-GB" dirty="0">
                <a:solidFill>
                  <a:srgbClr val="FFFFFF"/>
                </a:solidFill>
              </a:rPr>
              <a:t>16-34 HEAVY CINEMAGOERS: in market</a:t>
            </a:r>
            <a:endParaRPr lang="en-GB" dirty="0"/>
          </a:p>
        </p:txBody>
      </p:sp>
      <p:sp>
        <p:nvSpPr>
          <p:cNvPr id="10" name="Text Placeholder 9">
            <a:extLst>
              <a:ext uri="{FF2B5EF4-FFF2-40B4-BE49-F238E27FC236}">
                <a16:creationId xmlns:a16="http://schemas.microsoft.com/office/drawing/2014/main" id="{362EAFD4-008C-47EC-BCE4-8942475196D7}"/>
              </a:ext>
            </a:extLst>
          </p:cNvPr>
          <p:cNvSpPr>
            <a:spLocks noGrp="1"/>
          </p:cNvSpPr>
          <p:nvPr>
            <p:ph type="body" sz="quarter" idx="11"/>
          </p:nvPr>
        </p:nvSpPr>
        <p:spPr>
          <a:xfrm>
            <a:off x="9420225" y="7189564"/>
            <a:ext cx="3878263" cy="246221"/>
          </a:xfrm>
        </p:spPr>
        <p:txBody>
          <a:bodyPr/>
          <a:lstStyle/>
          <a:p>
            <a:pPr lvl="0">
              <a:lnSpc>
                <a:spcPct val="100000"/>
              </a:lnSpc>
              <a:buClrTx/>
              <a:buSzTx/>
              <a:defRPr/>
            </a:pPr>
            <a:r>
              <a:rPr lang="en-GB" dirty="0">
                <a:solidFill>
                  <a:srgbClr val="000000">
                    <a:lumMod val="95000"/>
                    <a:lumOff val="5000"/>
                  </a:srgbClr>
                </a:solidFill>
                <a:latin typeface="Arial" charset="0"/>
                <a:ea typeface="Arial" charset="0"/>
                <a:cs typeface="Arial" charset="0"/>
              </a:rPr>
              <a:t>Source: TGI GB April 2022</a:t>
            </a:r>
          </a:p>
          <a:p>
            <a:pPr lvl="0">
              <a:lnSpc>
                <a:spcPct val="100000"/>
              </a:lnSpc>
              <a:buClrTx/>
              <a:buSzTx/>
              <a:defRPr/>
            </a:pPr>
            <a:r>
              <a:rPr lang="en-GB" dirty="0">
                <a:solidFill>
                  <a:srgbClr val="000000">
                    <a:lumMod val="95000"/>
                    <a:lumOff val="5000"/>
                  </a:srgbClr>
                </a:solidFill>
                <a:latin typeface="Arial" charset="0"/>
                <a:ea typeface="Arial" charset="0"/>
                <a:cs typeface="Arial" charset="0"/>
              </a:rPr>
              <a:t>Target: 16-34 heavy cinemagoers. Index vs. average GB adult who are cinemagoers</a:t>
            </a:r>
          </a:p>
        </p:txBody>
      </p:sp>
      <p:sp>
        <p:nvSpPr>
          <p:cNvPr id="12" name="Text Placeholder 11">
            <a:extLst>
              <a:ext uri="{FF2B5EF4-FFF2-40B4-BE49-F238E27FC236}">
                <a16:creationId xmlns:a16="http://schemas.microsoft.com/office/drawing/2014/main" id="{EA4C299E-5DE3-48F6-BAD1-442E5F3D6A24}"/>
              </a:ext>
            </a:extLst>
          </p:cNvPr>
          <p:cNvSpPr>
            <a:spLocks noGrp="1"/>
          </p:cNvSpPr>
          <p:nvPr>
            <p:ph type="body" sz="quarter" idx="27"/>
          </p:nvPr>
        </p:nvSpPr>
        <p:spPr>
          <a:xfrm>
            <a:off x="270623" y="651956"/>
            <a:ext cx="12264485" cy="436608"/>
          </a:xfrm>
        </p:spPr>
        <p:txBody>
          <a:bodyPr/>
          <a:lstStyle/>
          <a:p>
            <a:r>
              <a:rPr lang="en-GB" dirty="0">
                <a:solidFill>
                  <a:srgbClr val="FFFFFF"/>
                </a:solidFill>
              </a:rPr>
              <a:t>Heavy cinemagoing 16-34s are more likely to have a positive outlook on the year and be planning big purchases.</a:t>
            </a:r>
          </a:p>
          <a:p>
            <a:endParaRPr lang="en-GB" dirty="0"/>
          </a:p>
        </p:txBody>
      </p:sp>
      <p:sp>
        <p:nvSpPr>
          <p:cNvPr id="16" name="Oval 15">
            <a:extLst>
              <a:ext uri="{FF2B5EF4-FFF2-40B4-BE49-F238E27FC236}">
                <a16:creationId xmlns:a16="http://schemas.microsoft.com/office/drawing/2014/main" id="{D225B2B8-F2C7-4418-A36B-3FDAB3D77BC3}"/>
              </a:ext>
            </a:extLst>
          </p:cNvPr>
          <p:cNvSpPr/>
          <p:nvPr/>
        </p:nvSpPr>
        <p:spPr>
          <a:xfrm>
            <a:off x="774783" y="1599026"/>
            <a:ext cx="2162382" cy="2190863"/>
          </a:xfrm>
          <a:prstGeom prst="ellipse">
            <a:avLst/>
          </a:prstGeom>
          <a:solidFill>
            <a:srgbClr val="FFFFFF">
              <a:alpha val="50196"/>
            </a:srgb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srgbClr val="FFFFFF"/>
                </a:solidFill>
                <a:effectLst/>
                <a:uLnTx/>
                <a:uFillTx/>
                <a:latin typeface="Impact"/>
                <a:ea typeface="+mn-ea"/>
                <a:cs typeface="+mn-cs"/>
              </a:rPr>
              <a:t>148</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Plan to buy a car</a:t>
            </a:r>
          </a:p>
        </p:txBody>
      </p:sp>
      <p:sp>
        <p:nvSpPr>
          <p:cNvPr id="17" name="Oval 16">
            <a:extLst>
              <a:ext uri="{FF2B5EF4-FFF2-40B4-BE49-F238E27FC236}">
                <a16:creationId xmlns:a16="http://schemas.microsoft.com/office/drawing/2014/main" id="{39E9814B-3BFC-4A1D-8EB2-713DC27EBB9B}"/>
              </a:ext>
            </a:extLst>
          </p:cNvPr>
          <p:cNvSpPr/>
          <p:nvPr/>
        </p:nvSpPr>
        <p:spPr>
          <a:xfrm>
            <a:off x="7096413" y="1569367"/>
            <a:ext cx="2162382" cy="2190863"/>
          </a:xfrm>
          <a:prstGeom prst="ellipse">
            <a:avLst/>
          </a:prstGeom>
          <a:solidFill>
            <a:srgbClr val="FFFFFF">
              <a:alpha val="50196"/>
            </a:srgb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srgbClr val="FFFFFF"/>
                </a:solidFill>
                <a:effectLst/>
                <a:uLnTx/>
                <a:uFillTx/>
                <a:latin typeface="Impact"/>
                <a:ea typeface="+mn-ea"/>
                <a:cs typeface="+mn-cs"/>
              </a:rPr>
              <a:t>127</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Passionate about travelling</a:t>
            </a:r>
          </a:p>
        </p:txBody>
      </p:sp>
      <p:sp>
        <p:nvSpPr>
          <p:cNvPr id="18" name="Oval 17">
            <a:extLst>
              <a:ext uri="{FF2B5EF4-FFF2-40B4-BE49-F238E27FC236}">
                <a16:creationId xmlns:a16="http://schemas.microsoft.com/office/drawing/2014/main" id="{06C5CDF9-6821-4F76-AF47-2895C6649369}"/>
              </a:ext>
            </a:extLst>
          </p:cNvPr>
          <p:cNvSpPr/>
          <p:nvPr/>
        </p:nvSpPr>
        <p:spPr>
          <a:xfrm>
            <a:off x="10372726" y="1599026"/>
            <a:ext cx="2162382" cy="2190863"/>
          </a:xfrm>
          <a:prstGeom prst="ellipse">
            <a:avLst/>
          </a:prstGeom>
          <a:solidFill>
            <a:srgbClr val="FFFFFF">
              <a:alpha val="50196"/>
            </a:srgb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srgbClr val="FFFFFF"/>
                </a:solidFill>
                <a:effectLst/>
                <a:uLnTx/>
                <a:uFillTx/>
                <a:latin typeface="Impact"/>
                <a:ea typeface="+mn-ea"/>
                <a:cs typeface="+mn-cs"/>
              </a:rPr>
              <a:t>157</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I am tempted to buy clothes I’ve seen advertised’</a:t>
            </a:r>
          </a:p>
        </p:txBody>
      </p:sp>
      <p:sp>
        <p:nvSpPr>
          <p:cNvPr id="19" name="Oval 18">
            <a:extLst>
              <a:ext uri="{FF2B5EF4-FFF2-40B4-BE49-F238E27FC236}">
                <a16:creationId xmlns:a16="http://schemas.microsoft.com/office/drawing/2014/main" id="{A2942297-1AA1-4AC5-8B59-4D1A3B353B6D}"/>
              </a:ext>
            </a:extLst>
          </p:cNvPr>
          <p:cNvSpPr/>
          <p:nvPr/>
        </p:nvSpPr>
        <p:spPr>
          <a:xfrm>
            <a:off x="774783" y="4108337"/>
            <a:ext cx="2162382" cy="2190863"/>
          </a:xfrm>
          <a:prstGeom prst="ellipse">
            <a:avLst/>
          </a:prstGeom>
          <a:solidFill>
            <a:srgbClr val="FFFFFF">
              <a:alpha val="50196"/>
            </a:srgb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srgbClr val="FFFFFF"/>
                </a:solidFill>
                <a:effectLst/>
                <a:uLnTx/>
                <a:uFillTx/>
                <a:latin typeface="Impact"/>
                <a:ea typeface="+mn-ea"/>
                <a:cs typeface="+mn-cs"/>
              </a:rPr>
              <a:t>109</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Plan to buy mobile phone</a:t>
            </a:r>
          </a:p>
        </p:txBody>
      </p:sp>
      <p:sp>
        <p:nvSpPr>
          <p:cNvPr id="20" name="Oval 19">
            <a:extLst>
              <a:ext uri="{FF2B5EF4-FFF2-40B4-BE49-F238E27FC236}">
                <a16:creationId xmlns:a16="http://schemas.microsoft.com/office/drawing/2014/main" id="{E736CFC2-4DF4-498D-B4AC-4B93787AB2C1}"/>
              </a:ext>
            </a:extLst>
          </p:cNvPr>
          <p:cNvSpPr/>
          <p:nvPr/>
        </p:nvSpPr>
        <p:spPr>
          <a:xfrm>
            <a:off x="7096414" y="4108337"/>
            <a:ext cx="2162382" cy="2190863"/>
          </a:xfrm>
          <a:prstGeom prst="ellipse">
            <a:avLst/>
          </a:prstGeom>
          <a:solidFill>
            <a:srgbClr val="FFFFFF">
              <a:alpha val="50196"/>
            </a:srgb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3600" dirty="0">
                <a:solidFill>
                  <a:srgbClr val="FFFFFF"/>
                </a:solidFill>
                <a:latin typeface="Impact"/>
              </a:rPr>
              <a:t>68%</a:t>
            </a:r>
            <a:endParaRPr kumimoji="0" lang="en-GB" sz="3600" b="0" i="0" u="none" strike="noStrike" kern="1200" cap="none" spc="0" normalizeH="0" baseline="0" noProof="0" dirty="0">
              <a:ln>
                <a:noFill/>
              </a:ln>
              <a:solidFill>
                <a:srgbClr val="FFFFFF"/>
              </a:solidFill>
              <a:effectLst/>
              <a:uLnTx/>
              <a:uFillTx/>
              <a:latin typeface="Impact"/>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Like to try out new food products</a:t>
            </a:r>
          </a:p>
        </p:txBody>
      </p:sp>
      <p:sp>
        <p:nvSpPr>
          <p:cNvPr id="21" name="Oval 20">
            <a:extLst>
              <a:ext uri="{FF2B5EF4-FFF2-40B4-BE49-F238E27FC236}">
                <a16:creationId xmlns:a16="http://schemas.microsoft.com/office/drawing/2014/main" id="{03B1A48C-21EA-4ACF-9BF3-7B622AC04D89}"/>
              </a:ext>
            </a:extLst>
          </p:cNvPr>
          <p:cNvSpPr/>
          <p:nvPr/>
        </p:nvSpPr>
        <p:spPr>
          <a:xfrm>
            <a:off x="10421280" y="4108337"/>
            <a:ext cx="2162382" cy="2190863"/>
          </a:xfrm>
          <a:prstGeom prst="ellipse">
            <a:avLst/>
          </a:prstGeom>
          <a:solidFill>
            <a:srgbClr val="FFFFFF">
              <a:alpha val="50196"/>
            </a:srgb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srgbClr val="FFFFFF"/>
                </a:solidFill>
                <a:effectLst/>
                <a:uLnTx/>
                <a:uFillTx/>
                <a:latin typeface="Impact"/>
                <a:ea typeface="+mn-ea"/>
                <a:cs typeface="+mn-cs"/>
              </a:rPr>
              <a:t>70%</a:t>
            </a: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200" dirty="0">
                <a:solidFill>
                  <a:srgbClr val="FFFFFF"/>
                </a:solidFill>
                <a:latin typeface="Arial"/>
              </a:rPr>
              <a:t>Like to try new alcoholic drinks</a:t>
            </a: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22" name="Text Placeholder 2">
            <a:extLst>
              <a:ext uri="{FF2B5EF4-FFF2-40B4-BE49-F238E27FC236}">
                <a16:creationId xmlns:a16="http://schemas.microsoft.com/office/drawing/2014/main" id="{D6C647BA-CF12-492E-9E32-AA8FF37B627A}"/>
              </a:ext>
            </a:extLst>
          </p:cNvPr>
          <p:cNvSpPr txBox="1">
            <a:spLocks/>
          </p:cNvSpPr>
          <p:nvPr/>
        </p:nvSpPr>
        <p:spPr bwMode="gray">
          <a:xfrm>
            <a:off x="-872939" y="1023364"/>
            <a:ext cx="5457825" cy="436608"/>
          </a:xfrm>
          <a:prstGeom prst="rect">
            <a:avLst/>
          </a:prstGeom>
        </p:spPr>
        <p:txBody>
          <a:bodyPr vert="horz" lIns="0" tIns="0" rIns="0" bIns="0" rtlCol="0" anchor="ctr" anchorCtr="0">
            <a:noAutofit/>
          </a:bodyPr>
          <a:lstStyle>
            <a:lvl1pPr marL="0" indent="0" algn="l" defTabSz="961844" rtl="0" eaLnBrk="1" latinLnBrk="0" hangingPunct="1">
              <a:lnSpc>
                <a:spcPts val="1684"/>
              </a:lnSpc>
              <a:spcBef>
                <a:spcPts val="0"/>
              </a:spcBef>
              <a:buClr>
                <a:srgbClr val="FFFFFF"/>
              </a:buClr>
              <a:buSzPct val="100000"/>
              <a:buFont typeface="Arial"/>
              <a:buNone/>
              <a:defRPr lang="en-GB" sz="1400" b="1" kern="1200" baseline="0" dirty="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ts val="1684"/>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Planned ‘big purchases’ for 2022…</a:t>
            </a:r>
          </a:p>
        </p:txBody>
      </p:sp>
      <p:sp>
        <p:nvSpPr>
          <p:cNvPr id="23" name="Oval 22">
            <a:extLst>
              <a:ext uri="{FF2B5EF4-FFF2-40B4-BE49-F238E27FC236}">
                <a16:creationId xmlns:a16="http://schemas.microsoft.com/office/drawing/2014/main" id="{5F44D764-DA6B-1333-ADD7-1A0D92BCD387}"/>
              </a:ext>
            </a:extLst>
          </p:cNvPr>
          <p:cNvSpPr/>
          <p:nvPr/>
        </p:nvSpPr>
        <p:spPr>
          <a:xfrm>
            <a:off x="3873376" y="1569367"/>
            <a:ext cx="2162382" cy="2190863"/>
          </a:xfrm>
          <a:prstGeom prst="ellipse">
            <a:avLst/>
          </a:prstGeom>
          <a:solidFill>
            <a:srgbClr val="FFFFFF">
              <a:alpha val="50196"/>
            </a:srgb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srgbClr val="FFFFFF"/>
                </a:solidFill>
                <a:effectLst/>
                <a:uLnTx/>
                <a:uFillTx/>
                <a:latin typeface="Impact"/>
                <a:ea typeface="+mn-ea"/>
                <a:cs typeface="+mn-cs"/>
              </a:rPr>
              <a:t>157</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Plan to buy smart home tech</a:t>
            </a:r>
          </a:p>
        </p:txBody>
      </p:sp>
      <p:sp>
        <p:nvSpPr>
          <p:cNvPr id="24" name="Oval 23">
            <a:extLst>
              <a:ext uri="{FF2B5EF4-FFF2-40B4-BE49-F238E27FC236}">
                <a16:creationId xmlns:a16="http://schemas.microsoft.com/office/drawing/2014/main" id="{955E9752-C53D-665A-71C5-0CC84AB995BF}"/>
              </a:ext>
            </a:extLst>
          </p:cNvPr>
          <p:cNvSpPr/>
          <p:nvPr/>
        </p:nvSpPr>
        <p:spPr>
          <a:xfrm>
            <a:off x="3908414" y="4108337"/>
            <a:ext cx="2162382" cy="2190863"/>
          </a:xfrm>
          <a:prstGeom prst="ellipse">
            <a:avLst/>
          </a:prstGeom>
          <a:solidFill>
            <a:srgbClr val="FFFFFF">
              <a:alpha val="50196"/>
            </a:srgb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3600" dirty="0">
                <a:solidFill>
                  <a:srgbClr val="FFFFFF"/>
                </a:solidFill>
                <a:latin typeface="Impact"/>
              </a:rPr>
              <a:t>2X</a:t>
            </a:r>
            <a:endParaRPr kumimoji="0" lang="en-GB" sz="3600" b="0" i="0" u="none" strike="noStrike" kern="1200" cap="none" spc="0" normalizeH="0" baseline="0" noProof="0" dirty="0">
              <a:ln>
                <a:noFill/>
              </a:ln>
              <a:solidFill>
                <a:srgbClr val="FFFFFF"/>
              </a:solidFill>
              <a:effectLst/>
              <a:uLnTx/>
              <a:uFillTx/>
              <a:latin typeface="Impact"/>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More likely to plan to buy a games console</a:t>
            </a:r>
          </a:p>
        </p:txBody>
      </p:sp>
    </p:spTree>
    <p:extLst>
      <p:ext uri="{BB962C8B-B14F-4D97-AF65-F5344CB8AC3E}">
        <p14:creationId xmlns:p14="http://schemas.microsoft.com/office/powerpoint/2010/main" val="2509160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87C0B7AA-306B-4C71-A4D0-BDC75B4030EE}"/>
              </a:ext>
            </a:extLst>
          </p:cNvPr>
          <p:cNvSpPr>
            <a:spLocks noGrp="1"/>
          </p:cNvSpPr>
          <p:nvPr>
            <p:ph type="body" sz="quarter" idx="10"/>
          </p:nvPr>
        </p:nvSpPr>
        <p:spPr>
          <a:xfrm>
            <a:off x="1582920" y="1714031"/>
            <a:ext cx="10277111" cy="4133199"/>
          </a:xfrm>
        </p:spPr>
        <p:txBody>
          <a:bodyPr/>
          <a:lstStyle/>
          <a:p>
            <a:pPr>
              <a:lnSpc>
                <a:spcPts val="9500"/>
              </a:lnSpc>
            </a:pPr>
            <a:r>
              <a:rPr lang="en-GB" sz="9500" dirty="0">
                <a:solidFill>
                  <a:srgbClr val="FFFFFF"/>
                </a:solidFill>
              </a:rPr>
              <a:t>80% of 1634s</a:t>
            </a:r>
          </a:p>
          <a:p>
            <a:pPr>
              <a:lnSpc>
                <a:spcPts val="9500"/>
              </a:lnSpc>
            </a:pPr>
            <a:r>
              <a:rPr lang="en-GB" sz="9500" dirty="0">
                <a:solidFill>
                  <a:srgbClr val="FFFFFF"/>
                </a:solidFill>
              </a:rPr>
              <a:t>are cinemagoers</a:t>
            </a:r>
          </a:p>
        </p:txBody>
      </p:sp>
      <p:sp>
        <p:nvSpPr>
          <p:cNvPr id="9" name="Text Placeholder 8">
            <a:extLst>
              <a:ext uri="{FF2B5EF4-FFF2-40B4-BE49-F238E27FC236}">
                <a16:creationId xmlns:a16="http://schemas.microsoft.com/office/drawing/2014/main" id="{411EFDAD-4F39-474D-9E75-A2B88D77FB53}"/>
              </a:ext>
            </a:extLst>
          </p:cNvPr>
          <p:cNvSpPr>
            <a:spLocks noGrp="1"/>
          </p:cNvSpPr>
          <p:nvPr>
            <p:ph type="body" sz="quarter" idx="11"/>
          </p:nvPr>
        </p:nvSpPr>
        <p:spPr>
          <a:xfrm>
            <a:off x="10144125" y="7254347"/>
            <a:ext cx="3116263" cy="123111"/>
          </a:xfrm>
        </p:spPr>
        <p:txBody>
          <a:bodyPr/>
          <a:lstStyle/>
          <a:p>
            <a:pPr>
              <a:lnSpc>
                <a:spcPct val="100000"/>
              </a:lnSpc>
            </a:pPr>
            <a:r>
              <a:rPr lang="en-GB" dirty="0"/>
              <a:t>Source: TGI GB April 2022</a:t>
            </a:r>
            <a:endParaRPr lang="en-US" dirty="0"/>
          </a:p>
        </p:txBody>
      </p:sp>
    </p:spTree>
    <p:extLst>
      <p:ext uri="{BB962C8B-B14F-4D97-AF65-F5344CB8AC3E}">
        <p14:creationId xmlns:p14="http://schemas.microsoft.com/office/powerpoint/2010/main" val="6711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10182226" y="7189565"/>
            <a:ext cx="3116263" cy="246221"/>
          </a:xfrm>
        </p:spPr>
        <p:txBody>
          <a:bodyPr/>
          <a:lstStyle/>
          <a:p>
            <a:pPr>
              <a:lnSpc>
                <a:spcPct val="100000"/>
              </a:lnSpc>
            </a:pPr>
            <a:r>
              <a:rPr lang="en-US" dirty="0"/>
              <a:t>Source: 1 </a:t>
            </a:r>
            <a:r>
              <a:rPr lang="en-US" dirty="0" err="1"/>
              <a:t>Thinkbox</a:t>
            </a:r>
            <a:r>
              <a:rPr lang="en-US" dirty="0"/>
              <a:t> A Year in TV 2021 – 2022</a:t>
            </a:r>
          </a:p>
          <a:p>
            <a:pPr>
              <a:lnSpc>
                <a:spcPct val="100000"/>
              </a:lnSpc>
            </a:pPr>
            <a:r>
              <a:rPr lang="en-US" dirty="0"/>
              <a:t>2 IPA Touchpoints 2018/2019/2020/2021. Target: 1634 adults</a:t>
            </a:r>
          </a:p>
        </p:txBody>
      </p:sp>
      <p:sp>
        <p:nvSpPr>
          <p:cNvPr id="3" name="Title 2"/>
          <p:cNvSpPr>
            <a:spLocks noGrp="1"/>
          </p:cNvSpPr>
          <p:nvPr>
            <p:ph type="title"/>
          </p:nvPr>
        </p:nvSpPr>
        <p:spPr/>
        <p:txBody>
          <a:bodyPr/>
          <a:lstStyle/>
          <a:p>
            <a:r>
              <a:rPr lang="en-GB" dirty="0"/>
              <a:t>16-34 adults: their online video world</a:t>
            </a:r>
            <a:endParaRPr lang="en-US" dirty="0"/>
          </a:p>
        </p:txBody>
      </p:sp>
      <p:graphicFrame>
        <p:nvGraphicFramePr>
          <p:cNvPr id="4" name="Chart 3"/>
          <p:cNvGraphicFramePr/>
          <p:nvPr>
            <p:extLst>
              <p:ext uri="{D42A27DB-BD31-4B8C-83A1-F6EECF244321}">
                <p14:modId xmlns:p14="http://schemas.microsoft.com/office/powerpoint/2010/main" val="3266241514"/>
              </p:ext>
            </p:extLst>
          </p:nvPr>
        </p:nvGraphicFramePr>
        <p:xfrm>
          <a:off x="1163642" y="1767554"/>
          <a:ext cx="7163287" cy="4811703"/>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 Placeholder 13"/>
          <p:cNvSpPr txBox="1">
            <a:spLocks/>
          </p:cNvSpPr>
          <p:nvPr/>
        </p:nvSpPr>
        <p:spPr bwMode="gray">
          <a:xfrm>
            <a:off x="270000" y="1466049"/>
            <a:ext cx="6155862" cy="214058"/>
          </a:xfrm>
          <a:prstGeom prst="rect">
            <a:avLst/>
          </a:prstGeom>
        </p:spPr>
        <p:txBody>
          <a:bodyPr vert="horz" lIns="0" tIns="0" rIns="0" bIns="0" rtlCol="0" anchor="t" anchorCtr="0">
            <a:noAutofit/>
          </a:bodyPr>
          <a:lstStyle>
            <a:lvl1pPr>
              <a:lnSpc>
                <a:spcPts val="1684"/>
              </a:lnSpc>
              <a:buNone/>
              <a:defRPr lang="en-GB" sz="1400" b="1" kern="1200" baseline="0" dirty="0">
                <a:solidFill>
                  <a:schemeClr val="bg1"/>
                </a:solidFill>
                <a:latin typeface="+mn-lt"/>
                <a:ea typeface="+mn-ea"/>
                <a:cs typeface="+mn-cs"/>
              </a:defRPr>
            </a:lvl1pPr>
          </a:lstStyle>
          <a:p>
            <a:pPr marL="96871" marR="0" lvl="0" indent="-96871"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chemeClr val="bg1"/>
                </a:solidFill>
                <a:effectLst/>
                <a:uLnTx/>
                <a:uFillTx/>
                <a:latin typeface="+mn-lt"/>
                <a:ea typeface="+mn-ea"/>
                <a:cs typeface="+mn-cs"/>
              </a:rPr>
              <a:t>Average % share of video time per day</a:t>
            </a:r>
            <a:r>
              <a:rPr kumimoji="0" lang="en-GB" sz="1100" b="1" i="0" u="none" strike="noStrike" kern="1200" cap="none" spc="0" normalizeH="0" baseline="30000" noProof="0" dirty="0">
                <a:ln>
                  <a:noFill/>
                </a:ln>
                <a:solidFill>
                  <a:schemeClr val="bg1">
                    <a:lumMod val="50000"/>
                    <a:lumOff val="50000"/>
                  </a:schemeClr>
                </a:solidFill>
                <a:effectLst/>
                <a:uLnTx/>
                <a:uFillTx/>
                <a:latin typeface="+mn-lt"/>
                <a:ea typeface="+mn-ea"/>
                <a:cs typeface="+mn-cs"/>
              </a:rPr>
              <a:t>1</a:t>
            </a:r>
            <a:r>
              <a:rPr kumimoji="0" lang="en-GB" sz="1400" b="1" i="0" u="none" strike="noStrike" kern="1200" cap="none" spc="0" normalizeH="0" baseline="0" noProof="0" dirty="0">
                <a:ln>
                  <a:noFill/>
                </a:ln>
                <a:solidFill>
                  <a:schemeClr val="bg1"/>
                </a:solidFill>
                <a:effectLst/>
                <a:uLnTx/>
                <a:uFillTx/>
                <a:latin typeface="+mn-lt"/>
                <a:ea typeface="+mn-ea"/>
                <a:cs typeface="+mn-cs"/>
              </a:rPr>
              <a:t> </a:t>
            </a:r>
          </a:p>
          <a:p>
            <a:pPr marL="96871" indent="-96871">
              <a:lnSpc>
                <a:spcPts val="1500"/>
              </a:lnSpc>
              <a:buClr>
                <a:srgbClr val="FFFFFF"/>
              </a:buClr>
              <a:buSzPct val="100000"/>
              <a:defRPr/>
            </a:pPr>
            <a:r>
              <a:rPr lang="en-GB" dirty="0">
                <a:solidFill>
                  <a:schemeClr val="accent6"/>
                </a:solidFill>
              </a:rPr>
              <a:t>16-34s</a:t>
            </a:r>
          </a:p>
        </p:txBody>
      </p:sp>
      <p:sp>
        <p:nvSpPr>
          <p:cNvPr id="8" name="Text Placeholder 15"/>
          <p:cNvSpPr>
            <a:spLocks noGrp="1"/>
          </p:cNvSpPr>
          <p:nvPr>
            <p:ph type="body" sz="quarter" idx="4294967295"/>
          </p:nvPr>
        </p:nvSpPr>
        <p:spPr>
          <a:xfrm>
            <a:off x="270624" y="651956"/>
            <a:ext cx="5961600" cy="436608"/>
          </a:xfrm>
          <a:prstGeom prst="rect">
            <a:avLst/>
          </a:prstGeom>
        </p:spPr>
        <p:txBody>
          <a:bodyPr lIns="0" tIns="0" rIns="0" bIns="0"/>
          <a:lstStyle/>
          <a:p>
            <a:r>
              <a:rPr lang="en-US" sz="1400" dirty="0">
                <a:solidFill>
                  <a:schemeClr val="accent6"/>
                </a:solidFill>
              </a:rPr>
              <a:t>Younger adults video consumption is becoming more fragmented, driving the decline of TV viewing YoY</a:t>
            </a:r>
          </a:p>
        </p:txBody>
      </p:sp>
      <p:graphicFrame>
        <p:nvGraphicFramePr>
          <p:cNvPr id="12" name="Chart 11">
            <a:extLst>
              <a:ext uri="{FF2B5EF4-FFF2-40B4-BE49-F238E27FC236}">
                <a16:creationId xmlns:a16="http://schemas.microsoft.com/office/drawing/2014/main" id="{F244E4CB-AEEF-47C8-7460-9A7C3814EF48}"/>
              </a:ext>
            </a:extLst>
          </p:cNvPr>
          <p:cNvGraphicFramePr/>
          <p:nvPr>
            <p:extLst>
              <p:ext uri="{D42A27DB-BD31-4B8C-83A1-F6EECF244321}">
                <p14:modId xmlns:p14="http://schemas.microsoft.com/office/powerpoint/2010/main" val="582112986"/>
              </p:ext>
            </p:extLst>
          </p:nvPr>
        </p:nvGraphicFramePr>
        <p:xfrm>
          <a:off x="6981825" y="1892175"/>
          <a:ext cx="5516111" cy="4562462"/>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 Placeholder 13">
            <a:extLst>
              <a:ext uri="{FF2B5EF4-FFF2-40B4-BE49-F238E27FC236}">
                <a16:creationId xmlns:a16="http://schemas.microsoft.com/office/drawing/2014/main" id="{A65E6B7C-ECCB-0DF5-E2BA-65CEB1B348DF}"/>
              </a:ext>
            </a:extLst>
          </p:cNvPr>
          <p:cNvSpPr txBox="1">
            <a:spLocks/>
          </p:cNvSpPr>
          <p:nvPr/>
        </p:nvSpPr>
        <p:spPr bwMode="gray">
          <a:xfrm>
            <a:off x="7104295" y="1465138"/>
            <a:ext cx="6155862" cy="214058"/>
          </a:xfrm>
          <a:prstGeom prst="rect">
            <a:avLst/>
          </a:prstGeom>
        </p:spPr>
        <p:txBody>
          <a:bodyPr vert="horz" lIns="0" tIns="0" rIns="0" bIns="0" rtlCol="0" anchor="t" anchorCtr="0">
            <a:noAutofit/>
          </a:bodyPr>
          <a:lstStyle>
            <a:lvl1pPr>
              <a:lnSpc>
                <a:spcPts val="1684"/>
              </a:lnSpc>
              <a:buNone/>
              <a:defRPr lang="en-GB" sz="1400" b="1" kern="1200" baseline="0" dirty="0">
                <a:solidFill>
                  <a:schemeClr val="bg1"/>
                </a:solidFill>
                <a:latin typeface="+mn-lt"/>
                <a:ea typeface="+mn-ea"/>
                <a:cs typeface="+mn-cs"/>
              </a:defRPr>
            </a:lvl1pPr>
          </a:lstStyle>
          <a:p>
            <a:pPr marL="96871" marR="0" lvl="0" indent="-96871"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chemeClr val="bg1"/>
                </a:solidFill>
                <a:effectLst/>
                <a:uLnTx/>
                <a:uFillTx/>
                <a:latin typeface="+mn-lt"/>
                <a:ea typeface="+mn-ea"/>
                <a:cs typeface="+mn-cs"/>
              </a:rPr>
              <a:t>Average time spent watching TV per day YoY</a:t>
            </a:r>
            <a:r>
              <a:rPr kumimoji="0" lang="en-GB" sz="1100" b="1" i="0" u="none" strike="noStrike" kern="1200" cap="none" spc="0" normalizeH="0" baseline="30000" noProof="0" dirty="0">
                <a:ln>
                  <a:noFill/>
                </a:ln>
                <a:solidFill>
                  <a:schemeClr val="bg1">
                    <a:lumMod val="50000"/>
                    <a:lumOff val="50000"/>
                  </a:schemeClr>
                </a:solidFill>
                <a:effectLst/>
                <a:uLnTx/>
                <a:uFillTx/>
                <a:latin typeface="+mn-lt"/>
                <a:ea typeface="+mn-ea"/>
                <a:cs typeface="+mn-cs"/>
              </a:rPr>
              <a:t>2</a:t>
            </a:r>
          </a:p>
          <a:p>
            <a:pPr marL="96871" indent="-96871">
              <a:lnSpc>
                <a:spcPts val="1500"/>
              </a:lnSpc>
              <a:buClr>
                <a:srgbClr val="FFFFFF"/>
              </a:buClr>
              <a:buSzPct val="100000"/>
              <a:defRPr/>
            </a:pPr>
            <a:r>
              <a:rPr lang="en-GB" dirty="0">
                <a:solidFill>
                  <a:schemeClr val="accent6"/>
                </a:solidFill>
              </a:rPr>
              <a:t>16-34s</a:t>
            </a:r>
          </a:p>
        </p:txBody>
      </p:sp>
    </p:spTree>
    <p:extLst>
      <p:ext uri="{BB962C8B-B14F-4D97-AF65-F5344CB8AC3E}">
        <p14:creationId xmlns:p14="http://schemas.microsoft.com/office/powerpoint/2010/main" val="1887752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BE19C4-0390-4423-8EC0-4FB306E9D73C}"/>
              </a:ext>
            </a:extLst>
          </p:cNvPr>
          <p:cNvSpPr>
            <a:spLocks noGrp="1"/>
          </p:cNvSpPr>
          <p:nvPr>
            <p:ph type="title"/>
          </p:nvPr>
        </p:nvSpPr>
        <p:spPr/>
        <p:txBody>
          <a:bodyPr/>
          <a:lstStyle/>
          <a:p>
            <a:r>
              <a:rPr lang="en-GB" dirty="0"/>
              <a:t>16-34 adults: their av world</a:t>
            </a:r>
            <a:endParaRPr lang="en-US" dirty="0"/>
          </a:p>
        </p:txBody>
      </p:sp>
      <p:sp>
        <p:nvSpPr>
          <p:cNvPr id="7" name="Text Placeholder 6">
            <a:extLst>
              <a:ext uri="{FF2B5EF4-FFF2-40B4-BE49-F238E27FC236}">
                <a16:creationId xmlns:a16="http://schemas.microsoft.com/office/drawing/2014/main" id="{C9A47DE4-245F-4A32-B1E0-21A648823743}"/>
              </a:ext>
            </a:extLst>
          </p:cNvPr>
          <p:cNvSpPr>
            <a:spLocks noGrp="1"/>
          </p:cNvSpPr>
          <p:nvPr>
            <p:ph type="body" sz="quarter" idx="14"/>
          </p:nvPr>
        </p:nvSpPr>
        <p:spPr>
          <a:xfrm>
            <a:off x="270000" y="665442"/>
            <a:ext cx="11914912" cy="436608"/>
          </a:xfrm>
        </p:spPr>
        <p:txBody>
          <a:bodyPr/>
          <a:lstStyle/>
          <a:p>
            <a:pPr>
              <a:lnSpc>
                <a:spcPct val="100000"/>
              </a:lnSpc>
            </a:pPr>
            <a:r>
              <a:rPr lang="en-GB" dirty="0"/>
              <a:t>Light TV viewers are using subscription services more frequently to create their own content viewing schedules and therefore becoming harder to reach &amp; engage – but they are more likely to be cinemagoers</a:t>
            </a:r>
            <a:endParaRPr lang="en-US" dirty="0"/>
          </a:p>
          <a:p>
            <a:pPr>
              <a:lnSpc>
                <a:spcPct val="100000"/>
              </a:lnSpc>
            </a:pPr>
            <a:endParaRPr lang="en-US" dirty="0"/>
          </a:p>
        </p:txBody>
      </p:sp>
      <p:sp>
        <p:nvSpPr>
          <p:cNvPr id="8" name="Freeform 451">
            <a:extLst>
              <a:ext uri="{FF2B5EF4-FFF2-40B4-BE49-F238E27FC236}">
                <a16:creationId xmlns:a16="http://schemas.microsoft.com/office/drawing/2014/main" id="{8F68FC79-E255-466A-809D-6B79B4D03F49}"/>
              </a:ext>
            </a:extLst>
          </p:cNvPr>
          <p:cNvSpPr>
            <a:spLocks noEditPoints="1"/>
          </p:cNvSpPr>
          <p:nvPr/>
        </p:nvSpPr>
        <p:spPr bwMode="auto">
          <a:xfrm>
            <a:off x="9119524" y="1520451"/>
            <a:ext cx="2160000" cy="21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12 w 726"/>
              <a:gd name="T47" fmla="*/ 542 h 726"/>
              <a:gd name="T48" fmla="*/ 202 w 726"/>
              <a:gd name="T49" fmla="*/ 534 h 726"/>
              <a:gd name="T50" fmla="*/ 202 w 726"/>
              <a:gd name="T51" fmla="*/ 524 h 726"/>
              <a:gd name="T52" fmla="*/ 212 w 726"/>
              <a:gd name="T53" fmla="*/ 518 h 726"/>
              <a:gd name="T54" fmla="*/ 518 w 726"/>
              <a:gd name="T55" fmla="*/ 518 h 726"/>
              <a:gd name="T56" fmla="*/ 526 w 726"/>
              <a:gd name="T57" fmla="*/ 530 h 726"/>
              <a:gd name="T58" fmla="*/ 522 w 726"/>
              <a:gd name="T59" fmla="*/ 538 h 726"/>
              <a:gd name="T60" fmla="*/ 608 w 726"/>
              <a:gd name="T61" fmla="*/ 504 h 726"/>
              <a:gd name="T62" fmla="*/ 608 w 726"/>
              <a:gd name="T63" fmla="*/ 184 h 726"/>
              <a:gd name="T64" fmla="*/ 164 w 726"/>
              <a:gd name="T65" fmla="*/ 468 h 726"/>
              <a:gd name="T66" fmla="*/ 174 w 726"/>
              <a:gd name="T67" fmla="*/ 462 h 726"/>
              <a:gd name="T68" fmla="*/ 174 w 726"/>
              <a:gd name="T69" fmla="*/ 454 h 726"/>
              <a:gd name="T70" fmla="*/ 164 w 726"/>
              <a:gd name="T71" fmla="*/ 448 h 726"/>
              <a:gd name="T72" fmla="*/ 158 w 726"/>
              <a:gd name="T73" fmla="*/ 450 h 726"/>
              <a:gd name="T74" fmla="*/ 154 w 726"/>
              <a:gd name="T75" fmla="*/ 458 h 726"/>
              <a:gd name="T76" fmla="*/ 160 w 726"/>
              <a:gd name="T77" fmla="*/ 468 h 726"/>
              <a:gd name="T78" fmla="*/ 506 w 726"/>
              <a:gd name="T79" fmla="*/ 452 h 726"/>
              <a:gd name="T80" fmla="*/ 518 w 726"/>
              <a:gd name="T81" fmla="*/ 450 h 726"/>
              <a:gd name="T82" fmla="*/ 536 w 726"/>
              <a:gd name="T83" fmla="*/ 424 h 726"/>
              <a:gd name="T84" fmla="*/ 532 w 726"/>
              <a:gd name="T85" fmla="*/ 254 h 726"/>
              <a:gd name="T86" fmla="*/ 512 w 726"/>
              <a:gd name="T87" fmla="*/ 236 h 726"/>
              <a:gd name="T88" fmla="*/ 220 w 726"/>
              <a:gd name="T89" fmla="*/ 236 h 726"/>
              <a:gd name="T90" fmla="*/ 200 w 726"/>
              <a:gd name="T91" fmla="*/ 244 h 726"/>
              <a:gd name="T92" fmla="*/ 190 w 726"/>
              <a:gd name="T93" fmla="*/ 424 h 726"/>
              <a:gd name="T94" fmla="*/ 200 w 726"/>
              <a:gd name="T95" fmla="*/ 444 h 726"/>
              <a:gd name="T96" fmla="*/ 220 w 726"/>
              <a:gd name="T97" fmla="*/ 452 h 7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14" y="542"/>
                </a:moveTo>
                <a:lnTo>
                  <a:pt x="212" y="542"/>
                </a:lnTo>
                <a:lnTo>
                  <a:pt x="208" y="540"/>
                </a:lnTo>
                <a:lnTo>
                  <a:pt x="204" y="538"/>
                </a:lnTo>
                <a:lnTo>
                  <a:pt x="202" y="534"/>
                </a:lnTo>
                <a:lnTo>
                  <a:pt x="200" y="530"/>
                </a:lnTo>
                <a:lnTo>
                  <a:pt x="202" y="524"/>
                </a:lnTo>
                <a:lnTo>
                  <a:pt x="204" y="520"/>
                </a:lnTo>
                <a:lnTo>
                  <a:pt x="208" y="518"/>
                </a:lnTo>
                <a:lnTo>
                  <a:pt x="212" y="518"/>
                </a:lnTo>
                <a:lnTo>
                  <a:pt x="514" y="518"/>
                </a:lnTo>
                <a:lnTo>
                  <a:pt x="518" y="518"/>
                </a:lnTo>
                <a:lnTo>
                  <a:pt x="522" y="520"/>
                </a:lnTo>
                <a:lnTo>
                  <a:pt x="524" y="524"/>
                </a:lnTo>
                <a:lnTo>
                  <a:pt x="526" y="530"/>
                </a:lnTo>
                <a:lnTo>
                  <a:pt x="524" y="534"/>
                </a:lnTo>
                <a:lnTo>
                  <a:pt x="522" y="538"/>
                </a:lnTo>
                <a:lnTo>
                  <a:pt x="518" y="540"/>
                </a:lnTo>
                <a:lnTo>
                  <a:pt x="514" y="542"/>
                </a:lnTo>
                <a:close/>
                <a:moveTo>
                  <a:pt x="608" y="504"/>
                </a:moveTo>
                <a:lnTo>
                  <a:pt x="120" y="504"/>
                </a:lnTo>
                <a:lnTo>
                  <a:pt x="120" y="184"/>
                </a:lnTo>
                <a:lnTo>
                  <a:pt x="608" y="184"/>
                </a:lnTo>
                <a:lnTo>
                  <a:pt x="608" y="504"/>
                </a:lnTo>
                <a:close/>
                <a:moveTo>
                  <a:pt x="164" y="468"/>
                </a:moveTo>
                <a:lnTo>
                  <a:pt x="164" y="468"/>
                </a:lnTo>
                <a:lnTo>
                  <a:pt x="170" y="468"/>
                </a:lnTo>
                <a:lnTo>
                  <a:pt x="172" y="466"/>
                </a:lnTo>
                <a:lnTo>
                  <a:pt x="174" y="462"/>
                </a:lnTo>
                <a:lnTo>
                  <a:pt x="176" y="458"/>
                </a:lnTo>
                <a:lnTo>
                  <a:pt x="174" y="454"/>
                </a:lnTo>
                <a:lnTo>
                  <a:pt x="172" y="450"/>
                </a:lnTo>
                <a:lnTo>
                  <a:pt x="170" y="448"/>
                </a:lnTo>
                <a:lnTo>
                  <a:pt x="164" y="448"/>
                </a:lnTo>
                <a:lnTo>
                  <a:pt x="160" y="448"/>
                </a:lnTo>
                <a:lnTo>
                  <a:pt x="158" y="450"/>
                </a:lnTo>
                <a:lnTo>
                  <a:pt x="156" y="454"/>
                </a:lnTo>
                <a:lnTo>
                  <a:pt x="154" y="458"/>
                </a:lnTo>
                <a:lnTo>
                  <a:pt x="156" y="462"/>
                </a:lnTo>
                <a:lnTo>
                  <a:pt x="158" y="466"/>
                </a:lnTo>
                <a:lnTo>
                  <a:pt x="160" y="468"/>
                </a:lnTo>
                <a:lnTo>
                  <a:pt x="164" y="468"/>
                </a:lnTo>
                <a:close/>
                <a:moveTo>
                  <a:pt x="220" y="452"/>
                </a:moveTo>
                <a:lnTo>
                  <a:pt x="506" y="452"/>
                </a:lnTo>
                <a:lnTo>
                  <a:pt x="512" y="452"/>
                </a:lnTo>
                <a:lnTo>
                  <a:pt x="518" y="450"/>
                </a:lnTo>
                <a:lnTo>
                  <a:pt x="526" y="444"/>
                </a:lnTo>
                <a:lnTo>
                  <a:pt x="532" y="434"/>
                </a:lnTo>
                <a:lnTo>
                  <a:pt x="536" y="424"/>
                </a:lnTo>
                <a:lnTo>
                  <a:pt x="536" y="266"/>
                </a:lnTo>
                <a:lnTo>
                  <a:pt x="532" y="254"/>
                </a:lnTo>
                <a:lnTo>
                  <a:pt x="526" y="244"/>
                </a:lnTo>
                <a:lnTo>
                  <a:pt x="518" y="238"/>
                </a:lnTo>
                <a:lnTo>
                  <a:pt x="512" y="236"/>
                </a:lnTo>
                <a:lnTo>
                  <a:pt x="506" y="236"/>
                </a:lnTo>
                <a:lnTo>
                  <a:pt x="220" y="236"/>
                </a:lnTo>
                <a:lnTo>
                  <a:pt x="214" y="236"/>
                </a:lnTo>
                <a:lnTo>
                  <a:pt x="208" y="238"/>
                </a:lnTo>
                <a:lnTo>
                  <a:pt x="200" y="244"/>
                </a:lnTo>
                <a:lnTo>
                  <a:pt x="194" y="254"/>
                </a:lnTo>
                <a:lnTo>
                  <a:pt x="190" y="266"/>
                </a:lnTo>
                <a:lnTo>
                  <a:pt x="190" y="424"/>
                </a:lnTo>
                <a:lnTo>
                  <a:pt x="194" y="434"/>
                </a:lnTo>
                <a:lnTo>
                  <a:pt x="200" y="444"/>
                </a:lnTo>
                <a:lnTo>
                  <a:pt x="208" y="450"/>
                </a:lnTo>
                <a:lnTo>
                  <a:pt x="214" y="452"/>
                </a:lnTo>
                <a:lnTo>
                  <a:pt x="220" y="452"/>
                </a:lnTo>
                <a:close/>
              </a:path>
            </a:pathLst>
          </a:custGeom>
          <a:solidFill>
            <a:schemeClr val="bg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9" name="Text Placeholder 10">
            <a:extLst>
              <a:ext uri="{FF2B5EF4-FFF2-40B4-BE49-F238E27FC236}">
                <a16:creationId xmlns:a16="http://schemas.microsoft.com/office/drawing/2014/main" id="{99C0CCD9-0A31-4BEA-BF72-A47069344870}"/>
              </a:ext>
            </a:extLst>
          </p:cNvPr>
          <p:cNvSpPr txBox="1">
            <a:spLocks/>
          </p:cNvSpPr>
          <p:nvPr/>
        </p:nvSpPr>
        <p:spPr>
          <a:xfrm>
            <a:off x="1491926" y="4138867"/>
            <a:ext cx="2744850" cy="1781686"/>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ts val="1900"/>
              </a:lnSpc>
              <a:spcBef>
                <a:spcPts val="0"/>
              </a:spcBef>
              <a:spcAft>
                <a:spcPts val="0"/>
              </a:spcAft>
              <a:buClr>
                <a:srgbClr val="FFFFFF"/>
              </a:buClr>
              <a:buSzPct val="100000"/>
              <a:buFont typeface="Arial"/>
              <a:buNone/>
              <a:tabLst/>
              <a:defRPr/>
            </a:pPr>
            <a:r>
              <a:rPr lang="en-GB" sz="2800" dirty="0">
                <a:solidFill>
                  <a:schemeClr val="bg2"/>
                </a:solidFill>
                <a:latin typeface="Arial"/>
              </a:rPr>
              <a:t>62</a:t>
            </a:r>
            <a:r>
              <a:rPr kumimoji="0" lang="en-GB" sz="2800" b="1" i="0" u="none" strike="noStrike" kern="1200" cap="none" spc="0" normalizeH="0" baseline="0" noProof="0" dirty="0">
                <a:ln>
                  <a:noFill/>
                </a:ln>
                <a:solidFill>
                  <a:schemeClr val="bg2"/>
                </a:solidFill>
                <a:effectLst/>
                <a:uLnTx/>
                <a:uFillTx/>
                <a:latin typeface="Arial"/>
                <a:ea typeface="+mn-ea"/>
                <a:cs typeface="+mn-cs"/>
              </a:rPr>
              <a:t>% </a:t>
            </a:r>
          </a:p>
          <a:p>
            <a:pPr marL="0" marR="0" lvl="0" indent="0" algn="ctr" defTabSz="961844" rtl="0" eaLnBrk="1" fontAlgn="auto" latinLnBrk="0" hangingPunct="1">
              <a:lnSpc>
                <a:spcPts val="1900"/>
              </a:lnSpc>
              <a:spcBef>
                <a:spcPts val="0"/>
              </a:spcBef>
              <a:spcAft>
                <a:spcPts val="0"/>
              </a:spcAft>
              <a:buClr>
                <a:srgbClr val="FFFFFF"/>
              </a:buClr>
              <a:buSzPct val="100000"/>
              <a:buFont typeface="Arial"/>
              <a:buNone/>
              <a:tabLst/>
              <a:defRPr/>
            </a:pPr>
            <a:endParaRPr kumimoji="0" lang="en-GB" sz="2400" b="1" i="0" u="none" strike="noStrike" kern="1200" cap="none" spc="0" normalizeH="0" baseline="0" noProof="0" dirty="0">
              <a:ln>
                <a:noFill/>
              </a:ln>
              <a:solidFill>
                <a:srgbClr val="AC162C"/>
              </a:solidFill>
              <a:effectLst/>
              <a:uLnTx/>
              <a:uFillTx/>
              <a:latin typeface="Arial"/>
              <a:ea typeface="+mn-ea"/>
              <a:cs typeface="+mn-cs"/>
            </a:endParaRPr>
          </a:p>
          <a:p>
            <a:pPr marL="0" marR="0" lvl="0" indent="0" algn="ctr" defTabSz="961844" rtl="0" eaLnBrk="1" fontAlgn="auto" latinLnBrk="0" hangingPunct="1">
              <a:lnSpc>
                <a:spcPts val="1900"/>
              </a:lnSpc>
              <a:spcBef>
                <a:spcPts val="0"/>
              </a:spcBef>
              <a:spcAft>
                <a:spcPts val="0"/>
              </a:spcAft>
              <a:buClr>
                <a:srgbClr val="FFFFFF"/>
              </a:buClr>
              <a:buSzPct val="100000"/>
              <a:buFont typeface="Arial"/>
              <a:buNone/>
              <a:tabLst/>
              <a:defRPr/>
            </a:pPr>
            <a:r>
              <a:rPr lang="en-GB" sz="1600" dirty="0">
                <a:solidFill>
                  <a:srgbClr val="8A8A8D"/>
                </a:solidFill>
                <a:latin typeface="Arial"/>
              </a:rPr>
              <a:t>of 16-34s</a:t>
            </a:r>
            <a:r>
              <a:rPr kumimoji="0" lang="en-GB" sz="1600" b="1" i="0" u="none" strike="noStrike" kern="1200" cap="none" spc="0" normalizeH="0" baseline="0" noProof="0" dirty="0">
                <a:ln>
                  <a:noFill/>
                </a:ln>
                <a:solidFill>
                  <a:srgbClr val="8A8A8D"/>
                </a:solidFill>
                <a:effectLst/>
                <a:uLnTx/>
                <a:uFillTx/>
                <a:latin typeface="Arial"/>
                <a:ea typeface="+mn-ea"/>
                <a:cs typeface="+mn-cs"/>
              </a:rPr>
              <a:t> are light commercial TV viewers </a:t>
            </a:r>
          </a:p>
          <a:p>
            <a:pPr marL="0" marR="0" lvl="0" indent="0" algn="ctr" defTabSz="961844" rtl="0" eaLnBrk="1" fontAlgn="auto" latinLnBrk="0" hangingPunct="1">
              <a:lnSpc>
                <a:spcPts val="1900"/>
              </a:lnSpc>
              <a:spcBef>
                <a:spcPts val="0"/>
              </a:spcBef>
              <a:spcAft>
                <a:spcPts val="0"/>
              </a:spcAft>
              <a:buClr>
                <a:srgbClr val="FFFFFF"/>
              </a:buClr>
              <a:buSzPct val="100000"/>
              <a:buFont typeface="Arial"/>
              <a:buNone/>
              <a:tabLst/>
              <a:defRPr/>
            </a:pPr>
            <a:endParaRPr kumimoji="0" lang="en-GB" sz="1600" b="1" i="0" u="none" strike="noStrike" kern="1200" cap="none" spc="0" normalizeH="0" baseline="0" noProof="0" dirty="0">
              <a:ln>
                <a:noFill/>
              </a:ln>
              <a:solidFill>
                <a:srgbClr val="8A8A8D"/>
              </a:solidFill>
              <a:effectLst/>
              <a:uLnTx/>
              <a:uFillTx/>
              <a:latin typeface="Arial"/>
              <a:ea typeface="+mn-ea"/>
              <a:cs typeface="+mn-cs"/>
            </a:endParaRPr>
          </a:p>
          <a:p>
            <a:pPr marL="0" marR="0" lvl="0" indent="0" algn="ctr" defTabSz="961844" rtl="0" eaLnBrk="1" fontAlgn="auto" latinLnBrk="0" hangingPunct="1">
              <a:lnSpc>
                <a:spcPts val="1900"/>
              </a:lnSpc>
              <a:spcBef>
                <a:spcPts val="0"/>
              </a:spcBef>
              <a:spcAft>
                <a:spcPts val="0"/>
              </a:spcAft>
              <a:buClr>
                <a:srgbClr val="FFFFFF"/>
              </a:buClr>
              <a:buSzPct val="100000"/>
              <a:buFont typeface="Arial"/>
              <a:buNone/>
              <a:tabLst/>
              <a:defRPr/>
            </a:pPr>
            <a:r>
              <a:rPr lang="en-GB" sz="1600" dirty="0">
                <a:solidFill>
                  <a:srgbClr val="8A8A8D"/>
                </a:solidFill>
                <a:latin typeface="Arial"/>
              </a:rPr>
              <a:t>12</a:t>
            </a:r>
            <a:r>
              <a:rPr kumimoji="0" lang="en-GB" sz="1600" b="1" i="0" u="none" strike="noStrike" kern="1200" cap="none" spc="0" normalizeH="0" baseline="0" noProof="0" dirty="0">
                <a:ln>
                  <a:noFill/>
                </a:ln>
                <a:solidFill>
                  <a:srgbClr val="8A8A8D"/>
                </a:solidFill>
                <a:effectLst/>
                <a:uLnTx/>
                <a:uFillTx/>
                <a:latin typeface="Arial"/>
                <a:ea typeface="+mn-ea"/>
                <a:cs typeface="+mn-cs"/>
              </a:rPr>
              <a:t>% </a:t>
            </a:r>
            <a:r>
              <a:rPr lang="en-GB" sz="1600" dirty="0">
                <a:solidFill>
                  <a:srgbClr val="8A8A8D"/>
                </a:solidFill>
                <a:latin typeface="Arial"/>
              </a:rPr>
              <a:t>more likely than the average UK adult</a:t>
            </a:r>
            <a:endParaRPr kumimoji="0" lang="en-GB" sz="1600" b="1" i="0" u="none" strike="noStrike" kern="1200" cap="none" spc="0" normalizeH="0" baseline="0" noProof="0" dirty="0">
              <a:ln>
                <a:noFill/>
              </a:ln>
              <a:solidFill>
                <a:srgbClr val="8A8A8D"/>
              </a:solidFill>
              <a:effectLst/>
              <a:uLnTx/>
              <a:uFillTx/>
              <a:latin typeface="Arial"/>
              <a:ea typeface="+mn-ea"/>
              <a:cs typeface="+mn-cs"/>
            </a:endParaRPr>
          </a:p>
        </p:txBody>
      </p:sp>
      <p:sp>
        <p:nvSpPr>
          <p:cNvPr id="10" name="Text Placeholder 10">
            <a:extLst>
              <a:ext uri="{FF2B5EF4-FFF2-40B4-BE49-F238E27FC236}">
                <a16:creationId xmlns:a16="http://schemas.microsoft.com/office/drawing/2014/main" id="{D41C3214-2C06-4F17-AE4D-3852997F7E83}"/>
              </a:ext>
            </a:extLst>
          </p:cNvPr>
          <p:cNvSpPr txBox="1">
            <a:spLocks/>
          </p:cNvSpPr>
          <p:nvPr/>
        </p:nvSpPr>
        <p:spPr>
          <a:xfrm>
            <a:off x="8684582" y="4038687"/>
            <a:ext cx="3029883" cy="1781686"/>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ts val="1900"/>
              </a:lnSpc>
              <a:spcBef>
                <a:spcPts val="0"/>
              </a:spcBef>
              <a:spcAft>
                <a:spcPts val="0"/>
              </a:spcAft>
              <a:buClr>
                <a:srgbClr val="FFFFFF"/>
              </a:buClr>
              <a:buSzPct val="100000"/>
              <a:buFont typeface="Arial"/>
              <a:buNone/>
              <a:tabLst/>
              <a:defRPr/>
            </a:pPr>
            <a:r>
              <a:rPr lang="en-GB" sz="2800" dirty="0">
                <a:solidFill>
                  <a:schemeClr val="bg2"/>
                </a:solidFill>
                <a:latin typeface="Arial"/>
              </a:rPr>
              <a:t>86</a:t>
            </a:r>
            <a:r>
              <a:rPr kumimoji="0" lang="en-GB" sz="2800" b="1" i="0" u="none" strike="noStrike" kern="1200" cap="none" spc="0" normalizeH="0" baseline="0" noProof="0" dirty="0">
                <a:ln>
                  <a:noFill/>
                </a:ln>
                <a:solidFill>
                  <a:schemeClr val="bg2"/>
                </a:solidFill>
                <a:effectLst/>
                <a:uLnTx/>
                <a:uFillTx/>
                <a:latin typeface="Arial"/>
                <a:ea typeface="+mn-ea"/>
                <a:cs typeface="+mn-cs"/>
              </a:rPr>
              <a:t>% </a:t>
            </a:r>
          </a:p>
          <a:p>
            <a:pPr marL="0" marR="0" lvl="0" indent="0" algn="ctr" defTabSz="961844" rtl="0" eaLnBrk="1" fontAlgn="auto" latinLnBrk="0" hangingPunct="1">
              <a:lnSpc>
                <a:spcPts val="1900"/>
              </a:lnSpc>
              <a:spcBef>
                <a:spcPts val="0"/>
              </a:spcBef>
              <a:spcAft>
                <a:spcPts val="0"/>
              </a:spcAft>
              <a:buClr>
                <a:srgbClr val="FFFFFF"/>
              </a:buClr>
              <a:buSzPct val="100000"/>
              <a:buFont typeface="Arial"/>
              <a:buNone/>
              <a:tabLst/>
              <a:defRPr/>
            </a:pPr>
            <a:endParaRPr kumimoji="0" lang="en-GB" sz="2400" b="1" i="0" u="none" strike="noStrike" kern="1200" cap="none" spc="0" normalizeH="0" baseline="0" noProof="0" dirty="0">
              <a:ln>
                <a:noFill/>
              </a:ln>
              <a:solidFill>
                <a:srgbClr val="AC162C"/>
              </a:solidFill>
              <a:effectLst/>
              <a:uLnTx/>
              <a:uFillTx/>
              <a:latin typeface="Arial"/>
              <a:ea typeface="+mn-ea"/>
              <a:cs typeface="+mn-cs"/>
            </a:endParaRPr>
          </a:p>
          <a:p>
            <a:pPr algn="ctr"/>
            <a:r>
              <a:rPr lang="en-GB" sz="1600" dirty="0">
                <a:solidFill>
                  <a:schemeClr val="accent6"/>
                </a:solidFill>
              </a:rPr>
              <a:t>of 1634s who pay for a SVOD service are cinemagoers</a:t>
            </a:r>
          </a:p>
          <a:p>
            <a:pPr algn="ctr"/>
            <a:endParaRPr lang="en-GB" sz="1600" baseline="30000" dirty="0">
              <a:solidFill>
                <a:schemeClr val="accent6"/>
              </a:solidFill>
            </a:endParaRPr>
          </a:p>
          <a:p>
            <a:pPr algn="ctr"/>
            <a:r>
              <a:rPr lang="en-GB" sz="1600" dirty="0">
                <a:solidFill>
                  <a:schemeClr val="accent6"/>
                </a:solidFill>
              </a:rPr>
              <a:t>18% uplift from those who don’t pay for an SVOD service</a:t>
            </a:r>
          </a:p>
          <a:p>
            <a:pPr algn="ctr"/>
            <a:endParaRPr lang="en-GB" sz="1600" dirty="0">
              <a:solidFill>
                <a:schemeClr val="accent6"/>
              </a:solidFill>
            </a:endParaRPr>
          </a:p>
        </p:txBody>
      </p:sp>
      <p:sp>
        <p:nvSpPr>
          <p:cNvPr id="11" name="Text Placeholder 10">
            <a:extLst>
              <a:ext uri="{FF2B5EF4-FFF2-40B4-BE49-F238E27FC236}">
                <a16:creationId xmlns:a16="http://schemas.microsoft.com/office/drawing/2014/main" id="{8A3C3C44-FBF9-41A2-8616-57DB481456CB}"/>
              </a:ext>
            </a:extLst>
          </p:cNvPr>
          <p:cNvSpPr txBox="1">
            <a:spLocks/>
          </p:cNvSpPr>
          <p:nvPr/>
        </p:nvSpPr>
        <p:spPr>
          <a:xfrm>
            <a:off x="5148792" y="4038686"/>
            <a:ext cx="2807554" cy="1781687"/>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r>
              <a:rPr lang="en-GB" sz="2800" dirty="0">
                <a:solidFill>
                  <a:schemeClr val="bg2"/>
                </a:solidFill>
              </a:rPr>
              <a:t>74%</a:t>
            </a:r>
          </a:p>
          <a:p>
            <a:pPr algn="ctr"/>
            <a:endParaRPr lang="en-GB" sz="2400" dirty="0">
              <a:solidFill>
                <a:schemeClr val="accent2"/>
              </a:solidFill>
            </a:endParaRPr>
          </a:p>
          <a:p>
            <a:pPr algn="ctr"/>
            <a:r>
              <a:rPr lang="en-GB" sz="1600" dirty="0">
                <a:solidFill>
                  <a:schemeClr val="accent6"/>
                </a:solidFill>
              </a:rPr>
              <a:t>pay a monthly subscription for Netflix, Amazon Prime or Disney+</a:t>
            </a:r>
          </a:p>
          <a:p>
            <a:pPr algn="ctr"/>
            <a:endParaRPr lang="en-GB" sz="1600" dirty="0">
              <a:solidFill>
                <a:schemeClr val="accent6"/>
              </a:solidFill>
            </a:endParaRPr>
          </a:p>
          <a:p>
            <a:pPr algn="ctr"/>
            <a:r>
              <a:rPr lang="en-GB" sz="1600" dirty="0">
                <a:solidFill>
                  <a:schemeClr val="accent6"/>
                </a:solidFill>
              </a:rPr>
              <a:t>5% higher than the average UK adult</a:t>
            </a:r>
          </a:p>
          <a:p>
            <a:pPr marL="0" marR="0" lvl="0" indent="0" algn="ctr" defTabSz="961844" rtl="0" eaLnBrk="1" fontAlgn="auto" latinLnBrk="0" hangingPunct="1">
              <a:lnSpc>
                <a:spcPts val="1900"/>
              </a:lnSpc>
              <a:spcBef>
                <a:spcPts val="0"/>
              </a:spcBef>
              <a:spcAft>
                <a:spcPts val="0"/>
              </a:spcAft>
              <a:buClr>
                <a:srgbClr val="FFFFFF"/>
              </a:buClr>
              <a:buSzPct val="100000"/>
              <a:buFont typeface="Arial"/>
              <a:buNone/>
              <a:tabLst/>
              <a:defRPr/>
            </a:pPr>
            <a:endParaRPr kumimoji="0" lang="en-GB" sz="1600" b="1" i="0" u="none" strike="noStrike" kern="1200" cap="none" spc="0" normalizeH="0" baseline="0" noProof="0" dirty="0">
              <a:ln>
                <a:noFill/>
              </a:ln>
              <a:solidFill>
                <a:srgbClr val="8A8A8D"/>
              </a:solidFill>
              <a:effectLst/>
              <a:uLnTx/>
              <a:uFillTx/>
              <a:latin typeface="Arial"/>
              <a:ea typeface="+mn-ea"/>
              <a:cs typeface="+mn-cs"/>
            </a:endParaRPr>
          </a:p>
        </p:txBody>
      </p:sp>
      <p:sp>
        <p:nvSpPr>
          <p:cNvPr id="12" name="Freeform 5">
            <a:extLst>
              <a:ext uri="{FF2B5EF4-FFF2-40B4-BE49-F238E27FC236}">
                <a16:creationId xmlns:a16="http://schemas.microsoft.com/office/drawing/2014/main" id="{BA0F3141-C122-4682-92AE-10144677C92C}"/>
              </a:ext>
            </a:extLst>
          </p:cNvPr>
          <p:cNvSpPr>
            <a:spLocks noEditPoints="1"/>
          </p:cNvSpPr>
          <p:nvPr/>
        </p:nvSpPr>
        <p:spPr bwMode="auto">
          <a:xfrm>
            <a:off x="5476388" y="1520450"/>
            <a:ext cx="2160000" cy="2160000"/>
          </a:xfrm>
          <a:custGeom>
            <a:avLst/>
            <a:gdLst>
              <a:gd name="T0" fmla="*/ 838 w 1768"/>
              <a:gd name="T1" fmla="*/ 0 h 1768"/>
              <a:gd name="T2" fmla="*/ 706 w 1768"/>
              <a:gd name="T3" fmla="*/ 18 h 1768"/>
              <a:gd name="T4" fmla="*/ 580 w 1768"/>
              <a:gd name="T5" fmla="*/ 54 h 1768"/>
              <a:gd name="T6" fmla="*/ 462 w 1768"/>
              <a:gd name="T7" fmla="*/ 106 h 1768"/>
              <a:gd name="T8" fmla="*/ 356 w 1768"/>
              <a:gd name="T9" fmla="*/ 176 h 1768"/>
              <a:gd name="T10" fmla="*/ 258 w 1768"/>
              <a:gd name="T11" fmla="*/ 258 h 1768"/>
              <a:gd name="T12" fmla="*/ 176 w 1768"/>
              <a:gd name="T13" fmla="*/ 354 h 1768"/>
              <a:gd name="T14" fmla="*/ 106 w 1768"/>
              <a:gd name="T15" fmla="*/ 462 h 1768"/>
              <a:gd name="T16" fmla="*/ 54 w 1768"/>
              <a:gd name="T17" fmla="*/ 580 h 1768"/>
              <a:gd name="T18" fmla="*/ 18 w 1768"/>
              <a:gd name="T19" fmla="*/ 706 h 1768"/>
              <a:gd name="T20" fmla="*/ 2 w 1768"/>
              <a:gd name="T21" fmla="*/ 838 h 1768"/>
              <a:gd name="T22" fmla="*/ 2 w 1768"/>
              <a:gd name="T23" fmla="*/ 930 h 1768"/>
              <a:gd name="T24" fmla="*/ 18 w 1768"/>
              <a:gd name="T25" fmla="*/ 1062 h 1768"/>
              <a:gd name="T26" fmla="*/ 54 w 1768"/>
              <a:gd name="T27" fmla="*/ 1188 h 1768"/>
              <a:gd name="T28" fmla="*/ 106 w 1768"/>
              <a:gd name="T29" fmla="*/ 1306 h 1768"/>
              <a:gd name="T30" fmla="*/ 176 w 1768"/>
              <a:gd name="T31" fmla="*/ 1412 h 1768"/>
              <a:gd name="T32" fmla="*/ 258 w 1768"/>
              <a:gd name="T33" fmla="*/ 1510 h 1768"/>
              <a:gd name="T34" fmla="*/ 356 w 1768"/>
              <a:gd name="T35" fmla="*/ 1592 h 1768"/>
              <a:gd name="T36" fmla="*/ 462 w 1768"/>
              <a:gd name="T37" fmla="*/ 1662 h 1768"/>
              <a:gd name="T38" fmla="*/ 580 w 1768"/>
              <a:gd name="T39" fmla="*/ 1714 h 1768"/>
              <a:gd name="T40" fmla="*/ 706 w 1768"/>
              <a:gd name="T41" fmla="*/ 1750 h 1768"/>
              <a:gd name="T42" fmla="*/ 838 w 1768"/>
              <a:gd name="T43" fmla="*/ 1766 h 1768"/>
              <a:gd name="T44" fmla="*/ 930 w 1768"/>
              <a:gd name="T45" fmla="*/ 1766 h 1768"/>
              <a:gd name="T46" fmla="*/ 1062 w 1768"/>
              <a:gd name="T47" fmla="*/ 1750 h 1768"/>
              <a:gd name="T48" fmla="*/ 1188 w 1768"/>
              <a:gd name="T49" fmla="*/ 1714 h 1768"/>
              <a:gd name="T50" fmla="*/ 1306 w 1768"/>
              <a:gd name="T51" fmla="*/ 1662 h 1768"/>
              <a:gd name="T52" fmla="*/ 1414 w 1768"/>
              <a:gd name="T53" fmla="*/ 1592 h 1768"/>
              <a:gd name="T54" fmla="*/ 1510 w 1768"/>
              <a:gd name="T55" fmla="*/ 1510 h 1768"/>
              <a:gd name="T56" fmla="*/ 1592 w 1768"/>
              <a:gd name="T57" fmla="*/ 1412 h 1768"/>
              <a:gd name="T58" fmla="*/ 1662 w 1768"/>
              <a:gd name="T59" fmla="*/ 1306 h 1768"/>
              <a:gd name="T60" fmla="*/ 1714 w 1768"/>
              <a:gd name="T61" fmla="*/ 1188 h 1768"/>
              <a:gd name="T62" fmla="*/ 1750 w 1768"/>
              <a:gd name="T63" fmla="*/ 1062 h 1768"/>
              <a:gd name="T64" fmla="*/ 1768 w 1768"/>
              <a:gd name="T65" fmla="*/ 930 h 1768"/>
              <a:gd name="T66" fmla="*/ 1768 w 1768"/>
              <a:gd name="T67" fmla="*/ 838 h 1768"/>
              <a:gd name="T68" fmla="*/ 1750 w 1768"/>
              <a:gd name="T69" fmla="*/ 706 h 1768"/>
              <a:gd name="T70" fmla="*/ 1714 w 1768"/>
              <a:gd name="T71" fmla="*/ 580 h 1768"/>
              <a:gd name="T72" fmla="*/ 1662 w 1768"/>
              <a:gd name="T73" fmla="*/ 462 h 1768"/>
              <a:gd name="T74" fmla="*/ 1592 w 1768"/>
              <a:gd name="T75" fmla="*/ 354 h 1768"/>
              <a:gd name="T76" fmla="*/ 1510 w 1768"/>
              <a:gd name="T77" fmla="*/ 258 h 1768"/>
              <a:gd name="T78" fmla="*/ 1414 w 1768"/>
              <a:gd name="T79" fmla="*/ 176 h 1768"/>
              <a:gd name="T80" fmla="*/ 1306 w 1768"/>
              <a:gd name="T81" fmla="*/ 106 h 1768"/>
              <a:gd name="T82" fmla="*/ 1188 w 1768"/>
              <a:gd name="T83" fmla="*/ 54 h 1768"/>
              <a:gd name="T84" fmla="*/ 1062 w 1768"/>
              <a:gd name="T85" fmla="*/ 18 h 1768"/>
              <a:gd name="T86" fmla="*/ 930 w 1768"/>
              <a:gd name="T87" fmla="*/ 0 h 1768"/>
              <a:gd name="T88" fmla="*/ 670 w 1768"/>
              <a:gd name="T89" fmla="*/ 1318 h 1768"/>
              <a:gd name="T90" fmla="*/ 670 w 1768"/>
              <a:gd name="T91" fmla="*/ 131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6"/>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6"/>
                </a:lnTo>
                <a:lnTo>
                  <a:pt x="1228" y="70"/>
                </a:lnTo>
                <a:lnTo>
                  <a:pt x="1188" y="54"/>
                </a:lnTo>
                <a:lnTo>
                  <a:pt x="1146" y="40"/>
                </a:lnTo>
                <a:lnTo>
                  <a:pt x="1106" y="28"/>
                </a:lnTo>
                <a:lnTo>
                  <a:pt x="1062" y="18"/>
                </a:lnTo>
                <a:lnTo>
                  <a:pt x="1018" y="10"/>
                </a:lnTo>
                <a:lnTo>
                  <a:pt x="974" y="4"/>
                </a:lnTo>
                <a:lnTo>
                  <a:pt x="930" y="0"/>
                </a:lnTo>
                <a:lnTo>
                  <a:pt x="884" y="0"/>
                </a:lnTo>
                <a:lnTo>
                  <a:pt x="884" y="0"/>
                </a:lnTo>
                <a:close/>
                <a:moveTo>
                  <a:pt x="670" y="1318"/>
                </a:moveTo>
                <a:lnTo>
                  <a:pt x="670" y="448"/>
                </a:lnTo>
                <a:lnTo>
                  <a:pt x="1418" y="884"/>
                </a:lnTo>
                <a:lnTo>
                  <a:pt x="670" y="1318"/>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00BFD6"/>
              </a:solidFill>
              <a:effectLst/>
              <a:uLnTx/>
              <a:uFillTx/>
              <a:latin typeface="Arial"/>
              <a:ea typeface="+mn-ea"/>
              <a:cs typeface="+mn-cs"/>
            </a:endParaRPr>
          </a:p>
        </p:txBody>
      </p:sp>
      <p:grpSp>
        <p:nvGrpSpPr>
          <p:cNvPr id="17" name="Group 16">
            <a:extLst>
              <a:ext uri="{FF2B5EF4-FFF2-40B4-BE49-F238E27FC236}">
                <a16:creationId xmlns:a16="http://schemas.microsoft.com/office/drawing/2014/main" id="{8B495144-F17B-4A73-9393-F15773AD38B4}"/>
              </a:ext>
            </a:extLst>
          </p:cNvPr>
          <p:cNvGrpSpPr/>
          <p:nvPr/>
        </p:nvGrpSpPr>
        <p:grpSpPr>
          <a:xfrm>
            <a:off x="1784351" y="1620631"/>
            <a:ext cx="2160000" cy="2160000"/>
            <a:chOff x="552450" y="3895725"/>
            <a:chExt cx="2806699" cy="2806700"/>
          </a:xfrm>
          <a:solidFill>
            <a:schemeClr val="bg2"/>
          </a:solidFill>
        </p:grpSpPr>
        <p:sp>
          <p:nvSpPr>
            <p:cNvPr id="18" name="Freeform 15">
              <a:extLst>
                <a:ext uri="{FF2B5EF4-FFF2-40B4-BE49-F238E27FC236}">
                  <a16:creationId xmlns:a16="http://schemas.microsoft.com/office/drawing/2014/main" id="{BCA0F993-1FE5-4AF0-A2FE-E44456B79AEE}"/>
                </a:ext>
              </a:extLst>
            </p:cNvPr>
            <p:cNvSpPr>
              <a:spLocks/>
            </p:cNvSpPr>
            <p:nvPr/>
          </p:nvSpPr>
          <p:spPr bwMode="auto">
            <a:xfrm>
              <a:off x="2479675" y="4984750"/>
              <a:ext cx="88900" cy="184150"/>
            </a:xfrm>
            <a:custGeom>
              <a:avLst/>
              <a:gdLst>
                <a:gd name="T0" fmla="*/ 26 w 56"/>
                <a:gd name="T1" fmla="*/ 116 h 116"/>
                <a:gd name="T2" fmla="*/ 26 w 56"/>
                <a:gd name="T3" fmla="*/ 116 h 116"/>
                <a:gd name="T4" fmla="*/ 34 w 56"/>
                <a:gd name="T5" fmla="*/ 116 h 116"/>
                <a:gd name="T6" fmla="*/ 40 w 56"/>
                <a:gd name="T7" fmla="*/ 114 h 116"/>
                <a:gd name="T8" fmla="*/ 44 w 56"/>
                <a:gd name="T9" fmla="*/ 110 h 116"/>
                <a:gd name="T10" fmla="*/ 48 w 56"/>
                <a:gd name="T11" fmla="*/ 104 h 116"/>
                <a:gd name="T12" fmla="*/ 52 w 56"/>
                <a:gd name="T13" fmla="*/ 96 h 116"/>
                <a:gd name="T14" fmla="*/ 54 w 56"/>
                <a:gd name="T15" fmla="*/ 86 h 116"/>
                <a:gd name="T16" fmla="*/ 56 w 56"/>
                <a:gd name="T17" fmla="*/ 56 h 116"/>
                <a:gd name="T18" fmla="*/ 56 w 56"/>
                <a:gd name="T19" fmla="*/ 56 h 116"/>
                <a:gd name="T20" fmla="*/ 54 w 56"/>
                <a:gd name="T21" fmla="*/ 30 h 116"/>
                <a:gd name="T22" fmla="*/ 52 w 56"/>
                <a:gd name="T23" fmla="*/ 22 h 116"/>
                <a:gd name="T24" fmla="*/ 50 w 56"/>
                <a:gd name="T25" fmla="*/ 14 h 116"/>
                <a:gd name="T26" fmla="*/ 46 w 56"/>
                <a:gd name="T27" fmla="*/ 8 h 116"/>
                <a:gd name="T28" fmla="*/ 42 w 56"/>
                <a:gd name="T29" fmla="*/ 2 h 116"/>
                <a:gd name="T30" fmla="*/ 34 w 56"/>
                <a:gd name="T31" fmla="*/ 0 h 116"/>
                <a:gd name="T32" fmla="*/ 26 w 56"/>
                <a:gd name="T33" fmla="*/ 0 h 116"/>
                <a:gd name="T34" fmla="*/ 26 w 56"/>
                <a:gd name="T35" fmla="*/ 0 h 116"/>
                <a:gd name="T36" fmla="*/ 18 w 56"/>
                <a:gd name="T37" fmla="*/ 0 h 116"/>
                <a:gd name="T38" fmla="*/ 12 w 56"/>
                <a:gd name="T39" fmla="*/ 4 h 116"/>
                <a:gd name="T40" fmla="*/ 8 w 56"/>
                <a:gd name="T41" fmla="*/ 8 h 116"/>
                <a:gd name="T42" fmla="*/ 4 w 56"/>
                <a:gd name="T43" fmla="*/ 16 h 116"/>
                <a:gd name="T44" fmla="*/ 2 w 56"/>
                <a:gd name="T45" fmla="*/ 24 h 116"/>
                <a:gd name="T46" fmla="*/ 0 w 56"/>
                <a:gd name="T47" fmla="*/ 36 h 116"/>
                <a:gd name="T48" fmla="*/ 0 w 56"/>
                <a:gd name="T49" fmla="*/ 62 h 116"/>
                <a:gd name="T50" fmla="*/ 0 w 56"/>
                <a:gd name="T51" fmla="*/ 62 h 116"/>
                <a:gd name="T52" fmla="*/ 0 w 56"/>
                <a:gd name="T53" fmla="*/ 78 h 116"/>
                <a:gd name="T54" fmla="*/ 4 w 56"/>
                <a:gd name="T55" fmla="*/ 96 h 116"/>
                <a:gd name="T56" fmla="*/ 6 w 56"/>
                <a:gd name="T57" fmla="*/ 104 h 116"/>
                <a:gd name="T58" fmla="*/ 12 w 56"/>
                <a:gd name="T59" fmla="*/ 110 h 116"/>
                <a:gd name="T60" fmla="*/ 18 w 56"/>
                <a:gd name="T61" fmla="*/ 116 h 116"/>
                <a:gd name="T62" fmla="*/ 26 w 56"/>
                <a:gd name="T63" fmla="*/ 116 h 116"/>
                <a:gd name="T64" fmla="*/ 26 w 56"/>
                <a:gd name="T6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16">
                  <a:moveTo>
                    <a:pt x="26" y="116"/>
                  </a:moveTo>
                  <a:lnTo>
                    <a:pt x="26" y="116"/>
                  </a:lnTo>
                  <a:lnTo>
                    <a:pt x="34" y="116"/>
                  </a:lnTo>
                  <a:lnTo>
                    <a:pt x="40" y="114"/>
                  </a:lnTo>
                  <a:lnTo>
                    <a:pt x="44" y="110"/>
                  </a:lnTo>
                  <a:lnTo>
                    <a:pt x="48" y="104"/>
                  </a:lnTo>
                  <a:lnTo>
                    <a:pt x="52" y="96"/>
                  </a:lnTo>
                  <a:lnTo>
                    <a:pt x="54" y="86"/>
                  </a:lnTo>
                  <a:lnTo>
                    <a:pt x="56" y="56"/>
                  </a:lnTo>
                  <a:lnTo>
                    <a:pt x="56" y="56"/>
                  </a:lnTo>
                  <a:lnTo>
                    <a:pt x="54" y="30"/>
                  </a:lnTo>
                  <a:lnTo>
                    <a:pt x="52" y="22"/>
                  </a:lnTo>
                  <a:lnTo>
                    <a:pt x="50" y="14"/>
                  </a:lnTo>
                  <a:lnTo>
                    <a:pt x="46" y="8"/>
                  </a:lnTo>
                  <a:lnTo>
                    <a:pt x="42" y="2"/>
                  </a:lnTo>
                  <a:lnTo>
                    <a:pt x="34" y="0"/>
                  </a:lnTo>
                  <a:lnTo>
                    <a:pt x="26" y="0"/>
                  </a:lnTo>
                  <a:lnTo>
                    <a:pt x="26" y="0"/>
                  </a:lnTo>
                  <a:lnTo>
                    <a:pt x="18" y="0"/>
                  </a:lnTo>
                  <a:lnTo>
                    <a:pt x="12" y="4"/>
                  </a:lnTo>
                  <a:lnTo>
                    <a:pt x="8" y="8"/>
                  </a:lnTo>
                  <a:lnTo>
                    <a:pt x="4" y="16"/>
                  </a:lnTo>
                  <a:lnTo>
                    <a:pt x="2" y="24"/>
                  </a:lnTo>
                  <a:lnTo>
                    <a:pt x="0" y="36"/>
                  </a:lnTo>
                  <a:lnTo>
                    <a:pt x="0" y="62"/>
                  </a:lnTo>
                  <a:lnTo>
                    <a:pt x="0" y="62"/>
                  </a:lnTo>
                  <a:lnTo>
                    <a:pt x="0" y="78"/>
                  </a:lnTo>
                  <a:lnTo>
                    <a:pt x="4" y="96"/>
                  </a:lnTo>
                  <a:lnTo>
                    <a:pt x="6" y="104"/>
                  </a:lnTo>
                  <a:lnTo>
                    <a:pt x="12" y="110"/>
                  </a:lnTo>
                  <a:lnTo>
                    <a:pt x="18" y="116"/>
                  </a:lnTo>
                  <a:lnTo>
                    <a:pt x="26" y="116"/>
                  </a:lnTo>
                  <a:lnTo>
                    <a:pt x="26" y="11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16">
              <a:extLst>
                <a:ext uri="{FF2B5EF4-FFF2-40B4-BE49-F238E27FC236}">
                  <a16:creationId xmlns:a16="http://schemas.microsoft.com/office/drawing/2014/main" id="{B352D52A-F7F4-4F25-A6A7-1D19CD808122}"/>
                </a:ext>
              </a:extLst>
            </p:cNvPr>
            <p:cNvSpPr>
              <a:spLocks noEditPoints="1"/>
            </p:cNvSpPr>
            <p:nvPr/>
          </p:nvSpPr>
          <p:spPr bwMode="auto">
            <a:xfrm>
              <a:off x="552450" y="3895725"/>
              <a:ext cx="2806699" cy="2806700"/>
            </a:xfrm>
            <a:custGeom>
              <a:avLst/>
              <a:gdLst>
                <a:gd name="T0" fmla="*/ 580 w 1768"/>
                <a:gd name="T1" fmla="*/ 54 h 1768"/>
                <a:gd name="T2" fmla="*/ 258 w 1768"/>
                <a:gd name="T3" fmla="*/ 258 h 1768"/>
                <a:gd name="T4" fmla="*/ 54 w 1768"/>
                <a:gd name="T5" fmla="*/ 580 h 1768"/>
                <a:gd name="T6" fmla="*/ 0 w 1768"/>
                <a:gd name="T7" fmla="*/ 930 h 1768"/>
                <a:gd name="T8" fmla="*/ 106 w 1768"/>
                <a:gd name="T9" fmla="*/ 1306 h 1768"/>
                <a:gd name="T10" fmla="*/ 354 w 1768"/>
                <a:gd name="T11" fmla="*/ 1592 h 1768"/>
                <a:gd name="T12" fmla="*/ 706 w 1768"/>
                <a:gd name="T13" fmla="*/ 1750 h 1768"/>
                <a:gd name="T14" fmla="*/ 1062 w 1768"/>
                <a:gd name="T15" fmla="*/ 1750 h 1768"/>
                <a:gd name="T16" fmla="*/ 1412 w 1768"/>
                <a:gd name="T17" fmla="*/ 1592 h 1768"/>
                <a:gd name="T18" fmla="*/ 1662 w 1768"/>
                <a:gd name="T19" fmla="*/ 1306 h 1768"/>
                <a:gd name="T20" fmla="*/ 1766 w 1768"/>
                <a:gd name="T21" fmla="*/ 930 h 1768"/>
                <a:gd name="T22" fmla="*/ 1714 w 1768"/>
                <a:gd name="T23" fmla="*/ 580 h 1768"/>
                <a:gd name="T24" fmla="*/ 1508 w 1768"/>
                <a:gd name="T25" fmla="*/ 258 h 1768"/>
                <a:gd name="T26" fmla="*/ 1188 w 1768"/>
                <a:gd name="T27" fmla="*/ 54 h 1768"/>
                <a:gd name="T28" fmla="*/ 1246 w 1768"/>
                <a:gd name="T29" fmla="*/ 528 h 1768"/>
                <a:gd name="T30" fmla="*/ 1330 w 1768"/>
                <a:gd name="T31" fmla="*/ 600 h 1768"/>
                <a:gd name="T32" fmla="*/ 1242 w 1768"/>
                <a:gd name="T33" fmla="*/ 570 h 1768"/>
                <a:gd name="T34" fmla="*/ 1212 w 1768"/>
                <a:gd name="T35" fmla="*/ 664 h 1768"/>
                <a:gd name="T36" fmla="*/ 1298 w 1768"/>
                <a:gd name="T37" fmla="*/ 652 h 1768"/>
                <a:gd name="T38" fmla="*/ 1328 w 1768"/>
                <a:gd name="T39" fmla="*/ 786 h 1768"/>
                <a:gd name="T40" fmla="*/ 1212 w 1768"/>
                <a:gd name="T41" fmla="*/ 846 h 1768"/>
                <a:gd name="T42" fmla="*/ 1152 w 1768"/>
                <a:gd name="T43" fmla="*/ 738 h 1768"/>
                <a:gd name="T44" fmla="*/ 1178 w 1768"/>
                <a:gd name="T45" fmla="*/ 554 h 1768"/>
                <a:gd name="T46" fmla="*/ 772 w 1768"/>
                <a:gd name="T47" fmla="*/ 506 h 1768"/>
                <a:gd name="T48" fmla="*/ 876 w 1768"/>
                <a:gd name="T49" fmla="*/ 610 h 1768"/>
                <a:gd name="T50" fmla="*/ 772 w 1768"/>
                <a:gd name="T51" fmla="*/ 716 h 1768"/>
                <a:gd name="T52" fmla="*/ 668 w 1768"/>
                <a:gd name="T53" fmla="*/ 610 h 1768"/>
                <a:gd name="T54" fmla="*/ 772 w 1768"/>
                <a:gd name="T55" fmla="*/ 506 h 1768"/>
                <a:gd name="T56" fmla="*/ 522 w 1768"/>
                <a:gd name="T57" fmla="*/ 590 h 1768"/>
                <a:gd name="T58" fmla="*/ 440 w 1768"/>
                <a:gd name="T59" fmla="*/ 714 h 1768"/>
                <a:gd name="T60" fmla="*/ 318 w 1768"/>
                <a:gd name="T61" fmla="*/ 632 h 1768"/>
                <a:gd name="T62" fmla="*/ 398 w 1768"/>
                <a:gd name="T63" fmla="*/ 508 h 1768"/>
                <a:gd name="T64" fmla="*/ 524 w 1768"/>
                <a:gd name="T65" fmla="*/ 1014 h 1768"/>
                <a:gd name="T66" fmla="*/ 456 w 1768"/>
                <a:gd name="T67" fmla="*/ 1260 h 1768"/>
                <a:gd name="T68" fmla="*/ 398 w 1768"/>
                <a:gd name="T69" fmla="*/ 1254 h 1768"/>
                <a:gd name="T70" fmla="*/ 316 w 1768"/>
                <a:gd name="T71" fmla="*/ 1014 h 1768"/>
                <a:gd name="T72" fmla="*/ 290 w 1768"/>
                <a:gd name="T73" fmla="*/ 768 h 1768"/>
                <a:gd name="T74" fmla="*/ 544 w 1768"/>
                <a:gd name="T75" fmla="*/ 760 h 1768"/>
                <a:gd name="T76" fmla="*/ 906 w 1768"/>
                <a:gd name="T77" fmla="*/ 1066 h 1768"/>
                <a:gd name="T78" fmla="*/ 808 w 1768"/>
                <a:gd name="T79" fmla="*/ 1260 h 1768"/>
                <a:gd name="T80" fmla="*/ 750 w 1768"/>
                <a:gd name="T81" fmla="*/ 1254 h 1768"/>
                <a:gd name="T82" fmla="*/ 638 w 1768"/>
                <a:gd name="T83" fmla="*/ 1066 h 1768"/>
                <a:gd name="T84" fmla="*/ 612 w 1768"/>
                <a:gd name="T85" fmla="*/ 1034 h 1768"/>
                <a:gd name="T86" fmla="*/ 780 w 1768"/>
                <a:gd name="T87" fmla="*/ 746 h 1768"/>
                <a:gd name="T88" fmla="*/ 928 w 1768"/>
                <a:gd name="T89" fmla="*/ 1054 h 1768"/>
                <a:gd name="T90" fmla="*/ 1118 w 1768"/>
                <a:gd name="T91" fmla="*/ 844 h 1768"/>
                <a:gd name="T92" fmla="*/ 1064 w 1768"/>
                <a:gd name="T93" fmla="*/ 1236 h 1768"/>
                <a:gd name="T94" fmla="*/ 1064 w 1768"/>
                <a:gd name="T95" fmla="*/ 1146 h 1768"/>
                <a:gd name="T96" fmla="*/ 1108 w 1768"/>
                <a:gd name="T97" fmla="*/ 1186 h 1768"/>
                <a:gd name="T98" fmla="*/ 1114 w 1768"/>
                <a:gd name="T99" fmla="*/ 1106 h 1768"/>
                <a:gd name="T100" fmla="*/ 1104 w 1768"/>
                <a:gd name="T101" fmla="*/ 1036 h 1768"/>
                <a:gd name="T102" fmla="*/ 1104 w 1768"/>
                <a:gd name="T103" fmla="*/ 962 h 1768"/>
                <a:gd name="T104" fmla="*/ 1066 w 1768"/>
                <a:gd name="T105" fmla="*/ 994 h 1768"/>
                <a:gd name="T106" fmla="*/ 1052 w 1768"/>
                <a:gd name="T107" fmla="*/ 916 h 1768"/>
                <a:gd name="T108" fmla="*/ 1176 w 1768"/>
                <a:gd name="T109" fmla="*/ 958 h 1768"/>
                <a:gd name="T110" fmla="*/ 1148 w 1768"/>
                <a:gd name="T111" fmla="*/ 1064 h 1768"/>
                <a:gd name="T112" fmla="*/ 1184 w 1768"/>
                <a:gd name="T113" fmla="*/ 1118 h 1768"/>
                <a:gd name="T114" fmla="*/ 1110 w 1768"/>
                <a:gd name="T115" fmla="*/ 1236 h 1768"/>
                <a:gd name="T116" fmla="*/ 1206 w 1768"/>
                <a:gd name="T117" fmla="*/ 1096 h 1768"/>
                <a:gd name="T118" fmla="*/ 1384 w 1768"/>
                <a:gd name="T119" fmla="*/ 70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08"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08"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46" y="528"/>
                  </a:moveTo>
                  <a:lnTo>
                    <a:pt x="1246" y="528"/>
                  </a:lnTo>
                  <a:lnTo>
                    <a:pt x="1264" y="528"/>
                  </a:lnTo>
                  <a:lnTo>
                    <a:pt x="1280" y="532"/>
                  </a:lnTo>
                  <a:lnTo>
                    <a:pt x="1294" y="536"/>
                  </a:lnTo>
                  <a:lnTo>
                    <a:pt x="1306" y="544"/>
                  </a:lnTo>
                  <a:lnTo>
                    <a:pt x="1316" y="554"/>
                  </a:lnTo>
                  <a:lnTo>
                    <a:pt x="1324" y="566"/>
                  </a:lnTo>
                  <a:lnTo>
                    <a:pt x="1328" y="582"/>
                  </a:lnTo>
                  <a:lnTo>
                    <a:pt x="1330" y="600"/>
                  </a:lnTo>
                  <a:lnTo>
                    <a:pt x="1264" y="600"/>
                  </a:lnTo>
                  <a:lnTo>
                    <a:pt x="1264" y="600"/>
                  </a:lnTo>
                  <a:lnTo>
                    <a:pt x="1262" y="588"/>
                  </a:lnTo>
                  <a:lnTo>
                    <a:pt x="1260" y="580"/>
                  </a:lnTo>
                  <a:lnTo>
                    <a:pt x="1260" y="580"/>
                  </a:lnTo>
                  <a:lnTo>
                    <a:pt x="1256" y="576"/>
                  </a:lnTo>
                  <a:lnTo>
                    <a:pt x="1252" y="572"/>
                  </a:lnTo>
                  <a:lnTo>
                    <a:pt x="1248" y="572"/>
                  </a:lnTo>
                  <a:lnTo>
                    <a:pt x="1242" y="570"/>
                  </a:lnTo>
                  <a:lnTo>
                    <a:pt x="1242" y="570"/>
                  </a:lnTo>
                  <a:lnTo>
                    <a:pt x="1232" y="572"/>
                  </a:lnTo>
                  <a:lnTo>
                    <a:pt x="1226" y="574"/>
                  </a:lnTo>
                  <a:lnTo>
                    <a:pt x="1220" y="580"/>
                  </a:lnTo>
                  <a:lnTo>
                    <a:pt x="1216" y="588"/>
                  </a:lnTo>
                  <a:lnTo>
                    <a:pt x="1214" y="600"/>
                  </a:lnTo>
                  <a:lnTo>
                    <a:pt x="1214" y="616"/>
                  </a:lnTo>
                  <a:lnTo>
                    <a:pt x="1212" y="664"/>
                  </a:lnTo>
                  <a:lnTo>
                    <a:pt x="1212" y="664"/>
                  </a:lnTo>
                  <a:lnTo>
                    <a:pt x="1224" y="654"/>
                  </a:lnTo>
                  <a:lnTo>
                    <a:pt x="1236" y="648"/>
                  </a:lnTo>
                  <a:lnTo>
                    <a:pt x="1248" y="644"/>
                  </a:lnTo>
                  <a:lnTo>
                    <a:pt x="1262" y="642"/>
                  </a:lnTo>
                  <a:lnTo>
                    <a:pt x="1262" y="642"/>
                  </a:lnTo>
                  <a:lnTo>
                    <a:pt x="1274" y="644"/>
                  </a:lnTo>
                  <a:lnTo>
                    <a:pt x="1282" y="644"/>
                  </a:lnTo>
                  <a:lnTo>
                    <a:pt x="1290" y="648"/>
                  </a:lnTo>
                  <a:lnTo>
                    <a:pt x="1298" y="652"/>
                  </a:lnTo>
                  <a:lnTo>
                    <a:pt x="1310" y="662"/>
                  </a:lnTo>
                  <a:lnTo>
                    <a:pt x="1320" y="674"/>
                  </a:lnTo>
                  <a:lnTo>
                    <a:pt x="1326" y="690"/>
                  </a:lnTo>
                  <a:lnTo>
                    <a:pt x="1330" y="706"/>
                  </a:lnTo>
                  <a:lnTo>
                    <a:pt x="1332" y="724"/>
                  </a:lnTo>
                  <a:lnTo>
                    <a:pt x="1332" y="742"/>
                  </a:lnTo>
                  <a:lnTo>
                    <a:pt x="1332" y="742"/>
                  </a:lnTo>
                  <a:lnTo>
                    <a:pt x="1332" y="766"/>
                  </a:lnTo>
                  <a:lnTo>
                    <a:pt x="1328" y="786"/>
                  </a:lnTo>
                  <a:lnTo>
                    <a:pt x="1322" y="804"/>
                  </a:lnTo>
                  <a:lnTo>
                    <a:pt x="1312" y="820"/>
                  </a:lnTo>
                  <a:lnTo>
                    <a:pt x="1298" y="832"/>
                  </a:lnTo>
                  <a:lnTo>
                    <a:pt x="1282" y="840"/>
                  </a:lnTo>
                  <a:lnTo>
                    <a:pt x="1262" y="846"/>
                  </a:lnTo>
                  <a:lnTo>
                    <a:pt x="1238" y="848"/>
                  </a:lnTo>
                  <a:lnTo>
                    <a:pt x="1238" y="848"/>
                  </a:lnTo>
                  <a:lnTo>
                    <a:pt x="1224" y="848"/>
                  </a:lnTo>
                  <a:lnTo>
                    <a:pt x="1212" y="846"/>
                  </a:lnTo>
                  <a:lnTo>
                    <a:pt x="1200" y="842"/>
                  </a:lnTo>
                  <a:lnTo>
                    <a:pt x="1190" y="836"/>
                  </a:lnTo>
                  <a:lnTo>
                    <a:pt x="1182" y="830"/>
                  </a:lnTo>
                  <a:lnTo>
                    <a:pt x="1174" y="824"/>
                  </a:lnTo>
                  <a:lnTo>
                    <a:pt x="1168" y="814"/>
                  </a:lnTo>
                  <a:lnTo>
                    <a:pt x="1164" y="806"/>
                  </a:lnTo>
                  <a:lnTo>
                    <a:pt x="1158" y="786"/>
                  </a:lnTo>
                  <a:lnTo>
                    <a:pt x="1154" y="762"/>
                  </a:lnTo>
                  <a:lnTo>
                    <a:pt x="1152" y="738"/>
                  </a:lnTo>
                  <a:lnTo>
                    <a:pt x="1150" y="714"/>
                  </a:lnTo>
                  <a:lnTo>
                    <a:pt x="1150" y="714"/>
                  </a:lnTo>
                  <a:lnTo>
                    <a:pt x="1152" y="670"/>
                  </a:lnTo>
                  <a:lnTo>
                    <a:pt x="1154" y="632"/>
                  </a:lnTo>
                  <a:lnTo>
                    <a:pt x="1158" y="600"/>
                  </a:lnTo>
                  <a:lnTo>
                    <a:pt x="1162" y="586"/>
                  </a:lnTo>
                  <a:lnTo>
                    <a:pt x="1166" y="574"/>
                  </a:lnTo>
                  <a:lnTo>
                    <a:pt x="1170" y="564"/>
                  </a:lnTo>
                  <a:lnTo>
                    <a:pt x="1178" y="554"/>
                  </a:lnTo>
                  <a:lnTo>
                    <a:pt x="1186" y="546"/>
                  </a:lnTo>
                  <a:lnTo>
                    <a:pt x="1194" y="540"/>
                  </a:lnTo>
                  <a:lnTo>
                    <a:pt x="1204" y="534"/>
                  </a:lnTo>
                  <a:lnTo>
                    <a:pt x="1218" y="530"/>
                  </a:lnTo>
                  <a:lnTo>
                    <a:pt x="1232" y="528"/>
                  </a:lnTo>
                  <a:lnTo>
                    <a:pt x="1246" y="528"/>
                  </a:lnTo>
                  <a:lnTo>
                    <a:pt x="1246" y="528"/>
                  </a:lnTo>
                  <a:close/>
                  <a:moveTo>
                    <a:pt x="772" y="506"/>
                  </a:moveTo>
                  <a:lnTo>
                    <a:pt x="772" y="506"/>
                  </a:lnTo>
                  <a:lnTo>
                    <a:pt x="794" y="508"/>
                  </a:lnTo>
                  <a:lnTo>
                    <a:pt x="812" y="514"/>
                  </a:lnTo>
                  <a:lnTo>
                    <a:pt x="830" y="524"/>
                  </a:lnTo>
                  <a:lnTo>
                    <a:pt x="846" y="538"/>
                  </a:lnTo>
                  <a:lnTo>
                    <a:pt x="858" y="552"/>
                  </a:lnTo>
                  <a:lnTo>
                    <a:pt x="868" y="570"/>
                  </a:lnTo>
                  <a:lnTo>
                    <a:pt x="874" y="590"/>
                  </a:lnTo>
                  <a:lnTo>
                    <a:pt x="876" y="610"/>
                  </a:lnTo>
                  <a:lnTo>
                    <a:pt x="876" y="610"/>
                  </a:lnTo>
                  <a:lnTo>
                    <a:pt x="874" y="632"/>
                  </a:lnTo>
                  <a:lnTo>
                    <a:pt x="868" y="652"/>
                  </a:lnTo>
                  <a:lnTo>
                    <a:pt x="858" y="670"/>
                  </a:lnTo>
                  <a:lnTo>
                    <a:pt x="846" y="684"/>
                  </a:lnTo>
                  <a:lnTo>
                    <a:pt x="830" y="698"/>
                  </a:lnTo>
                  <a:lnTo>
                    <a:pt x="812" y="706"/>
                  </a:lnTo>
                  <a:lnTo>
                    <a:pt x="794" y="714"/>
                  </a:lnTo>
                  <a:lnTo>
                    <a:pt x="772" y="716"/>
                  </a:lnTo>
                  <a:lnTo>
                    <a:pt x="772" y="716"/>
                  </a:lnTo>
                  <a:lnTo>
                    <a:pt x="752" y="714"/>
                  </a:lnTo>
                  <a:lnTo>
                    <a:pt x="732" y="706"/>
                  </a:lnTo>
                  <a:lnTo>
                    <a:pt x="714" y="698"/>
                  </a:lnTo>
                  <a:lnTo>
                    <a:pt x="698" y="684"/>
                  </a:lnTo>
                  <a:lnTo>
                    <a:pt x="686" y="670"/>
                  </a:lnTo>
                  <a:lnTo>
                    <a:pt x="676" y="652"/>
                  </a:lnTo>
                  <a:lnTo>
                    <a:pt x="670" y="632"/>
                  </a:lnTo>
                  <a:lnTo>
                    <a:pt x="668" y="610"/>
                  </a:lnTo>
                  <a:lnTo>
                    <a:pt x="668" y="610"/>
                  </a:lnTo>
                  <a:lnTo>
                    <a:pt x="670" y="590"/>
                  </a:lnTo>
                  <a:lnTo>
                    <a:pt x="676" y="570"/>
                  </a:lnTo>
                  <a:lnTo>
                    <a:pt x="686" y="552"/>
                  </a:lnTo>
                  <a:lnTo>
                    <a:pt x="698" y="538"/>
                  </a:lnTo>
                  <a:lnTo>
                    <a:pt x="714" y="524"/>
                  </a:lnTo>
                  <a:lnTo>
                    <a:pt x="732" y="514"/>
                  </a:lnTo>
                  <a:lnTo>
                    <a:pt x="752" y="508"/>
                  </a:lnTo>
                  <a:lnTo>
                    <a:pt x="772" y="506"/>
                  </a:lnTo>
                  <a:lnTo>
                    <a:pt x="772" y="506"/>
                  </a:lnTo>
                  <a:close/>
                  <a:moveTo>
                    <a:pt x="420" y="506"/>
                  </a:moveTo>
                  <a:lnTo>
                    <a:pt x="420" y="506"/>
                  </a:lnTo>
                  <a:lnTo>
                    <a:pt x="440" y="508"/>
                  </a:lnTo>
                  <a:lnTo>
                    <a:pt x="460" y="514"/>
                  </a:lnTo>
                  <a:lnTo>
                    <a:pt x="478" y="524"/>
                  </a:lnTo>
                  <a:lnTo>
                    <a:pt x="494" y="538"/>
                  </a:lnTo>
                  <a:lnTo>
                    <a:pt x="506" y="552"/>
                  </a:lnTo>
                  <a:lnTo>
                    <a:pt x="516" y="570"/>
                  </a:lnTo>
                  <a:lnTo>
                    <a:pt x="522" y="590"/>
                  </a:lnTo>
                  <a:lnTo>
                    <a:pt x="524" y="610"/>
                  </a:lnTo>
                  <a:lnTo>
                    <a:pt x="524" y="610"/>
                  </a:lnTo>
                  <a:lnTo>
                    <a:pt x="522" y="632"/>
                  </a:lnTo>
                  <a:lnTo>
                    <a:pt x="516" y="652"/>
                  </a:lnTo>
                  <a:lnTo>
                    <a:pt x="506" y="670"/>
                  </a:lnTo>
                  <a:lnTo>
                    <a:pt x="494" y="684"/>
                  </a:lnTo>
                  <a:lnTo>
                    <a:pt x="478" y="698"/>
                  </a:lnTo>
                  <a:lnTo>
                    <a:pt x="460" y="706"/>
                  </a:lnTo>
                  <a:lnTo>
                    <a:pt x="440" y="714"/>
                  </a:lnTo>
                  <a:lnTo>
                    <a:pt x="420" y="716"/>
                  </a:lnTo>
                  <a:lnTo>
                    <a:pt x="420" y="716"/>
                  </a:lnTo>
                  <a:lnTo>
                    <a:pt x="398" y="714"/>
                  </a:lnTo>
                  <a:lnTo>
                    <a:pt x="380" y="706"/>
                  </a:lnTo>
                  <a:lnTo>
                    <a:pt x="362" y="698"/>
                  </a:lnTo>
                  <a:lnTo>
                    <a:pt x="346" y="684"/>
                  </a:lnTo>
                  <a:lnTo>
                    <a:pt x="334" y="670"/>
                  </a:lnTo>
                  <a:lnTo>
                    <a:pt x="324" y="652"/>
                  </a:lnTo>
                  <a:lnTo>
                    <a:pt x="318" y="632"/>
                  </a:lnTo>
                  <a:lnTo>
                    <a:pt x="316" y="610"/>
                  </a:lnTo>
                  <a:lnTo>
                    <a:pt x="316" y="610"/>
                  </a:lnTo>
                  <a:lnTo>
                    <a:pt x="318" y="590"/>
                  </a:lnTo>
                  <a:lnTo>
                    <a:pt x="324" y="570"/>
                  </a:lnTo>
                  <a:lnTo>
                    <a:pt x="334" y="552"/>
                  </a:lnTo>
                  <a:lnTo>
                    <a:pt x="346" y="538"/>
                  </a:lnTo>
                  <a:lnTo>
                    <a:pt x="362" y="524"/>
                  </a:lnTo>
                  <a:lnTo>
                    <a:pt x="380" y="514"/>
                  </a:lnTo>
                  <a:lnTo>
                    <a:pt x="398" y="508"/>
                  </a:lnTo>
                  <a:lnTo>
                    <a:pt x="420" y="506"/>
                  </a:lnTo>
                  <a:lnTo>
                    <a:pt x="420" y="506"/>
                  </a:lnTo>
                  <a:close/>
                  <a:moveTo>
                    <a:pt x="550" y="988"/>
                  </a:moveTo>
                  <a:lnTo>
                    <a:pt x="550" y="988"/>
                  </a:lnTo>
                  <a:lnTo>
                    <a:pt x="548" y="998"/>
                  </a:lnTo>
                  <a:lnTo>
                    <a:pt x="544" y="1006"/>
                  </a:lnTo>
                  <a:lnTo>
                    <a:pt x="544" y="1006"/>
                  </a:lnTo>
                  <a:lnTo>
                    <a:pt x="534" y="1012"/>
                  </a:lnTo>
                  <a:lnTo>
                    <a:pt x="524" y="1014"/>
                  </a:lnTo>
                  <a:lnTo>
                    <a:pt x="492" y="1014"/>
                  </a:lnTo>
                  <a:lnTo>
                    <a:pt x="492" y="1234"/>
                  </a:lnTo>
                  <a:lnTo>
                    <a:pt x="492" y="1234"/>
                  </a:lnTo>
                  <a:lnTo>
                    <a:pt x="490" y="1246"/>
                  </a:lnTo>
                  <a:lnTo>
                    <a:pt x="484" y="1254"/>
                  </a:lnTo>
                  <a:lnTo>
                    <a:pt x="476" y="1260"/>
                  </a:lnTo>
                  <a:lnTo>
                    <a:pt x="466" y="1262"/>
                  </a:lnTo>
                  <a:lnTo>
                    <a:pt x="466" y="1262"/>
                  </a:lnTo>
                  <a:lnTo>
                    <a:pt x="456" y="1260"/>
                  </a:lnTo>
                  <a:lnTo>
                    <a:pt x="446" y="1254"/>
                  </a:lnTo>
                  <a:lnTo>
                    <a:pt x="442" y="1246"/>
                  </a:lnTo>
                  <a:lnTo>
                    <a:pt x="440" y="1234"/>
                  </a:lnTo>
                  <a:lnTo>
                    <a:pt x="440" y="1014"/>
                  </a:lnTo>
                  <a:lnTo>
                    <a:pt x="404" y="1014"/>
                  </a:lnTo>
                  <a:lnTo>
                    <a:pt x="404" y="1234"/>
                  </a:lnTo>
                  <a:lnTo>
                    <a:pt x="404" y="1234"/>
                  </a:lnTo>
                  <a:lnTo>
                    <a:pt x="402" y="1246"/>
                  </a:lnTo>
                  <a:lnTo>
                    <a:pt x="398" y="1254"/>
                  </a:lnTo>
                  <a:lnTo>
                    <a:pt x="388" y="1260"/>
                  </a:lnTo>
                  <a:lnTo>
                    <a:pt x="378" y="1262"/>
                  </a:lnTo>
                  <a:lnTo>
                    <a:pt x="378" y="1262"/>
                  </a:lnTo>
                  <a:lnTo>
                    <a:pt x="368" y="1260"/>
                  </a:lnTo>
                  <a:lnTo>
                    <a:pt x="360" y="1254"/>
                  </a:lnTo>
                  <a:lnTo>
                    <a:pt x="354" y="1246"/>
                  </a:lnTo>
                  <a:lnTo>
                    <a:pt x="352" y="1234"/>
                  </a:lnTo>
                  <a:lnTo>
                    <a:pt x="352" y="1014"/>
                  </a:lnTo>
                  <a:lnTo>
                    <a:pt x="316" y="1014"/>
                  </a:lnTo>
                  <a:lnTo>
                    <a:pt x="316" y="1014"/>
                  </a:lnTo>
                  <a:lnTo>
                    <a:pt x="306" y="1012"/>
                  </a:lnTo>
                  <a:lnTo>
                    <a:pt x="296" y="1006"/>
                  </a:lnTo>
                  <a:lnTo>
                    <a:pt x="296" y="1006"/>
                  </a:lnTo>
                  <a:lnTo>
                    <a:pt x="290" y="998"/>
                  </a:lnTo>
                  <a:lnTo>
                    <a:pt x="288" y="988"/>
                  </a:lnTo>
                  <a:lnTo>
                    <a:pt x="288" y="778"/>
                  </a:lnTo>
                  <a:lnTo>
                    <a:pt x="288" y="778"/>
                  </a:lnTo>
                  <a:lnTo>
                    <a:pt x="290" y="768"/>
                  </a:lnTo>
                  <a:lnTo>
                    <a:pt x="296" y="760"/>
                  </a:lnTo>
                  <a:lnTo>
                    <a:pt x="296" y="760"/>
                  </a:lnTo>
                  <a:lnTo>
                    <a:pt x="306" y="754"/>
                  </a:lnTo>
                  <a:lnTo>
                    <a:pt x="316" y="752"/>
                  </a:lnTo>
                  <a:lnTo>
                    <a:pt x="524" y="752"/>
                  </a:lnTo>
                  <a:lnTo>
                    <a:pt x="524" y="752"/>
                  </a:lnTo>
                  <a:lnTo>
                    <a:pt x="534" y="754"/>
                  </a:lnTo>
                  <a:lnTo>
                    <a:pt x="544" y="760"/>
                  </a:lnTo>
                  <a:lnTo>
                    <a:pt x="544" y="760"/>
                  </a:lnTo>
                  <a:lnTo>
                    <a:pt x="548" y="768"/>
                  </a:lnTo>
                  <a:lnTo>
                    <a:pt x="550" y="778"/>
                  </a:lnTo>
                  <a:lnTo>
                    <a:pt x="550" y="988"/>
                  </a:lnTo>
                  <a:close/>
                  <a:moveTo>
                    <a:pt x="928" y="1054"/>
                  </a:moveTo>
                  <a:lnTo>
                    <a:pt x="928" y="1054"/>
                  </a:lnTo>
                  <a:lnTo>
                    <a:pt x="924" y="1060"/>
                  </a:lnTo>
                  <a:lnTo>
                    <a:pt x="918" y="1064"/>
                  </a:lnTo>
                  <a:lnTo>
                    <a:pt x="912" y="1066"/>
                  </a:lnTo>
                  <a:lnTo>
                    <a:pt x="906" y="1066"/>
                  </a:lnTo>
                  <a:lnTo>
                    <a:pt x="844" y="1066"/>
                  </a:lnTo>
                  <a:lnTo>
                    <a:pt x="844" y="1234"/>
                  </a:lnTo>
                  <a:lnTo>
                    <a:pt x="844" y="1234"/>
                  </a:lnTo>
                  <a:lnTo>
                    <a:pt x="842" y="1246"/>
                  </a:lnTo>
                  <a:lnTo>
                    <a:pt x="838" y="1254"/>
                  </a:lnTo>
                  <a:lnTo>
                    <a:pt x="828" y="1260"/>
                  </a:lnTo>
                  <a:lnTo>
                    <a:pt x="818" y="1262"/>
                  </a:lnTo>
                  <a:lnTo>
                    <a:pt x="818" y="1262"/>
                  </a:lnTo>
                  <a:lnTo>
                    <a:pt x="808" y="1260"/>
                  </a:lnTo>
                  <a:lnTo>
                    <a:pt x="800" y="1254"/>
                  </a:lnTo>
                  <a:lnTo>
                    <a:pt x="794" y="1246"/>
                  </a:lnTo>
                  <a:lnTo>
                    <a:pt x="792" y="1234"/>
                  </a:lnTo>
                  <a:lnTo>
                    <a:pt x="792" y="1066"/>
                  </a:lnTo>
                  <a:lnTo>
                    <a:pt x="758" y="1066"/>
                  </a:lnTo>
                  <a:lnTo>
                    <a:pt x="758" y="1234"/>
                  </a:lnTo>
                  <a:lnTo>
                    <a:pt x="758" y="1234"/>
                  </a:lnTo>
                  <a:lnTo>
                    <a:pt x="756" y="1246"/>
                  </a:lnTo>
                  <a:lnTo>
                    <a:pt x="750" y="1254"/>
                  </a:lnTo>
                  <a:lnTo>
                    <a:pt x="740" y="1260"/>
                  </a:lnTo>
                  <a:lnTo>
                    <a:pt x="730" y="1262"/>
                  </a:lnTo>
                  <a:lnTo>
                    <a:pt x="730" y="1262"/>
                  </a:lnTo>
                  <a:lnTo>
                    <a:pt x="720" y="1260"/>
                  </a:lnTo>
                  <a:lnTo>
                    <a:pt x="712" y="1254"/>
                  </a:lnTo>
                  <a:lnTo>
                    <a:pt x="706" y="1246"/>
                  </a:lnTo>
                  <a:lnTo>
                    <a:pt x="704" y="1234"/>
                  </a:lnTo>
                  <a:lnTo>
                    <a:pt x="704" y="1066"/>
                  </a:lnTo>
                  <a:lnTo>
                    <a:pt x="638" y="1066"/>
                  </a:lnTo>
                  <a:lnTo>
                    <a:pt x="638" y="1066"/>
                  </a:lnTo>
                  <a:lnTo>
                    <a:pt x="632" y="1066"/>
                  </a:lnTo>
                  <a:lnTo>
                    <a:pt x="626" y="1064"/>
                  </a:lnTo>
                  <a:lnTo>
                    <a:pt x="620" y="1060"/>
                  </a:lnTo>
                  <a:lnTo>
                    <a:pt x="616" y="1054"/>
                  </a:lnTo>
                  <a:lnTo>
                    <a:pt x="616" y="1054"/>
                  </a:lnTo>
                  <a:lnTo>
                    <a:pt x="614" y="1048"/>
                  </a:lnTo>
                  <a:lnTo>
                    <a:pt x="612" y="1042"/>
                  </a:lnTo>
                  <a:lnTo>
                    <a:pt x="612" y="1034"/>
                  </a:lnTo>
                  <a:lnTo>
                    <a:pt x="614" y="1028"/>
                  </a:lnTo>
                  <a:lnTo>
                    <a:pt x="748" y="760"/>
                  </a:lnTo>
                  <a:lnTo>
                    <a:pt x="748" y="760"/>
                  </a:lnTo>
                  <a:lnTo>
                    <a:pt x="752" y="754"/>
                  </a:lnTo>
                  <a:lnTo>
                    <a:pt x="758" y="748"/>
                  </a:lnTo>
                  <a:lnTo>
                    <a:pt x="764" y="746"/>
                  </a:lnTo>
                  <a:lnTo>
                    <a:pt x="772" y="744"/>
                  </a:lnTo>
                  <a:lnTo>
                    <a:pt x="772" y="744"/>
                  </a:lnTo>
                  <a:lnTo>
                    <a:pt x="780" y="746"/>
                  </a:lnTo>
                  <a:lnTo>
                    <a:pt x="786" y="748"/>
                  </a:lnTo>
                  <a:lnTo>
                    <a:pt x="792" y="754"/>
                  </a:lnTo>
                  <a:lnTo>
                    <a:pt x="796" y="760"/>
                  </a:lnTo>
                  <a:lnTo>
                    <a:pt x="930" y="1028"/>
                  </a:lnTo>
                  <a:lnTo>
                    <a:pt x="930" y="1028"/>
                  </a:lnTo>
                  <a:lnTo>
                    <a:pt x="932" y="1034"/>
                  </a:lnTo>
                  <a:lnTo>
                    <a:pt x="932" y="1042"/>
                  </a:lnTo>
                  <a:lnTo>
                    <a:pt x="932" y="1048"/>
                  </a:lnTo>
                  <a:lnTo>
                    <a:pt x="928" y="1054"/>
                  </a:lnTo>
                  <a:lnTo>
                    <a:pt x="928" y="1054"/>
                  </a:lnTo>
                  <a:close/>
                  <a:moveTo>
                    <a:pt x="996" y="580"/>
                  </a:moveTo>
                  <a:lnTo>
                    <a:pt x="996" y="580"/>
                  </a:lnTo>
                  <a:lnTo>
                    <a:pt x="1014" y="570"/>
                  </a:lnTo>
                  <a:lnTo>
                    <a:pt x="1030" y="560"/>
                  </a:lnTo>
                  <a:lnTo>
                    <a:pt x="1044" y="546"/>
                  </a:lnTo>
                  <a:lnTo>
                    <a:pt x="1058" y="532"/>
                  </a:lnTo>
                  <a:lnTo>
                    <a:pt x="1118" y="532"/>
                  </a:lnTo>
                  <a:lnTo>
                    <a:pt x="1118" y="844"/>
                  </a:lnTo>
                  <a:lnTo>
                    <a:pt x="1050" y="844"/>
                  </a:lnTo>
                  <a:lnTo>
                    <a:pt x="1050" y="604"/>
                  </a:lnTo>
                  <a:lnTo>
                    <a:pt x="1050" y="604"/>
                  </a:lnTo>
                  <a:lnTo>
                    <a:pt x="1024" y="622"/>
                  </a:lnTo>
                  <a:lnTo>
                    <a:pt x="996" y="638"/>
                  </a:lnTo>
                  <a:lnTo>
                    <a:pt x="996" y="580"/>
                  </a:lnTo>
                  <a:close/>
                  <a:moveTo>
                    <a:pt x="1086" y="1236"/>
                  </a:moveTo>
                  <a:lnTo>
                    <a:pt x="1086" y="1236"/>
                  </a:lnTo>
                  <a:lnTo>
                    <a:pt x="1064" y="1236"/>
                  </a:lnTo>
                  <a:lnTo>
                    <a:pt x="1046" y="1232"/>
                  </a:lnTo>
                  <a:lnTo>
                    <a:pt x="1032" y="1226"/>
                  </a:lnTo>
                  <a:lnTo>
                    <a:pt x="1020" y="1216"/>
                  </a:lnTo>
                  <a:lnTo>
                    <a:pt x="1010" y="1204"/>
                  </a:lnTo>
                  <a:lnTo>
                    <a:pt x="1004" y="1190"/>
                  </a:lnTo>
                  <a:lnTo>
                    <a:pt x="1000" y="1170"/>
                  </a:lnTo>
                  <a:lnTo>
                    <a:pt x="1000" y="1146"/>
                  </a:lnTo>
                  <a:lnTo>
                    <a:pt x="1064" y="1146"/>
                  </a:lnTo>
                  <a:lnTo>
                    <a:pt x="1064" y="1146"/>
                  </a:lnTo>
                  <a:lnTo>
                    <a:pt x="1064" y="1162"/>
                  </a:lnTo>
                  <a:lnTo>
                    <a:pt x="1066" y="1176"/>
                  </a:lnTo>
                  <a:lnTo>
                    <a:pt x="1070" y="1182"/>
                  </a:lnTo>
                  <a:lnTo>
                    <a:pt x="1074" y="1186"/>
                  </a:lnTo>
                  <a:lnTo>
                    <a:pt x="1080" y="1190"/>
                  </a:lnTo>
                  <a:lnTo>
                    <a:pt x="1090" y="1190"/>
                  </a:lnTo>
                  <a:lnTo>
                    <a:pt x="1090" y="1190"/>
                  </a:lnTo>
                  <a:lnTo>
                    <a:pt x="1100" y="1188"/>
                  </a:lnTo>
                  <a:lnTo>
                    <a:pt x="1108" y="1186"/>
                  </a:lnTo>
                  <a:lnTo>
                    <a:pt x="1112" y="1180"/>
                  </a:lnTo>
                  <a:lnTo>
                    <a:pt x="1116" y="1174"/>
                  </a:lnTo>
                  <a:lnTo>
                    <a:pt x="1120" y="1166"/>
                  </a:lnTo>
                  <a:lnTo>
                    <a:pt x="1120" y="1158"/>
                  </a:lnTo>
                  <a:lnTo>
                    <a:pt x="1122" y="1142"/>
                  </a:lnTo>
                  <a:lnTo>
                    <a:pt x="1122" y="1142"/>
                  </a:lnTo>
                  <a:lnTo>
                    <a:pt x="1120" y="1126"/>
                  </a:lnTo>
                  <a:lnTo>
                    <a:pt x="1118" y="1114"/>
                  </a:lnTo>
                  <a:lnTo>
                    <a:pt x="1114" y="1106"/>
                  </a:lnTo>
                  <a:lnTo>
                    <a:pt x="1108" y="1100"/>
                  </a:lnTo>
                  <a:lnTo>
                    <a:pt x="1100" y="1096"/>
                  </a:lnTo>
                  <a:lnTo>
                    <a:pt x="1090" y="1094"/>
                  </a:lnTo>
                  <a:lnTo>
                    <a:pt x="1062" y="1092"/>
                  </a:lnTo>
                  <a:lnTo>
                    <a:pt x="1062" y="1042"/>
                  </a:lnTo>
                  <a:lnTo>
                    <a:pt x="1062" y="1042"/>
                  </a:lnTo>
                  <a:lnTo>
                    <a:pt x="1088" y="1042"/>
                  </a:lnTo>
                  <a:lnTo>
                    <a:pt x="1098" y="1040"/>
                  </a:lnTo>
                  <a:lnTo>
                    <a:pt x="1104" y="1036"/>
                  </a:lnTo>
                  <a:lnTo>
                    <a:pt x="1110" y="1030"/>
                  </a:lnTo>
                  <a:lnTo>
                    <a:pt x="1114" y="1022"/>
                  </a:lnTo>
                  <a:lnTo>
                    <a:pt x="1116" y="1010"/>
                  </a:lnTo>
                  <a:lnTo>
                    <a:pt x="1116" y="996"/>
                  </a:lnTo>
                  <a:lnTo>
                    <a:pt x="1116" y="996"/>
                  </a:lnTo>
                  <a:lnTo>
                    <a:pt x="1116" y="982"/>
                  </a:lnTo>
                  <a:lnTo>
                    <a:pt x="1112" y="970"/>
                  </a:lnTo>
                  <a:lnTo>
                    <a:pt x="1110" y="966"/>
                  </a:lnTo>
                  <a:lnTo>
                    <a:pt x="1104" y="962"/>
                  </a:lnTo>
                  <a:lnTo>
                    <a:pt x="1100" y="958"/>
                  </a:lnTo>
                  <a:lnTo>
                    <a:pt x="1092" y="958"/>
                  </a:lnTo>
                  <a:lnTo>
                    <a:pt x="1092" y="958"/>
                  </a:lnTo>
                  <a:lnTo>
                    <a:pt x="1084" y="958"/>
                  </a:lnTo>
                  <a:lnTo>
                    <a:pt x="1078" y="962"/>
                  </a:lnTo>
                  <a:lnTo>
                    <a:pt x="1074" y="964"/>
                  </a:lnTo>
                  <a:lnTo>
                    <a:pt x="1070" y="970"/>
                  </a:lnTo>
                  <a:lnTo>
                    <a:pt x="1068" y="982"/>
                  </a:lnTo>
                  <a:lnTo>
                    <a:pt x="1066" y="994"/>
                  </a:lnTo>
                  <a:lnTo>
                    <a:pt x="1002" y="994"/>
                  </a:lnTo>
                  <a:lnTo>
                    <a:pt x="1002" y="994"/>
                  </a:lnTo>
                  <a:lnTo>
                    <a:pt x="1004" y="972"/>
                  </a:lnTo>
                  <a:lnTo>
                    <a:pt x="1008" y="954"/>
                  </a:lnTo>
                  <a:lnTo>
                    <a:pt x="1016" y="940"/>
                  </a:lnTo>
                  <a:lnTo>
                    <a:pt x="1024" y="928"/>
                  </a:lnTo>
                  <a:lnTo>
                    <a:pt x="1024" y="928"/>
                  </a:lnTo>
                  <a:lnTo>
                    <a:pt x="1038" y="920"/>
                  </a:lnTo>
                  <a:lnTo>
                    <a:pt x="1052" y="916"/>
                  </a:lnTo>
                  <a:lnTo>
                    <a:pt x="1072" y="912"/>
                  </a:lnTo>
                  <a:lnTo>
                    <a:pt x="1094" y="912"/>
                  </a:lnTo>
                  <a:lnTo>
                    <a:pt x="1094" y="912"/>
                  </a:lnTo>
                  <a:lnTo>
                    <a:pt x="1114" y="912"/>
                  </a:lnTo>
                  <a:lnTo>
                    <a:pt x="1132" y="916"/>
                  </a:lnTo>
                  <a:lnTo>
                    <a:pt x="1146" y="922"/>
                  </a:lnTo>
                  <a:lnTo>
                    <a:pt x="1160" y="932"/>
                  </a:lnTo>
                  <a:lnTo>
                    <a:pt x="1168" y="942"/>
                  </a:lnTo>
                  <a:lnTo>
                    <a:pt x="1176" y="958"/>
                  </a:lnTo>
                  <a:lnTo>
                    <a:pt x="1178" y="976"/>
                  </a:lnTo>
                  <a:lnTo>
                    <a:pt x="1180" y="996"/>
                  </a:lnTo>
                  <a:lnTo>
                    <a:pt x="1180" y="996"/>
                  </a:lnTo>
                  <a:lnTo>
                    <a:pt x="1178" y="1018"/>
                  </a:lnTo>
                  <a:lnTo>
                    <a:pt x="1176" y="1030"/>
                  </a:lnTo>
                  <a:lnTo>
                    <a:pt x="1172" y="1040"/>
                  </a:lnTo>
                  <a:lnTo>
                    <a:pt x="1166" y="1050"/>
                  </a:lnTo>
                  <a:lnTo>
                    <a:pt x="1158" y="1058"/>
                  </a:lnTo>
                  <a:lnTo>
                    <a:pt x="1148" y="1064"/>
                  </a:lnTo>
                  <a:lnTo>
                    <a:pt x="1138" y="1066"/>
                  </a:lnTo>
                  <a:lnTo>
                    <a:pt x="1138" y="1068"/>
                  </a:lnTo>
                  <a:lnTo>
                    <a:pt x="1138" y="1068"/>
                  </a:lnTo>
                  <a:lnTo>
                    <a:pt x="1152" y="1072"/>
                  </a:lnTo>
                  <a:lnTo>
                    <a:pt x="1162" y="1078"/>
                  </a:lnTo>
                  <a:lnTo>
                    <a:pt x="1170" y="1086"/>
                  </a:lnTo>
                  <a:lnTo>
                    <a:pt x="1176" y="1094"/>
                  </a:lnTo>
                  <a:lnTo>
                    <a:pt x="1180" y="1106"/>
                  </a:lnTo>
                  <a:lnTo>
                    <a:pt x="1184" y="1118"/>
                  </a:lnTo>
                  <a:lnTo>
                    <a:pt x="1186" y="1144"/>
                  </a:lnTo>
                  <a:lnTo>
                    <a:pt x="1186" y="1144"/>
                  </a:lnTo>
                  <a:lnTo>
                    <a:pt x="1184" y="1168"/>
                  </a:lnTo>
                  <a:lnTo>
                    <a:pt x="1178" y="1186"/>
                  </a:lnTo>
                  <a:lnTo>
                    <a:pt x="1170" y="1202"/>
                  </a:lnTo>
                  <a:lnTo>
                    <a:pt x="1160" y="1214"/>
                  </a:lnTo>
                  <a:lnTo>
                    <a:pt x="1146" y="1224"/>
                  </a:lnTo>
                  <a:lnTo>
                    <a:pt x="1128" y="1232"/>
                  </a:lnTo>
                  <a:lnTo>
                    <a:pt x="1110" y="1236"/>
                  </a:lnTo>
                  <a:lnTo>
                    <a:pt x="1086" y="1236"/>
                  </a:lnTo>
                  <a:lnTo>
                    <a:pt x="1086" y="1236"/>
                  </a:lnTo>
                  <a:close/>
                  <a:moveTo>
                    <a:pt x="1390" y="1160"/>
                  </a:moveTo>
                  <a:lnTo>
                    <a:pt x="1366" y="1160"/>
                  </a:lnTo>
                  <a:lnTo>
                    <a:pt x="1366" y="1232"/>
                  </a:lnTo>
                  <a:lnTo>
                    <a:pt x="1304" y="1232"/>
                  </a:lnTo>
                  <a:lnTo>
                    <a:pt x="1304" y="1160"/>
                  </a:lnTo>
                  <a:lnTo>
                    <a:pt x="1206" y="1160"/>
                  </a:lnTo>
                  <a:lnTo>
                    <a:pt x="1206" y="1096"/>
                  </a:lnTo>
                  <a:lnTo>
                    <a:pt x="1206" y="1096"/>
                  </a:lnTo>
                  <a:lnTo>
                    <a:pt x="1282" y="916"/>
                  </a:lnTo>
                  <a:lnTo>
                    <a:pt x="1366" y="916"/>
                  </a:lnTo>
                  <a:lnTo>
                    <a:pt x="1366" y="1112"/>
                  </a:lnTo>
                  <a:lnTo>
                    <a:pt x="1390" y="1112"/>
                  </a:lnTo>
                  <a:lnTo>
                    <a:pt x="1390" y="1160"/>
                  </a:lnTo>
                  <a:close/>
                  <a:moveTo>
                    <a:pt x="1494" y="748"/>
                  </a:moveTo>
                  <a:lnTo>
                    <a:pt x="1384" y="748"/>
                  </a:lnTo>
                  <a:lnTo>
                    <a:pt x="1384" y="702"/>
                  </a:lnTo>
                  <a:lnTo>
                    <a:pt x="1494" y="702"/>
                  </a:lnTo>
                  <a:lnTo>
                    <a:pt x="1494" y="7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17">
              <a:extLst>
                <a:ext uri="{FF2B5EF4-FFF2-40B4-BE49-F238E27FC236}">
                  <a16:creationId xmlns:a16="http://schemas.microsoft.com/office/drawing/2014/main" id="{AA0AA43F-B775-4C7E-86D5-F23DF1C5C96E}"/>
                </a:ext>
              </a:extLst>
            </p:cNvPr>
            <p:cNvSpPr>
              <a:spLocks/>
            </p:cNvSpPr>
            <p:nvPr/>
          </p:nvSpPr>
          <p:spPr bwMode="auto">
            <a:xfrm>
              <a:off x="2543175" y="5419725"/>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6" name="Text Placeholder 5">
            <a:extLst>
              <a:ext uri="{FF2B5EF4-FFF2-40B4-BE49-F238E27FC236}">
                <a16:creationId xmlns:a16="http://schemas.microsoft.com/office/drawing/2014/main" id="{41228BDA-9E5E-497C-ACF2-3DD18F1AC35E}"/>
              </a:ext>
            </a:extLst>
          </p:cNvPr>
          <p:cNvSpPr>
            <a:spLocks noGrp="1"/>
          </p:cNvSpPr>
          <p:nvPr>
            <p:ph type="body" sz="quarter" idx="11"/>
          </p:nvPr>
        </p:nvSpPr>
        <p:spPr>
          <a:xfrm>
            <a:off x="8386619" y="7103497"/>
            <a:ext cx="4921106" cy="246221"/>
          </a:xfrm>
        </p:spPr>
        <p:txBody>
          <a:bodyPr/>
          <a:lstStyle/>
          <a:p>
            <a:pPr>
              <a:lnSpc>
                <a:spcPct val="100000"/>
              </a:lnSpc>
            </a:pPr>
            <a:r>
              <a:rPr lang="en-GB" dirty="0"/>
              <a:t>. </a:t>
            </a:r>
          </a:p>
          <a:p>
            <a:pPr>
              <a:lnSpc>
                <a:spcPct val="100000"/>
              </a:lnSpc>
            </a:pPr>
            <a:r>
              <a:rPr lang="en-GB" dirty="0"/>
              <a:t>Source: TGI GB 2022.- 16-34 adults index vs All Adults</a:t>
            </a:r>
          </a:p>
        </p:txBody>
      </p:sp>
    </p:spTree>
    <p:extLst>
      <p:ext uri="{BB962C8B-B14F-4D97-AF65-F5344CB8AC3E}">
        <p14:creationId xmlns:p14="http://schemas.microsoft.com/office/powerpoint/2010/main" val="2379564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9CD555-BFC1-40A3-94DA-0FE49B863B2D}"/>
              </a:ext>
            </a:extLst>
          </p:cNvPr>
          <p:cNvSpPr>
            <a:spLocks noGrp="1"/>
          </p:cNvSpPr>
          <p:nvPr>
            <p:ph type="title"/>
          </p:nvPr>
        </p:nvSpPr>
        <p:spPr/>
        <p:txBody>
          <a:bodyPr/>
          <a:lstStyle/>
          <a:p>
            <a:r>
              <a:rPr lang="en-GB" dirty="0"/>
              <a:t>Positivity </a:t>
            </a:r>
            <a:r>
              <a:rPr lang="en-GB" sz="3600" dirty="0"/>
              <a:t>&amp;</a:t>
            </a:r>
            <a:r>
              <a:rPr lang="en-GB" dirty="0"/>
              <a:t> engagement drives attention to adverts</a:t>
            </a:r>
          </a:p>
        </p:txBody>
      </p:sp>
      <p:sp>
        <p:nvSpPr>
          <p:cNvPr id="6" name="Text Placeholder 5">
            <a:extLst>
              <a:ext uri="{FF2B5EF4-FFF2-40B4-BE49-F238E27FC236}">
                <a16:creationId xmlns:a16="http://schemas.microsoft.com/office/drawing/2014/main" id="{9C754C1A-ACE6-4C81-B47A-404B1E6D56A2}"/>
              </a:ext>
            </a:extLst>
          </p:cNvPr>
          <p:cNvSpPr>
            <a:spLocks noGrp="1"/>
          </p:cNvSpPr>
          <p:nvPr>
            <p:ph type="body" sz="quarter" idx="11"/>
          </p:nvPr>
        </p:nvSpPr>
        <p:spPr>
          <a:xfrm>
            <a:off x="8238836" y="7128009"/>
            <a:ext cx="5059653" cy="369332"/>
          </a:xfrm>
        </p:spPr>
        <p:txBody>
          <a:bodyPr/>
          <a:lstStyle/>
          <a:p>
            <a:pPr>
              <a:lnSpc>
                <a:spcPct val="100000"/>
              </a:lnSpc>
            </a:pPr>
            <a:r>
              <a:rPr lang="en-US" dirty="0">
                <a:latin typeface="Arial" charset="0"/>
                <a:ea typeface="Arial" charset="0"/>
                <a:cs typeface="Arial" charset="0"/>
              </a:rPr>
              <a:t>Sources: 1. TGI GB 2022 index vs all respondents</a:t>
            </a:r>
          </a:p>
          <a:p>
            <a:pPr>
              <a:lnSpc>
                <a:spcPct val="100000"/>
              </a:lnSpc>
            </a:pPr>
            <a:r>
              <a:rPr lang="en-US" dirty="0">
                <a:latin typeface="Arial" charset="0"/>
                <a:cs typeface="Arial" charset="0"/>
              </a:rPr>
              <a:t>2. IPA Touchpoints 2021, Index vs All Adults</a:t>
            </a:r>
          </a:p>
          <a:p>
            <a:pPr>
              <a:lnSpc>
                <a:spcPct val="100000"/>
              </a:lnSpc>
            </a:pPr>
            <a:r>
              <a:rPr lang="en-US" dirty="0">
                <a:latin typeface="Arial" charset="0"/>
                <a:cs typeface="Arial" charset="0"/>
              </a:rPr>
              <a:t>3. FAME 2021, Index vs all respondents</a:t>
            </a:r>
            <a:endParaRPr lang="en-GB" dirty="0"/>
          </a:p>
        </p:txBody>
      </p:sp>
      <p:sp>
        <p:nvSpPr>
          <p:cNvPr id="7" name="Text Placeholder 6">
            <a:extLst>
              <a:ext uri="{FF2B5EF4-FFF2-40B4-BE49-F238E27FC236}">
                <a16:creationId xmlns:a16="http://schemas.microsoft.com/office/drawing/2014/main" id="{88E8A5D3-9265-4C86-9C97-36B4CADE0B7D}"/>
              </a:ext>
            </a:extLst>
          </p:cNvPr>
          <p:cNvSpPr>
            <a:spLocks noGrp="1"/>
          </p:cNvSpPr>
          <p:nvPr>
            <p:ph type="body" sz="quarter" idx="14"/>
          </p:nvPr>
        </p:nvSpPr>
        <p:spPr/>
        <p:txBody>
          <a:bodyPr/>
          <a:lstStyle/>
          <a:p>
            <a:r>
              <a:rPr lang="en-GB" dirty="0"/>
              <a:t>Cinema engages a young audience when they’re in a positive and receptive mindset and most willing to pay attention to ads. </a:t>
            </a:r>
          </a:p>
        </p:txBody>
      </p:sp>
      <p:sp>
        <p:nvSpPr>
          <p:cNvPr id="9" name="Oval 8">
            <a:extLst>
              <a:ext uri="{FF2B5EF4-FFF2-40B4-BE49-F238E27FC236}">
                <a16:creationId xmlns:a16="http://schemas.microsoft.com/office/drawing/2014/main" id="{298777E4-27CE-45EC-99A1-24BA93550AD7}"/>
              </a:ext>
            </a:extLst>
          </p:cNvPr>
          <p:cNvSpPr>
            <a:spLocks noChangeAspect="1"/>
          </p:cNvSpPr>
          <p:nvPr/>
        </p:nvSpPr>
        <p:spPr>
          <a:xfrm>
            <a:off x="749512" y="3880581"/>
            <a:ext cx="1824585" cy="1829423"/>
          </a:xfrm>
          <a:prstGeom prst="ellipse">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lvl="0" algn="ctr">
              <a:buClr>
                <a:srgbClr val="FFFFFF"/>
              </a:buClr>
              <a:buSzPct val="100000"/>
            </a:pPr>
            <a:r>
              <a:rPr lang="en-GB" sz="5400" cap="all" dirty="0">
                <a:solidFill>
                  <a:srgbClr val="FFFFFF"/>
                </a:solidFill>
                <a:latin typeface="Impact"/>
              </a:rPr>
              <a:t>47%</a:t>
            </a:r>
            <a:endParaRPr lang="en-GB" sz="2800" dirty="0">
              <a:solidFill>
                <a:schemeClr val="bg1"/>
              </a:solidFill>
            </a:endParaRPr>
          </a:p>
        </p:txBody>
      </p:sp>
      <p:sp>
        <p:nvSpPr>
          <p:cNvPr id="10" name="Oval 9">
            <a:extLst>
              <a:ext uri="{FF2B5EF4-FFF2-40B4-BE49-F238E27FC236}">
                <a16:creationId xmlns:a16="http://schemas.microsoft.com/office/drawing/2014/main" id="{31C8BD83-CF7E-4223-9E02-FE7A9C31E6C8}"/>
              </a:ext>
            </a:extLst>
          </p:cNvPr>
          <p:cNvSpPr>
            <a:spLocks noChangeAspect="1"/>
          </p:cNvSpPr>
          <p:nvPr/>
        </p:nvSpPr>
        <p:spPr>
          <a:xfrm>
            <a:off x="8985422" y="1640852"/>
            <a:ext cx="1824585" cy="1829423"/>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Clr>
                <a:srgbClr val="FFFFFF"/>
              </a:buClr>
              <a:buSzPct val="100000"/>
            </a:pPr>
            <a:r>
              <a:rPr lang="en-US" sz="5400" cap="all" dirty="0">
                <a:solidFill>
                  <a:srgbClr val="FFFFFF"/>
                </a:solidFill>
                <a:latin typeface="Impact"/>
              </a:rPr>
              <a:t>93%</a:t>
            </a:r>
          </a:p>
        </p:txBody>
      </p:sp>
      <p:sp>
        <p:nvSpPr>
          <p:cNvPr id="15" name="Oval 14">
            <a:extLst>
              <a:ext uri="{FF2B5EF4-FFF2-40B4-BE49-F238E27FC236}">
                <a16:creationId xmlns:a16="http://schemas.microsoft.com/office/drawing/2014/main" id="{6C29770A-8480-4265-899D-FA5069A7B3B2}"/>
              </a:ext>
            </a:extLst>
          </p:cNvPr>
          <p:cNvSpPr>
            <a:spLocks noChangeAspect="1"/>
          </p:cNvSpPr>
          <p:nvPr/>
        </p:nvSpPr>
        <p:spPr>
          <a:xfrm>
            <a:off x="749513" y="1442748"/>
            <a:ext cx="1824585" cy="1829423"/>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lvl="0" algn="ctr">
              <a:buClr>
                <a:srgbClr val="FFFFFF"/>
              </a:buClr>
              <a:buSzPct val="100000"/>
            </a:pPr>
            <a:r>
              <a:rPr lang="en-GB" sz="5400" cap="all" dirty="0">
                <a:solidFill>
                  <a:srgbClr val="FFFFFF"/>
                </a:solidFill>
                <a:latin typeface="Impact"/>
              </a:rPr>
              <a:t>54%</a:t>
            </a:r>
            <a:endParaRPr lang="en-GB" sz="2800" dirty="0">
              <a:solidFill>
                <a:schemeClr val="bg1"/>
              </a:solidFill>
            </a:endParaRPr>
          </a:p>
        </p:txBody>
      </p:sp>
      <p:sp>
        <p:nvSpPr>
          <p:cNvPr id="3" name="Rectangle 2">
            <a:extLst>
              <a:ext uri="{FF2B5EF4-FFF2-40B4-BE49-F238E27FC236}">
                <a16:creationId xmlns:a16="http://schemas.microsoft.com/office/drawing/2014/main" id="{5DBF0720-0D48-4078-BBD5-D656B196F8DA}"/>
              </a:ext>
            </a:extLst>
          </p:cNvPr>
          <p:cNvSpPr/>
          <p:nvPr/>
        </p:nvSpPr>
        <p:spPr>
          <a:xfrm>
            <a:off x="2671728" y="1849627"/>
            <a:ext cx="1089312" cy="1015663"/>
          </a:xfrm>
          <a:prstGeom prst="rect">
            <a:avLst/>
          </a:prstGeom>
        </p:spPr>
        <p:txBody>
          <a:bodyPr wrap="square">
            <a:spAutoFit/>
          </a:bodyPr>
          <a:lstStyle/>
          <a:p>
            <a:pPr lvl="0" algn="ctr">
              <a:buClr>
                <a:srgbClr val="FFFFFF"/>
              </a:buClr>
              <a:buSzPct val="100000"/>
            </a:pPr>
            <a:r>
              <a:rPr lang="en-GB" sz="1200" dirty="0">
                <a:solidFill>
                  <a:schemeClr val="accent6"/>
                </a:solidFill>
              </a:rPr>
              <a:t>More likely to enjoy seeing an advert in the cinema than on TV</a:t>
            </a:r>
            <a:r>
              <a:rPr lang="en-GB" sz="1200" baseline="30000" dirty="0">
                <a:solidFill>
                  <a:schemeClr val="accent6"/>
                </a:solidFill>
              </a:rPr>
              <a:t>1</a:t>
            </a:r>
            <a:endParaRPr lang="en-GB" sz="700" baseline="30000" dirty="0">
              <a:solidFill>
                <a:schemeClr val="accent6"/>
              </a:solidFill>
            </a:endParaRPr>
          </a:p>
        </p:txBody>
      </p:sp>
      <p:sp>
        <p:nvSpPr>
          <p:cNvPr id="11" name="Rectangle 10">
            <a:extLst>
              <a:ext uri="{FF2B5EF4-FFF2-40B4-BE49-F238E27FC236}">
                <a16:creationId xmlns:a16="http://schemas.microsoft.com/office/drawing/2014/main" id="{0603213F-EF9B-4C42-9E6A-5D2B367CE236}"/>
              </a:ext>
            </a:extLst>
          </p:cNvPr>
          <p:cNvSpPr/>
          <p:nvPr/>
        </p:nvSpPr>
        <p:spPr>
          <a:xfrm>
            <a:off x="2574097" y="4195127"/>
            <a:ext cx="1284574" cy="1200329"/>
          </a:xfrm>
          <a:prstGeom prst="rect">
            <a:avLst/>
          </a:prstGeom>
        </p:spPr>
        <p:txBody>
          <a:bodyPr wrap="square">
            <a:spAutoFit/>
          </a:bodyPr>
          <a:lstStyle/>
          <a:p>
            <a:pPr lvl="0" algn="ctr">
              <a:buClr>
                <a:srgbClr val="FFFFFF"/>
              </a:buClr>
              <a:buSzPct val="100000"/>
            </a:pPr>
            <a:r>
              <a:rPr lang="en-GB" sz="1200" dirty="0">
                <a:solidFill>
                  <a:schemeClr val="accent6"/>
                </a:solidFill>
              </a:rPr>
              <a:t>More likely to get to the cinema in time to watch the adverts and trailers</a:t>
            </a:r>
            <a:r>
              <a:rPr lang="en-GB" sz="1200" baseline="30000" dirty="0">
                <a:solidFill>
                  <a:schemeClr val="accent6"/>
                </a:solidFill>
              </a:rPr>
              <a:t>1</a:t>
            </a:r>
            <a:endParaRPr lang="en-GB" sz="700" baseline="30000" dirty="0">
              <a:solidFill>
                <a:schemeClr val="accent6"/>
              </a:solidFill>
            </a:endParaRPr>
          </a:p>
        </p:txBody>
      </p:sp>
      <p:sp>
        <p:nvSpPr>
          <p:cNvPr id="12" name="Rectangle 11">
            <a:extLst>
              <a:ext uri="{FF2B5EF4-FFF2-40B4-BE49-F238E27FC236}">
                <a16:creationId xmlns:a16="http://schemas.microsoft.com/office/drawing/2014/main" id="{6AC0BE2F-E670-4C7D-B1A9-3FA03452F1AE}"/>
              </a:ext>
            </a:extLst>
          </p:cNvPr>
          <p:cNvSpPr/>
          <p:nvPr/>
        </p:nvSpPr>
        <p:spPr>
          <a:xfrm>
            <a:off x="11091927" y="2204407"/>
            <a:ext cx="1221659" cy="830997"/>
          </a:xfrm>
          <a:prstGeom prst="rect">
            <a:avLst/>
          </a:prstGeom>
        </p:spPr>
        <p:txBody>
          <a:bodyPr wrap="square">
            <a:spAutoFit/>
          </a:bodyPr>
          <a:lstStyle/>
          <a:p>
            <a:pPr lvl="0" algn="ctr">
              <a:buClr>
                <a:srgbClr val="FFFFFF"/>
              </a:buClr>
              <a:buSzPct val="100000"/>
            </a:pPr>
            <a:r>
              <a:rPr lang="en-GB" sz="1200" dirty="0">
                <a:solidFill>
                  <a:schemeClr val="accent6"/>
                </a:solidFill>
              </a:rPr>
              <a:t>More likely to trust the adverts seen in the cinema</a:t>
            </a:r>
            <a:r>
              <a:rPr lang="en-GB" sz="1200" baseline="30000" dirty="0">
                <a:solidFill>
                  <a:schemeClr val="accent6"/>
                </a:solidFill>
              </a:rPr>
              <a:t>2</a:t>
            </a:r>
            <a:endParaRPr lang="en-GB" sz="700" baseline="30000" dirty="0">
              <a:solidFill>
                <a:schemeClr val="accent6"/>
              </a:solidFill>
            </a:endParaRPr>
          </a:p>
        </p:txBody>
      </p:sp>
      <p:sp>
        <p:nvSpPr>
          <p:cNvPr id="13" name="Oval 12">
            <a:extLst>
              <a:ext uri="{FF2B5EF4-FFF2-40B4-BE49-F238E27FC236}">
                <a16:creationId xmlns:a16="http://schemas.microsoft.com/office/drawing/2014/main" id="{0B86AB5B-CC05-E0F7-B966-4BB74E0ECF4F}"/>
              </a:ext>
            </a:extLst>
          </p:cNvPr>
          <p:cNvSpPr>
            <a:spLocks noChangeAspect="1"/>
          </p:cNvSpPr>
          <p:nvPr/>
        </p:nvSpPr>
        <p:spPr>
          <a:xfrm>
            <a:off x="8985422" y="3880581"/>
            <a:ext cx="1824585" cy="1829423"/>
          </a:xfrm>
          <a:prstGeom prst="ellipse">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lvl="0" algn="ctr">
              <a:buClr>
                <a:srgbClr val="FFFFFF"/>
              </a:buClr>
              <a:buSzPct val="100000"/>
            </a:pPr>
            <a:r>
              <a:rPr lang="en-GB" sz="5400" cap="all" dirty="0">
                <a:solidFill>
                  <a:srgbClr val="FFFFFF"/>
                </a:solidFill>
                <a:latin typeface="Impact"/>
              </a:rPr>
              <a:t>41%</a:t>
            </a:r>
            <a:endParaRPr lang="en-GB" sz="2800" dirty="0">
              <a:solidFill>
                <a:schemeClr val="bg1"/>
              </a:solidFill>
            </a:endParaRPr>
          </a:p>
        </p:txBody>
      </p:sp>
      <p:sp>
        <p:nvSpPr>
          <p:cNvPr id="14" name="Rectangle 13">
            <a:extLst>
              <a:ext uri="{FF2B5EF4-FFF2-40B4-BE49-F238E27FC236}">
                <a16:creationId xmlns:a16="http://schemas.microsoft.com/office/drawing/2014/main" id="{7A06E532-4494-C84B-3C27-EB4F5403BDD3}"/>
              </a:ext>
            </a:extLst>
          </p:cNvPr>
          <p:cNvSpPr/>
          <p:nvPr/>
        </p:nvSpPr>
        <p:spPr>
          <a:xfrm>
            <a:off x="10965034" y="4039109"/>
            <a:ext cx="1475447" cy="1569660"/>
          </a:xfrm>
          <a:prstGeom prst="rect">
            <a:avLst/>
          </a:prstGeom>
        </p:spPr>
        <p:txBody>
          <a:bodyPr wrap="square">
            <a:spAutoFit/>
          </a:bodyPr>
          <a:lstStyle/>
          <a:p>
            <a:pPr lvl="0" algn="ctr">
              <a:buClr>
                <a:srgbClr val="FFFFFF"/>
              </a:buClr>
              <a:buSzPct val="100000"/>
            </a:pPr>
            <a:r>
              <a:rPr lang="en-GB" sz="1200" dirty="0">
                <a:solidFill>
                  <a:schemeClr val="accent6"/>
                </a:solidFill>
              </a:rPr>
              <a:t>More likely to recommend brands seen advertised in the cinema compared to any other platform e.g. TV or social media</a:t>
            </a:r>
            <a:r>
              <a:rPr lang="en-GB" sz="1200" baseline="30000" dirty="0">
                <a:solidFill>
                  <a:schemeClr val="accent6"/>
                </a:solidFill>
              </a:rPr>
              <a:t>3</a:t>
            </a:r>
            <a:endParaRPr lang="en-GB" sz="700" baseline="30000" dirty="0">
              <a:solidFill>
                <a:schemeClr val="accent6"/>
              </a:solidFill>
            </a:endParaRPr>
          </a:p>
        </p:txBody>
      </p:sp>
      <p:pic>
        <p:nvPicPr>
          <p:cNvPr id="16" name="Picture Placeholder 33" descr="A picture containing text, person, person, outdoor&#10;&#10;Description automatically generated">
            <a:extLst>
              <a:ext uri="{FF2B5EF4-FFF2-40B4-BE49-F238E27FC236}">
                <a16:creationId xmlns:a16="http://schemas.microsoft.com/office/drawing/2014/main" id="{595B6EDA-790D-C982-BBA6-4384A3C266A8}"/>
              </a:ext>
            </a:extLst>
          </p:cNvPr>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a:xfrm>
            <a:off x="4418922" y="1732397"/>
            <a:ext cx="3908617" cy="4096467"/>
          </a:xfrm>
          <a:prstGeom prst="rect">
            <a:avLst/>
          </a:prstGeom>
        </p:spPr>
      </p:pic>
    </p:spTree>
    <p:extLst>
      <p:ext uri="{BB962C8B-B14F-4D97-AF65-F5344CB8AC3E}">
        <p14:creationId xmlns:p14="http://schemas.microsoft.com/office/powerpoint/2010/main" val="1616559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EC604C8-DA25-4E17-AD53-C03B5779E127}"/>
              </a:ext>
            </a:extLst>
          </p:cNvPr>
          <p:cNvSpPr>
            <a:spLocks noGrp="1"/>
          </p:cNvSpPr>
          <p:nvPr>
            <p:ph type="title"/>
          </p:nvPr>
        </p:nvSpPr>
        <p:spPr/>
        <p:txBody>
          <a:bodyPr/>
          <a:lstStyle/>
          <a:p>
            <a:r>
              <a:rPr lang="en-GB" dirty="0"/>
              <a:t>The fight for attention</a:t>
            </a:r>
          </a:p>
        </p:txBody>
      </p:sp>
      <p:sp>
        <p:nvSpPr>
          <p:cNvPr id="8" name="Text Placeholder 7">
            <a:extLst>
              <a:ext uri="{FF2B5EF4-FFF2-40B4-BE49-F238E27FC236}">
                <a16:creationId xmlns:a16="http://schemas.microsoft.com/office/drawing/2014/main" id="{0407E781-6E09-4506-8909-A0C417AAC360}"/>
              </a:ext>
            </a:extLst>
          </p:cNvPr>
          <p:cNvSpPr>
            <a:spLocks noGrp="1"/>
          </p:cNvSpPr>
          <p:nvPr>
            <p:ph type="body" sz="quarter" idx="14"/>
          </p:nvPr>
        </p:nvSpPr>
        <p:spPr>
          <a:xfrm>
            <a:off x="284748" y="664058"/>
            <a:ext cx="11145252" cy="436608"/>
          </a:xfrm>
        </p:spPr>
        <p:txBody>
          <a:bodyPr/>
          <a:lstStyle/>
          <a:p>
            <a:pPr>
              <a:lnSpc>
                <a:spcPct val="100000"/>
              </a:lnSpc>
            </a:pPr>
            <a:r>
              <a:rPr lang="en-GB" dirty="0"/>
              <a:t>Younger adults are more likely to pay attention to adverts when shown in the cinema, followed by Internet &amp; OOH</a:t>
            </a:r>
          </a:p>
        </p:txBody>
      </p:sp>
      <p:sp>
        <p:nvSpPr>
          <p:cNvPr id="7" name="Text Placeholder 6">
            <a:extLst>
              <a:ext uri="{FF2B5EF4-FFF2-40B4-BE49-F238E27FC236}">
                <a16:creationId xmlns:a16="http://schemas.microsoft.com/office/drawing/2014/main" id="{8A24AF01-3C66-45E1-8929-C945A42D6538}"/>
              </a:ext>
            </a:extLst>
          </p:cNvPr>
          <p:cNvSpPr>
            <a:spLocks noGrp="1"/>
          </p:cNvSpPr>
          <p:nvPr>
            <p:ph type="body" sz="quarter" idx="11"/>
          </p:nvPr>
        </p:nvSpPr>
        <p:spPr>
          <a:xfrm>
            <a:off x="6736080" y="7209633"/>
            <a:ext cx="6562409" cy="206082"/>
          </a:xfrm>
        </p:spPr>
        <p:txBody>
          <a:bodyPr/>
          <a:lstStyle/>
          <a:p>
            <a:r>
              <a:rPr lang="en-GB" dirty="0"/>
              <a:t>Source: TGI GB 2022, Index vs avg. UK adult</a:t>
            </a:r>
          </a:p>
        </p:txBody>
      </p:sp>
      <p:graphicFrame>
        <p:nvGraphicFramePr>
          <p:cNvPr id="6" name="Chart 5">
            <a:extLst>
              <a:ext uri="{FF2B5EF4-FFF2-40B4-BE49-F238E27FC236}">
                <a16:creationId xmlns:a16="http://schemas.microsoft.com/office/drawing/2014/main" id="{D6106CF9-F318-49FE-974B-80E95CFC4FDA}"/>
              </a:ext>
            </a:extLst>
          </p:cNvPr>
          <p:cNvGraphicFramePr>
            <a:graphicFrameLocks/>
          </p:cNvGraphicFramePr>
          <p:nvPr>
            <p:extLst>
              <p:ext uri="{D42A27DB-BD31-4B8C-83A1-F6EECF244321}">
                <p14:modId xmlns:p14="http://schemas.microsoft.com/office/powerpoint/2010/main" val="3757157935"/>
              </p:ext>
            </p:extLst>
          </p:nvPr>
        </p:nvGraphicFramePr>
        <p:xfrm>
          <a:off x="270000" y="1100666"/>
          <a:ext cx="12540836" cy="554818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865445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EC604C8-DA25-4E17-AD53-C03B5779E127}"/>
              </a:ext>
            </a:extLst>
          </p:cNvPr>
          <p:cNvSpPr>
            <a:spLocks noGrp="1"/>
          </p:cNvSpPr>
          <p:nvPr>
            <p:ph type="title"/>
          </p:nvPr>
        </p:nvSpPr>
        <p:spPr/>
        <p:txBody>
          <a:bodyPr/>
          <a:lstStyle/>
          <a:p>
            <a:r>
              <a:rPr lang="en-GB" dirty="0"/>
              <a:t>Positive attitudes towards the cinematic experience</a:t>
            </a:r>
          </a:p>
        </p:txBody>
      </p:sp>
      <p:sp>
        <p:nvSpPr>
          <p:cNvPr id="8" name="Text Placeholder 7">
            <a:extLst>
              <a:ext uri="{FF2B5EF4-FFF2-40B4-BE49-F238E27FC236}">
                <a16:creationId xmlns:a16="http://schemas.microsoft.com/office/drawing/2014/main" id="{0407E781-6E09-4506-8909-A0C417AAC360}"/>
              </a:ext>
            </a:extLst>
          </p:cNvPr>
          <p:cNvSpPr>
            <a:spLocks noGrp="1"/>
          </p:cNvSpPr>
          <p:nvPr>
            <p:ph type="body" sz="quarter" idx="14"/>
          </p:nvPr>
        </p:nvSpPr>
        <p:spPr>
          <a:xfrm>
            <a:off x="284747" y="664058"/>
            <a:ext cx="12324855" cy="436608"/>
          </a:xfrm>
        </p:spPr>
        <p:txBody>
          <a:bodyPr/>
          <a:lstStyle/>
          <a:p>
            <a:pPr>
              <a:lnSpc>
                <a:spcPct val="100000"/>
              </a:lnSpc>
            </a:pPr>
            <a:r>
              <a:rPr lang="en-GB" dirty="0"/>
              <a:t>In addition to paying more attention, younger adults feel more positive reasons for going to the cinema compared to other top performing media </a:t>
            </a:r>
          </a:p>
          <a:p>
            <a:pPr>
              <a:lnSpc>
                <a:spcPct val="100000"/>
              </a:lnSpc>
            </a:pPr>
            <a:endParaRPr lang="en-GB" dirty="0"/>
          </a:p>
        </p:txBody>
      </p:sp>
      <p:sp>
        <p:nvSpPr>
          <p:cNvPr id="7" name="Text Placeholder 6">
            <a:extLst>
              <a:ext uri="{FF2B5EF4-FFF2-40B4-BE49-F238E27FC236}">
                <a16:creationId xmlns:a16="http://schemas.microsoft.com/office/drawing/2014/main" id="{8A24AF01-3C66-45E1-8929-C945A42D6538}"/>
              </a:ext>
            </a:extLst>
          </p:cNvPr>
          <p:cNvSpPr>
            <a:spLocks noGrp="1"/>
          </p:cNvSpPr>
          <p:nvPr>
            <p:ph type="body" sz="quarter" idx="11"/>
          </p:nvPr>
        </p:nvSpPr>
        <p:spPr>
          <a:xfrm>
            <a:off x="6736080" y="7209633"/>
            <a:ext cx="6562409" cy="206082"/>
          </a:xfrm>
        </p:spPr>
        <p:txBody>
          <a:bodyPr/>
          <a:lstStyle/>
          <a:p>
            <a:r>
              <a:rPr lang="en-GB" dirty="0"/>
              <a:t>Source: TGI GB 2022, Index 1634 adults who have visited a cinema in the past year vs all adults</a:t>
            </a:r>
          </a:p>
        </p:txBody>
      </p:sp>
      <p:graphicFrame>
        <p:nvGraphicFramePr>
          <p:cNvPr id="6" name="Chart 5">
            <a:extLst>
              <a:ext uri="{FF2B5EF4-FFF2-40B4-BE49-F238E27FC236}">
                <a16:creationId xmlns:a16="http://schemas.microsoft.com/office/drawing/2014/main" id="{D6106CF9-F318-49FE-974B-80E95CFC4FDA}"/>
              </a:ext>
            </a:extLst>
          </p:cNvPr>
          <p:cNvGraphicFramePr>
            <a:graphicFrameLocks/>
          </p:cNvGraphicFramePr>
          <p:nvPr>
            <p:extLst>
              <p:ext uri="{D42A27DB-BD31-4B8C-83A1-F6EECF244321}">
                <p14:modId xmlns:p14="http://schemas.microsoft.com/office/powerpoint/2010/main" val="1587682672"/>
              </p:ext>
            </p:extLst>
          </p:nvPr>
        </p:nvGraphicFramePr>
        <p:xfrm>
          <a:off x="358488" y="1315026"/>
          <a:ext cx="12324855" cy="546210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005088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EC604C8-DA25-4E17-AD53-C03B5779E127}"/>
              </a:ext>
            </a:extLst>
          </p:cNvPr>
          <p:cNvSpPr>
            <a:spLocks noGrp="1"/>
          </p:cNvSpPr>
          <p:nvPr>
            <p:ph type="title"/>
          </p:nvPr>
        </p:nvSpPr>
        <p:spPr/>
        <p:txBody>
          <a:bodyPr/>
          <a:lstStyle/>
          <a:p>
            <a:r>
              <a:rPr lang="en-GB" dirty="0"/>
              <a:t>The hype </a:t>
            </a:r>
            <a:r>
              <a:rPr lang="en-GB" sz="3600" dirty="0"/>
              <a:t>&amp;</a:t>
            </a:r>
            <a:r>
              <a:rPr lang="en-GB" dirty="0"/>
              <a:t> shared experience of cinema</a:t>
            </a:r>
          </a:p>
        </p:txBody>
      </p:sp>
      <p:sp>
        <p:nvSpPr>
          <p:cNvPr id="8" name="Text Placeholder 7">
            <a:extLst>
              <a:ext uri="{FF2B5EF4-FFF2-40B4-BE49-F238E27FC236}">
                <a16:creationId xmlns:a16="http://schemas.microsoft.com/office/drawing/2014/main" id="{0407E781-6E09-4506-8909-A0C417AAC360}"/>
              </a:ext>
            </a:extLst>
          </p:cNvPr>
          <p:cNvSpPr>
            <a:spLocks noGrp="1"/>
          </p:cNvSpPr>
          <p:nvPr>
            <p:ph type="body" sz="quarter" idx="14"/>
          </p:nvPr>
        </p:nvSpPr>
        <p:spPr>
          <a:xfrm>
            <a:off x="284747" y="664058"/>
            <a:ext cx="12636925" cy="436608"/>
          </a:xfrm>
        </p:spPr>
        <p:txBody>
          <a:bodyPr/>
          <a:lstStyle/>
          <a:p>
            <a:pPr>
              <a:lnSpc>
                <a:spcPct val="100000"/>
              </a:lnSpc>
            </a:pPr>
            <a:r>
              <a:rPr lang="en-GB" dirty="0"/>
              <a:t>16-34 audience want to see the latest films first, ensuring they don’t miss the out on what their friends are talking about, and the cinema is all about the collective experience of watching it together. </a:t>
            </a:r>
            <a:endParaRPr lang="en-US" dirty="0"/>
          </a:p>
          <a:p>
            <a:pPr>
              <a:lnSpc>
                <a:spcPct val="100000"/>
              </a:lnSpc>
            </a:pPr>
            <a:endParaRPr lang="en-GB" dirty="0"/>
          </a:p>
        </p:txBody>
      </p:sp>
      <p:sp>
        <p:nvSpPr>
          <p:cNvPr id="7" name="Text Placeholder 6">
            <a:extLst>
              <a:ext uri="{FF2B5EF4-FFF2-40B4-BE49-F238E27FC236}">
                <a16:creationId xmlns:a16="http://schemas.microsoft.com/office/drawing/2014/main" id="{8A24AF01-3C66-45E1-8929-C945A42D6538}"/>
              </a:ext>
            </a:extLst>
          </p:cNvPr>
          <p:cNvSpPr>
            <a:spLocks noGrp="1"/>
          </p:cNvSpPr>
          <p:nvPr>
            <p:ph type="body" sz="quarter" idx="11"/>
          </p:nvPr>
        </p:nvSpPr>
        <p:spPr>
          <a:xfrm>
            <a:off x="8451273" y="7291263"/>
            <a:ext cx="4832611" cy="312218"/>
          </a:xfrm>
        </p:spPr>
        <p:txBody>
          <a:bodyPr/>
          <a:lstStyle/>
          <a:p>
            <a:pPr>
              <a:lnSpc>
                <a:spcPct val="100000"/>
              </a:lnSpc>
            </a:pPr>
            <a:r>
              <a:rPr lang="en-GB" dirty="0"/>
              <a:t>Source: FAME 2021.  How long after the release date did you watch your last film at the cinema? </a:t>
            </a:r>
          </a:p>
          <a:p>
            <a:pPr>
              <a:lnSpc>
                <a:spcPct val="100000"/>
              </a:lnSpc>
            </a:pPr>
            <a:r>
              <a:rPr lang="en-GB" dirty="0"/>
              <a:t>Index vs. average UK cinemagoer (7+).  </a:t>
            </a:r>
            <a:endParaRPr lang="en-US" dirty="0"/>
          </a:p>
          <a:p>
            <a:endParaRPr lang="en-GB" dirty="0"/>
          </a:p>
        </p:txBody>
      </p:sp>
      <p:sp>
        <p:nvSpPr>
          <p:cNvPr id="18" name="Text Placeholder 10">
            <a:extLst>
              <a:ext uri="{FF2B5EF4-FFF2-40B4-BE49-F238E27FC236}">
                <a16:creationId xmlns:a16="http://schemas.microsoft.com/office/drawing/2014/main" id="{B730E047-EAEA-3236-FE31-1F012A293EB3}"/>
              </a:ext>
            </a:extLst>
          </p:cNvPr>
          <p:cNvSpPr txBox="1">
            <a:spLocks/>
          </p:cNvSpPr>
          <p:nvPr/>
        </p:nvSpPr>
        <p:spPr>
          <a:xfrm>
            <a:off x="1664751" y="5594413"/>
            <a:ext cx="4270618" cy="970474"/>
          </a:xfrm>
          <a:prstGeom prst="rect">
            <a:avLst/>
          </a:prstGeom>
        </p:spPr>
        <p:txBody>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1200" b="1" i="0" u="none" strike="noStrike" kern="1200" cap="none" spc="0" normalizeH="0" baseline="0" noProof="0" dirty="0">
                <a:ln>
                  <a:noFill/>
                </a:ln>
                <a:solidFill>
                  <a:srgbClr val="8A8A8D"/>
                </a:solidFill>
                <a:effectLst/>
                <a:uLnTx/>
                <a:uFillTx/>
                <a:latin typeface="Arial"/>
                <a:ea typeface="+mn-ea"/>
                <a:cs typeface="+mn-cs"/>
              </a:rPr>
              <a:t>“I </a:t>
            </a:r>
            <a:r>
              <a:rPr lang="en-GB" sz="1200" dirty="0">
                <a:solidFill>
                  <a:srgbClr val="8A8A8D"/>
                </a:solidFill>
                <a:latin typeface="Arial"/>
              </a:rPr>
              <a:t>feel left out if my friends are talking about a film I have not seen</a:t>
            </a:r>
            <a:r>
              <a:rPr kumimoji="0" lang="en-GB" sz="1200" b="1" i="0" u="none" strike="noStrike" kern="1200" cap="none" spc="0" normalizeH="0" baseline="0" noProof="0" dirty="0">
                <a:ln>
                  <a:noFill/>
                </a:ln>
                <a:solidFill>
                  <a:srgbClr val="8A8A8D"/>
                </a:solidFill>
                <a:effectLst/>
                <a:uLnTx/>
                <a:uFillTx/>
                <a:latin typeface="Arial"/>
                <a:ea typeface="+mn-ea"/>
                <a:cs typeface="+mn-cs"/>
              </a:rPr>
              <a:t>”</a:t>
            </a:r>
          </a:p>
          <a:p>
            <a:pPr marL="0" marR="0" lvl="0" indent="0" algn="ctr"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700" b="0" i="1" u="none" strike="noStrike" kern="1200" cap="none" spc="0" normalizeH="0" baseline="0" noProof="0" dirty="0">
                <a:ln>
                  <a:noFill/>
                </a:ln>
                <a:solidFill>
                  <a:srgbClr val="8A8A8D"/>
                </a:solidFill>
                <a:effectLst/>
                <a:uLnTx/>
                <a:uFillTx/>
                <a:latin typeface="Arial"/>
                <a:ea typeface="+mn-ea"/>
                <a:cs typeface="+mn-cs"/>
              </a:rPr>
              <a:t>(Index: 129)</a:t>
            </a:r>
            <a:endParaRPr kumimoji="0" lang="en-US" sz="900" b="0" i="1" u="none" strike="noStrike" kern="1200" cap="none" spc="0" normalizeH="0" baseline="0" noProof="0" dirty="0">
              <a:ln>
                <a:noFill/>
              </a:ln>
              <a:solidFill>
                <a:srgbClr val="8A8A8D"/>
              </a:solidFill>
              <a:effectLst/>
              <a:uLnTx/>
              <a:uFillTx/>
              <a:latin typeface="Arial"/>
              <a:ea typeface="+mn-ea"/>
              <a:cs typeface="+mn-cs"/>
            </a:endParaRPr>
          </a:p>
        </p:txBody>
      </p:sp>
      <p:sp>
        <p:nvSpPr>
          <p:cNvPr id="12" name="Oval 11">
            <a:extLst>
              <a:ext uri="{FF2B5EF4-FFF2-40B4-BE49-F238E27FC236}">
                <a16:creationId xmlns:a16="http://schemas.microsoft.com/office/drawing/2014/main" id="{70A0ACC9-4741-C404-820D-6B314754B039}"/>
              </a:ext>
            </a:extLst>
          </p:cNvPr>
          <p:cNvSpPr/>
          <p:nvPr/>
        </p:nvSpPr>
        <p:spPr>
          <a:xfrm>
            <a:off x="7223187" y="1738698"/>
            <a:ext cx="3592595" cy="3530654"/>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lvl="0" algn="ctr">
              <a:buClr>
                <a:srgbClr val="FFFFFF"/>
              </a:buClr>
              <a:buSzPct val="100000"/>
            </a:pPr>
            <a:r>
              <a:rPr lang="en-GB" sz="7200" cap="all" dirty="0">
                <a:solidFill>
                  <a:srgbClr val="FFFFFF"/>
                </a:solidFill>
                <a:latin typeface="Impact"/>
              </a:rPr>
              <a:t>60%</a:t>
            </a:r>
          </a:p>
        </p:txBody>
      </p:sp>
      <p:sp>
        <p:nvSpPr>
          <p:cNvPr id="23" name="Text Placeholder 10">
            <a:extLst>
              <a:ext uri="{FF2B5EF4-FFF2-40B4-BE49-F238E27FC236}">
                <a16:creationId xmlns:a16="http://schemas.microsoft.com/office/drawing/2014/main" id="{BBF314B7-CE3E-11B3-BF70-096DB9837759}"/>
              </a:ext>
            </a:extLst>
          </p:cNvPr>
          <p:cNvSpPr txBox="1">
            <a:spLocks/>
          </p:cNvSpPr>
          <p:nvPr/>
        </p:nvSpPr>
        <p:spPr>
          <a:xfrm>
            <a:off x="6738811" y="5594413"/>
            <a:ext cx="4561346" cy="970474"/>
          </a:xfrm>
          <a:prstGeom prst="rect">
            <a:avLst/>
          </a:prstGeom>
        </p:spPr>
        <p:txBody>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1200" b="1" i="0" u="none" strike="noStrike" kern="1200" cap="none" spc="0" normalizeH="0" baseline="0" noProof="0" dirty="0">
                <a:ln>
                  <a:noFill/>
                </a:ln>
                <a:solidFill>
                  <a:srgbClr val="8A8A8D"/>
                </a:solidFill>
                <a:effectLst/>
                <a:uLnTx/>
                <a:uFillTx/>
                <a:latin typeface="Arial"/>
                <a:ea typeface="+mn-ea"/>
                <a:cs typeface="+mn-cs"/>
              </a:rPr>
              <a:t>Watch a new film </a:t>
            </a:r>
            <a:r>
              <a:rPr lang="en-GB" sz="1200" dirty="0">
                <a:solidFill>
                  <a:srgbClr val="8A8A8D"/>
                </a:solidFill>
                <a:latin typeface="Arial"/>
              </a:rPr>
              <a:t>on its opening night</a:t>
            </a:r>
            <a:endParaRPr kumimoji="0" lang="en-GB" sz="1200" b="1" i="0" u="none" strike="noStrike" kern="1200" cap="none" spc="0" normalizeH="0" baseline="0" noProof="0" dirty="0">
              <a:ln>
                <a:noFill/>
              </a:ln>
              <a:solidFill>
                <a:srgbClr val="8A8A8D"/>
              </a:solidFill>
              <a:effectLst/>
              <a:uLnTx/>
              <a:uFillTx/>
              <a:latin typeface="Arial"/>
              <a:ea typeface="+mn-ea"/>
              <a:cs typeface="+mn-cs"/>
            </a:endParaRPr>
          </a:p>
          <a:p>
            <a:pPr marL="0" marR="0" lvl="0" indent="0" algn="ctr"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700" b="0" i="1" u="none" strike="noStrike" kern="1200" cap="none" spc="0" normalizeH="0" baseline="0" noProof="0" dirty="0">
                <a:ln>
                  <a:noFill/>
                </a:ln>
                <a:solidFill>
                  <a:srgbClr val="8A8A8D"/>
                </a:solidFill>
                <a:effectLst/>
                <a:uLnTx/>
                <a:uFillTx/>
                <a:latin typeface="Arial"/>
                <a:ea typeface="+mn-ea"/>
                <a:cs typeface="+mn-cs"/>
              </a:rPr>
              <a:t>(Index: 129)</a:t>
            </a:r>
            <a:endParaRPr kumimoji="0" lang="en-US" sz="900" b="0" i="1" u="none" strike="noStrike" kern="1200" cap="none" spc="0" normalizeH="0" baseline="0" noProof="0" dirty="0">
              <a:ln>
                <a:noFill/>
              </a:ln>
              <a:solidFill>
                <a:srgbClr val="8A8A8D"/>
              </a:solidFill>
              <a:effectLst/>
              <a:uLnTx/>
              <a:uFillTx/>
              <a:latin typeface="Arial"/>
              <a:ea typeface="+mn-ea"/>
              <a:cs typeface="+mn-cs"/>
            </a:endParaRPr>
          </a:p>
        </p:txBody>
      </p:sp>
      <p:sp>
        <p:nvSpPr>
          <p:cNvPr id="13" name="Oval 12">
            <a:extLst>
              <a:ext uri="{FF2B5EF4-FFF2-40B4-BE49-F238E27FC236}">
                <a16:creationId xmlns:a16="http://schemas.microsoft.com/office/drawing/2014/main" id="{164A33DA-3D04-1AC1-E719-CF7355F622DB}"/>
              </a:ext>
            </a:extLst>
          </p:cNvPr>
          <p:cNvSpPr/>
          <p:nvPr/>
        </p:nvSpPr>
        <p:spPr>
          <a:xfrm>
            <a:off x="2003762" y="1738698"/>
            <a:ext cx="3592595" cy="3530654"/>
          </a:xfrm>
          <a:prstGeom prst="ellipse">
            <a:avLst/>
          </a:prstGeom>
          <a:solidFill>
            <a:schemeClr val="tx1">
              <a:lumMod val="50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lvl="0" algn="ctr">
              <a:buClr>
                <a:srgbClr val="FFFFFF"/>
              </a:buClr>
              <a:buSzPct val="100000"/>
            </a:pPr>
            <a:r>
              <a:rPr lang="en-GB" sz="7200" cap="all" dirty="0">
                <a:solidFill>
                  <a:srgbClr val="FFFFFF"/>
                </a:solidFill>
                <a:latin typeface="Impact"/>
              </a:rPr>
              <a:t>50%</a:t>
            </a:r>
          </a:p>
        </p:txBody>
      </p:sp>
    </p:spTree>
    <p:extLst>
      <p:ext uri="{BB962C8B-B14F-4D97-AF65-F5344CB8AC3E}">
        <p14:creationId xmlns:p14="http://schemas.microsoft.com/office/powerpoint/2010/main" val="4286416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EC604C8-DA25-4E17-AD53-C03B5779E127}"/>
              </a:ext>
            </a:extLst>
          </p:cNvPr>
          <p:cNvSpPr>
            <a:spLocks noGrp="1"/>
          </p:cNvSpPr>
          <p:nvPr>
            <p:ph type="title"/>
          </p:nvPr>
        </p:nvSpPr>
        <p:spPr/>
        <p:txBody>
          <a:bodyPr/>
          <a:lstStyle/>
          <a:p>
            <a:r>
              <a:rPr lang="en-GB" dirty="0"/>
              <a:t>16-34s want to see the latest blockbusters first</a:t>
            </a:r>
          </a:p>
        </p:txBody>
      </p:sp>
      <p:sp>
        <p:nvSpPr>
          <p:cNvPr id="8" name="Text Placeholder 7">
            <a:extLst>
              <a:ext uri="{FF2B5EF4-FFF2-40B4-BE49-F238E27FC236}">
                <a16:creationId xmlns:a16="http://schemas.microsoft.com/office/drawing/2014/main" id="{0407E781-6E09-4506-8909-A0C417AAC360}"/>
              </a:ext>
            </a:extLst>
          </p:cNvPr>
          <p:cNvSpPr>
            <a:spLocks noGrp="1"/>
          </p:cNvSpPr>
          <p:nvPr>
            <p:ph type="body" sz="quarter" idx="14"/>
          </p:nvPr>
        </p:nvSpPr>
        <p:spPr>
          <a:xfrm>
            <a:off x="284747" y="664058"/>
            <a:ext cx="12636925" cy="436608"/>
          </a:xfrm>
        </p:spPr>
        <p:txBody>
          <a:bodyPr/>
          <a:lstStyle/>
          <a:p>
            <a:r>
              <a:rPr lang="en-GB" dirty="0"/>
              <a:t>16-34s come out early and make up the majority of the audience in a blockbuster's opening week.</a:t>
            </a:r>
            <a:endParaRPr lang="en-US" dirty="0"/>
          </a:p>
          <a:p>
            <a:pPr>
              <a:lnSpc>
                <a:spcPct val="100000"/>
              </a:lnSpc>
            </a:pPr>
            <a:endParaRPr lang="en-GB" dirty="0"/>
          </a:p>
        </p:txBody>
      </p:sp>
      <p:sp>
        <p:nvSpPr>
          <p:cNvPr id="7" name="Text Placeholder 6">
            <a:extLst>
              <a:ext uri="{FF2B5EF4-FFF2-40B4-BE49-F238E27FC236}">
                <a16:creationId xmlns:a16="http://schemas.microsoft.com/office/drawing/2014/main" id="{8A24AF01-3C66-45E1-8929-C945A42D6538}"/>
              </a:ext>
            </a:extLst>
          </p:cNvPr>
          <p:cNvSpPr>
            <a:spLocks noGrp="1"/>
          </p:cNvSpPr>
          <p:nvPr>
            <p:ph type="body" sz="quarter" idx="11"/>
          </p:nvPr>
        </p:nvSpPr>
        <p:spPr>
          <a:xfrm>
            <a:off x="6759719" y="7071392"/>
            <a:ext cx="6562409" cy="449739"/>
          </a:xfrm>
        </p:spPr>
        <p:txBody>
          <a:bodyPr/>
          <a:lstStyle/>
          <a:p>
            <a:r>
              <a:rPr lang="en-GB" dirty="0"/>
              <a:t>Source: FAME 2021</a:t>
            </a:r>
          </a:p>
          <a:p>
            <a:r>
              <a:rPr lang="en-GB" dirty="0"/>
              <a:t>Film Monitor Data 2022 W1 </a:t>
            </a:r>
          </a:p>
        </p:txBody>
      </p:sp>
      <p:graphicFrame>
        <p:nvGraphicFramePr>
          <p:cNvPr id="13" name="Chart 12">
            <a:extLst>
              <a:ext uri="{FF2B5EF4-FFF2-40B4-BE49-F238E27FC236}">
                <a16:creationId xmlns:a16="http://schemas.microsoft.com/office/drawing/2014/main" id="{71E0941C-2151-FD0A-5D7E-E93058289F30}"/>
              </a:ext>
            </a:extLst>
          </p:cNvPr>
          <p:cNvGraphicFramePr>
            <a:graphicFrameLocks/>
          </p:cNvGraphicFramePr>
          <p:nvPr>
            <p:extLst>
              <p:ext uri="{D42A27DB-BD31-4B8C-83A1-F6EECF244321}">
                <p14:modId xmlns:p14="http://schemas.microsoft.com/office/powerpoint/2010/main" val="1016890569"/>
              </p:ext>
            </p:extLst>
          </p:nvPr>
        </p:nvGraphicFramePr>
        <p:xfrm>
          <a:off x="493901" y="1293091"/>
          <a:ext cx="11893540" cy="5349447"/>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Box 18">
            <a:extLst>
              <a:ext uri="{FF2B5EF4-FFF2-40B4-BE49-F238E27FC236}">
                <a16:creationId xmlns:a16="http://schemas.microsoft.com/office/drawing/2014/main" id="{F87395DE-8147-5D3A-3127-7468D861E2CE}"/>
              </a:ext>
            </a:extLst>
          </p:cNvPr>
          <p:cNvSpPr txBox="1"/>
          <p:nvPr/>
        </p:nvSpPr>
        <p:spPr>
          <a:xfrm>
            <a:off x="11536396" y="3915256"/>
            <a:ext cx="1246154" cy="600164"/>
          </a:xfrm>
          <a:prstGeom prst="rect">
            <a:avLst/>
          </a:prstGeom>
          <a:noFill/>
          <a:ln>
            <a:noFill/>
          </a:ln>
        </p:spPr>
        <p:txBody>
          <a:bodyPr wrap="square" rtlCol="0" anchor="ctr">
            <a:spAutoFit/>
          </a:bodyPr>
          <a:lstStyle/>
          <a:p>
            <a:pPr algn="ctr"/>
            <a:r>
              <a:rPr lang="en-GB" sz="1100" dirty="0">
                <a:solidFill>
                  <a:schemeClr val="bg1">
                    <a:lumMod val="50000"/>
                    <a:lumOff val="50000"/>
                  </a:schemeClr>
                </a:solidFill>
              </a:rPr>
              <a:t>28% of GB population are 16-34s</a:t>
            </a:r>
          </a:p>
        </p:txBody>
      </p:sp>
    </p:spTree>
    <p:extLst>
      <p:ext uri="{BB962C8B-B14F-4D97-AF65-F5344CB8AC3E}">
        <p14:creationId xmlns:p14="http://schemas.microsoft.com/office/powerpoint/2010/main" val="807364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5B912D56-55E9-024D-963F-6C912635892B}"/>
    </a:ext>
  </a:extLst>
</a:theme>
</file>

<file path=ppt/theme/theme10.xml><?xml version="1.0" encoding="utf-8"?>
<a:theme xmlns:a="http://schemas.openxmlformats.org/drawingml/2006/main" name="Colour background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9B81A428-C4B1-F642-88AE-8ED774BA0FC3}"/>
    </a:ext>
  </a:extLst>
</a:theme>
</file>

<file path=ppt/theme/theme11.xml><?xml version="1.0" encoding="utf-8"?>
<a:theme xmlns:a="http://schemas.openxmlformats.org/drawingml/2006/main" name="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12.xml><?xml version="1.0" encoding="utf-8"?>
<a:theme xmlns:a="http://schemas.openxmlformats.org/drawingml/2006/main" name="1_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5B912D56-55E9-024D-963F-6C912635892B}"/>
    </a:ext>
  </a:extLst>
</a:theme>
</file>

<file path=ppt/theme/theme13.xml><?xml version="1.0" encoding="utf-8"?>
<a:theme xmlns:a="http://schemas.openxmlformats.org/drawingml/2006/main" name="1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2701653-4465-F94D-97F9-4C49C5F07FCB}"/>
    </a:ext>
  </a:extLst>
</a:theme>
</file>

<file path=ppt/theme/theme14.xml><?xml version="1.0" encoding="utf-8"?>
<a:theme xmlns:a="http://schemas.openxmlformats.org/drawingml/2006/main" name="2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15.xml><?xml version="1.0" encoding="utf-8"?>
<a:theme xmlns:a="http://schemas.openxmlformats.org/drawingml/2006/main" name="1_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39CE8977-1B51-3943-9CDA-1946ADC91368}"/>
    </a:ext>
  </a:extLst>
</a:theme>
</file>

<file path=ppt/theme/theme16.xml><?xml version="1.0" encoding="utf-8"?>
<a:theme xmlns:a="http://schemas.openxmlformats.org/drawingml/2006/main" name="3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17.xml><?xml version="1.0" encoding="utf-8"?>
<a:theme xmlns:a="http://schemas.openxmlformats.org/drawingml/2006/main" name="1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6BC1A207-515F-42D6-BF08-B5CF753DA50C}"/>
    </a:ext>
  </a:extLst>
</a:theme>
</file>

<file path=ppt/theme/theme18.xml><?xml version="1.0" encoding="utf-8"?>
<a:theme xmlns:a="http://schemas.openxmlformats.org/drawingml/2006/main" name="2_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39CE8977-1B51-3943-9CDA-1946ADC91368}"/>
    </a:ext>
  </a:extLst>
</a:theme>
</file>

<file path=ppt/theme/theme19.xml><?xml version="1.0" encoding="utf-8"?>
<a:theme xmlns:a="http://schemas.openxmlformats.org/drawingml/2006/main" name="4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2701653-4465-F94D-97F9-4C49C5F07FCB}"/>
    </a:ext>
  </a:extLst>
</a:theme>
</file>

<file path=ppt/theme/theme2.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94EAF0B-F199-7242-A2F1-D1FA5FD15D7B}"/>
    </a:ext>
  </a:extLst>
</a:theme>
</file>

<file path=ppt/theme/theme20.xml><?xml version="1.0" encoding="utf-8"?>
<a:theme xmlns:a="http://schemas.openxmlformats.org/drawingml/2006/main" name="5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F42B4113-7D75-1742-BAD8-F2115512947F}"/>
    </a:ext>
  </a:extLst>
</a:theme>
</file>

<file path=ppt/theme/theme21.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2.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2701653-4465-F94D-97F9-4C49C5F07FCB}"/>
    </a:ext>
  </a:extLst>
</a:theme>
</file>

<file path=ppt/theme/theme4.xml><?xml version="1.0" encoding="utf-8"?>
<a:theme xmlns:a="http://schemas.openxmlformats.org/drawingml/2006/main" name="Quot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7EC78B1C-5D69-4949-9B2C-D1A06225736E}"/>
    </a:ext>
  </a:extLst>
</a:theme>
</file>

<file path=ppt/theme/theme5.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39CE8977-1B51-3943-9CDA-1946ADC91368}"/>
    </a:ext>
  </a:extLst>
</a:theme>
</file>

<file path=ppt/theme/theme6.xml><?xml version="1.0" encoding="utf-8"?>
<a:theme xmlns:a="http://schemas.openxmlformats.org/drawingml/2006/main" name="Co-branding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361EAB93-89FC-7C45-A263-CCB4337C1C1A}"/>
    </a:ext>
  </a:extLst>
</a:theme>
</file>

<file path=ppt/theme/theme7.xml><?xml version="1.0" encoding="utf-8"?>
<a:theme xmlns:a="http://schemas.openxmlformats.org/drawingml/2006/main" name="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B2B0FD12-3727-E94A-BBF9-50CA084E2676}"/>
    </a:ext>
  </a:extLst>
</a:theme>
</file>

<file path=ppt/theme/theme8.xml><?xml version="1.0" encoding="utf-8"?>
<a:theme xmlns:a="http://schemas.openxmlformats.org/drawingml/2006/main" name="Charts and Graphs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36535D1B-DEC1-D540-9F33-D202B6B25608}"/>
    </a:ext>
  </a:extLst>
</a:theme>
</file>

<file path=ppt/theme/theme9.xml><?xml version="1.0" encoding="utf-8"?>
<a:theme xmlns:a="http://schemas.openxmlformats.org/drawingml/2006/main" name="Appendix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638900D9-EBF9-0D4A-AE83-BD423BA4FCEE}"/>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09F23741BBCA54397EFDC35C09C6FCF" ma:contentTypeVersion="10" ma:contentTypeDescription="Create a new document." ma:contentTypeScope="" ma:versionID="1ae245701c03476301fca16cfba603ce">
  <xsd:schema xmlns:xsd="http://www.w3.org/2001/XMLSchema" xmlns:xs="http://www.w3.org/2001/XMLSchema" xmlns:p="http://schemas.microsoft.com/office/2006/metadata/properties" xmlns:ns3="66538f08-eb5f-4e7d-99af-536f52b30331" targetNamespace="http://schemas.microsoft.com/office/2006/metadata/properties" ma:root="true" ma:fieldsID="090e22d7464973e6ecb4106a529bf842" ns3:_="">
    <xsd:import namespace="66538f08-eb5f-4e7d-99af-536f52b30331"/>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6538f08-eb5f-4e7d-99af-536f52b30331"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AutoTags" ma:index="11" nillable="true" ma:displayName="MediaServiceAutoTags" ma:description="" ma:internalName="MediaServiceAutoTags" ma:readOnly="true">
      <xsd:simpleType>
        <xsd:restriction base="dms:Text"/>
      </xsd:simpleType>
    </xsd:element>
    <xsd:element name="MediaServiceLocation" ma:index="12" nillable="true" ma:displayName="MediaServiceLocation" ma:description="" ma:internalName="MediaServiceLocatio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BF37A1-1610-4652-80BD-E15D68A9DA2E}">
  <ds:schemaRefs>
    <ds:schemaRef ds:uri="http://schemas.microsoft.com/sharepoint/v3/contenttype/forms"/>
  </ds:schemaRefs>
</ds:datastoreItem>
</file>

<file path=customXml/itemProps2.xml><?xml version="1.0" encoding="utf-8"?>
<ds:datastoreItem xmlns:ds="http://schemas.openxmlformats.org/officeDocument/2006/customXml" ds:itemID="{9027EB8A-624C-40FB-A4FC-C1360BD36074}">
  <ds:schemaRefs>
    <ds:schemaRef ds:uri="http://purl.org/dc/terms/"/>
    <ds:schemaRef ds:uri="http://schemas.openxmlformats.org/package/2006/metadata/core-properties"/>
    <ds:schemaRef ds:uri="http://purl.org/dc/dcmitype/"/>
    <ds:schemaRef ds:uri="66538f08-eb5f-4e7d-99af-536f52b30331"/>
    <ds:schemaRef ds:uri="http://schemas.microsoft.com/office/2006/documentManagement/types"/>
    <ds:schemaRef ds:uri="http://purl.org/dc/elements/1.1/"/>
    <ds:schemaRef ds:uri="http://schemas.microsoft.com/office/2006/metadata/properties"/>
    <ds:schemaRef ds:uri="http://schemas.microsoft.com/office/infopath/2007/PartnerControls"/>
    <ds:schemaRef ds:uri="http://www.w3.org/XML/1998/namespace"/>
  </ds:schemaRefs>
</ds:datastoreItem>
</file>

<file path=customXml/itemProps3.xml><?xml version="1.0" encoding="utf-8"?>
<ds:datastoreItem xmlns:ds="http://schemas.openxmlformats.org/officeDocument/2006/customXml" ds:itemID="{7BE3D713-4586-4B3E-86DA-B43AC477891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6538f08-eb5f-4e7d-99af-536f52b303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500</Words>
  <Application>Microsoft Office PowerPoint</Application>
  <PresentationFormat>Custom</PresentationFormat>
  <Paragraphs>203</Paragraphs>
  <Slides>15</Slides>
  <Notes>8</Notes>
  <HiddenSlides>0</HiddenSlides>
  <MMClips>0</MMClips>
  <ScaleCrop>false</ScaleCrop>
  <HeadingPairs>
    <vt:vector size="8" baseType="variant">
      <vt:variant>
        <vt:lpstr>Fonts Used</vt:lpstr>
      </vt:variant>
      <vt:variant>
        <vt:i4>5</vt:i4>
      </vt:variant>
      <vt:variant>
        <vt:lpstr>Theme</vt:lpstr>
      </vt:variant>
      <vt:variant>
        <vt:i4>20</vt:i4>
      </vt:variant>
      <vt:variant>
        <vt:lpstr>Embedded OLE Servers</vt:lpstr>
      </vt:variant>
      <vt:variant>
        <vt:i4>1</vt:i4>
      </vt:variant>
      <vt:variant>
        <vt:lpstr>Slide Titles</vt:lpstr>
      </vt:variant>
      <vt:variant>
        <vt:i4>15</vt:i4>
      </vt:variant>
    </vt:vector>
  </HeadingPairs>
  <TitlesOfParts>
    <vt:vector size="41" baseType="lpstr">
      <vt:lpstr>Arial</vt:lpstr>
      <vt:lpstr>Century Gothic</vt:lpstr>
      <vt:lpstr>Helvetica</vt:lpstr>
      <vt:lpstr>Impact</vt:lpstr>
      <vt:lpstr>Wingdings</vt:lpstr>
      <vt:lpstr>Divider Slides</vt:lpstr>
      <vt:lpstr>Statement Slides</vt:lpstr>
      <vt:lpstr>Copy Slides</vt:lpstr>
      <vt:lpstr>Quote slides</vt:lpstr>
      <vt:lpstr>Image Slides</vt:lpstr>
      <vt:lpstr>Co-branding Slides</vt:lpstr>
      <vt:lpstr>Video Slides</vt:lpstr>
      <vt:lpstr>Charts and Graphs Slides</vt:lpstr>
      <vt:lpstr>Appendix Slides</vt:lpstr>
      <vt:lpstr>Colour background slides</vt:lpstr>
      <vt:lpstr>Blank with title</vt:lpstr>
      <vt:lpstr>1_Divider Slides</vt:lpstr>
      <vt:lpstr>1_Copy Slides</vt:lpstr>
      <vt:lpstr>2_Copy Slides</vt:lpstr>
      <vt:lpstr>1_Image Slides</vt:lpstr>
      <vt:lpstr>3_Copy Slides</vt:lpstr>
      <vt:lpstr>1_Blank with title</vt:lpstr>
      <vt:lpstr>2_Image Slides</vt:lpstr>
      <vt:lpstr>4_Copy Slides</vt:lpstr>
      <vt:lpstr>5_Copy Slides</vt:lpstr>
      <vt:lpstr>think-cell Slide</vt:lpstr>
      <vt:lpstr>The 16-34 audience</vt:lpstr>
      <vt:lpstr>PowerPoint Presentation</vt:lpstr>
      <vt:lpstr>16-34 adults: their online video world</vt:lpstr>
      <vt:lpstr>16-34 adults: their av world</vt:lpstr>
      <vt:lpstr>Positivity &amp; engagement drives attention to adverts</vt:lpstr>
      <vt:lpstr>The fight for attention</vt:lpstr>
      <vt:lpstr>Positive attitudes towards the cinematic experience</vt:lpstr>
      <vt:lpstr>The hype &amp; shared experience of cinema</vt:lpstr>
      <vt:lpstr>16-34s want to see the latest blockbusters first</vt:lpstr>
      <vt:lpstr>Top genres  and post-film actions across a young audience</vt:lpstr>
      <vt:lpstr>KEY 16-34 LAUNCH OPPORTUNITIES</vt:lpstr>
      <vt:lpstr>Top films to access across both genders</vt:lpstr>
      <vt:lpstr>What can Cinema add to your 16-34 media plan?</vt:lpstr>
      <vt:lpstr>Cinema DELIVERS POSITIVE OUTCOMES FOR BRANDS</vt:lpstr>
      <vt:lpstr>16-34 HEAVY CINEMAGOERS: in market</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07-11T16:03:33Z</dcterms:created>
  <dcterms:modified xsi:type="dcterms:W3CDTF">2022-09-02T10:40:50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y fmtid="{D5CDD505-2E9C-101B-9397-08002B2CF9AE}" pid="3" name="ContentTypeId">
    <vt:lpwstr>0x010100309F23741BBCA54397EFDC35C09C6FCF</vt:lpwstr>
  </property>
</Properties>
</file>